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tiff" ContentType="image/tiff"/>
  <Default Extension="wdp" ContentType="image/vnd.ms-photo"/>
  <Default Extension="xlsm" ContentType="application/vnd.ms-excel.sheet.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ags/tag13.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tags/tag14.xml" ContentType="application/vnd.openxmlformats-officedocument.presentationml.tags+xml"/>
  <Override PartName="/ppt/notesSlides/notesSlide8.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tags/tag22.xml" ContentType="application/vnd.openxmlformats-officedocument.presentationml.tags+xml"/>
  <Override PartName="/ppt/notesSlides/notesSlide16.xml" ContentType="application/vnd.openxmlformats-officedocument.presentationml.notesSlide+xml"/>
  <Override PartName="/ppt/tags/tag23.xml" ContentType="application/vnd.openxmlformats-officedocument.presentationml.tags+xml"/>
  <Override PartName="/ppt/notesSlides/notesSlide17.xml" ContentType="application/vnd.openxmlformats-officedocument.presentationml.notesSlide+xml"/>
  <Override PartName="/ppt/tags/tag24.xml" ContentType="application/vnd.openxmlformats-officedocument.presentationml.tags+xml"/>
  <Override PartName="/ppt/notesSlides/notesSlide18.xml" ContentType="application/vnd.openxmlformats-officedocument.presentationml.notesSlide+xml"/>
  <Override PartName="/ppt/tags/tag25.xml" ContentType="application/vnd.openxmlformats-officedocument.presentationml.tags+xml"/>
  <Override PartName="/ppt/notesSlides/notesSlide19.xml" ContentType="application/vnd.openxmlformats-officedocument.presentationml.notesSlide+xml"/>
  <Override PartName="/ppt/tags/tag26.xml" ContentType="application/vnd.openxmlformats-officedocument.presentationml.tags+xml"/>
  <Override PartName="/ppt/notesSlides/notesSlide20.xml" ContentType="application/vnd.openxmlformats-officedocument.presentationml.notesSlide+xml"/>
  <Override PartName="/ppt/tags/tag27.xml" ContentType="application/vnd.openxmlformats-officedocument.presentationml.tags+xml"/>
  <Override PartName="/ppt/notesSlides/notesSlide21.xml" ContentType="application/vnd.openxmlformats-officedocument.presentationml.notesSlide+xml"/>
  <Override PartName="/ppt/tags/tag28.xml" ContentType="application/vnd.openxmlformats-officedocument.presentationml.tags+xml"/>
  <Override PartName="/ppt/notesSlides/notesSlide22.xml" ContentType="application/vnd.openxmlformats-officedocument.presentationml.notesSlide+xml"/>
  <Override PartName="/ppt/tags/tag29.xml" ContentType="application/vnd.openxmlformats-officedocument.presentationml.tags+xml"/>
  <Override PartName="/ppt/notesSlides/notesSlide23.xml" ContentType="application/vnd.openxmlformats-officedocument.presentationml.notesSlide+xml"/>
  <Override PartName="/ppt/tags/tag30.xml" ContentType="application/vnd.openxmlformats-officedocument.presentationml.tags+xml"/>
  <Override PartName="/ppt/notesSlides/notesSlide24.xml" ContentType="application/vnd.openxmlformats-officedocument.presentationml.notesSlide+xml"/>
  <Override PartName="/ppt/tags/tag31.xml" ContentType="application/vnd.openxmlformats-officedocument.presentationml.tags+xml"/>
  <Override PartName="/ppt/notesSlides/notesSlide25.xml" ContentType="application/vnd.openxmlformats-officedocument.presentationml.notesSlide+xml"/>
  <Override PartName="/ppt/tags/tag32.xml" ContentType="application/vnd.openxmlformats-officedocument.presentationml.tags+xml"/>
  <Override PartName="/ppt/notesSlides/notesSlide26.xml" ContentType="application/vnd.openxmlformats-officedocument.presentationml.notesSlide+xml"/>
  <Override PartName="/ppt/tags/tag33.xml" ContentType="application/vnd.openxmlformats-officedocument.presentationml.tags+xml"/>
  <Override PartName="/ppt/notesSlides/notesSlide27.xml" ContentType="application/vnd.openxmlformats-officedocument.presentationml.notesSlide+xml"/>
  <Override PartName="/ppt/tags/tag34.xml" ContentType="application/vnd.openxmlformats-officedocument.presentationml.tags+xml"/>
  <Override PartName="/ppt/notesSlides/notesSlide28.xml" ContentType="application/vnd.openxmlformats-officedocument.presentationml.notesSlide+xml"/>
  <Override PartName="/ppt/charts/chart5.xml" ContentType="application/vnd.openxmlformats-officedocument.drawingml.chart+xml"/>
  <Override PartName="/ppt/tags/tag35.xml" ContentType="application/vnd.openxmlformats-officedocument.presentationml.tags+xml"/>
  <Override PartName="/ppt/notesSlides/notesSlide29.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30.xml" ContentType="application/vnd.openxmlformats-officedocument.presentationml.notesSlide+xml"/>
  <Override PartName="/ppt/tags/tag38.xml" ContentType="application/vnd.openxmlformats-officedocument.presentationml.tags+xml"/>
  <Override PartName="/ppt/notesSlides/notesSlide31.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32.xml" ContentType="application/vnd.openxmlformats-officedocument.presentationml.notesSlide+xml"/>
  <Override PartName="/ppt/tags/tag41.xml" ContentType="application/vnd.openxmlformats-officedocument.presentationml.tags+xml"/>
  <Override PartName="/ppt/notesSlides/notesSlide33.xml" ContentType="application/vnd.openxmlformats-officedocument.presentationml.notesSlide+xml"/>
  <Override PartName="/ppt/tags/tag42.xml" ContentType="application/vnd.openxmlformats-officedocument.presentationml.tags+xml"/>
  <Override PartName="/ppt/notesSlides/notesSlide34.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35.xml" ContentType="application/vnd.openxmlformats-officedocument.presentationml.notesSlide+xml"/>
  <Override PartName="/ppt/tags/tag45.xml" ContentType="application/vnd.openxmlformats-officedocument.presentationml.tags+xml"/>
  <Override PartName="/ppt/notesSlides/notesSlide3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729" r:id="rId4"/>
    <p:sldMasterId id="2147483817" r:id="rId5"/>
  </p:sldMasterIdLst>
  <p:notesMasterIdLst>
    <p:notesMasterId r:id="rId53"/>
  </p:notesMasterIdLst>
  <p:handoutMasterIdLst>
    <p:handoutMasterId r:id="rId54"/>
  </p:handoutMasterIdLst>
  <p:sldIdLst>
    <p:sldId id="274" r:id="rId6"/>
    <p:sldId id="271" r:id="rId7"/>
    <p:sldId id="350" r:id="rId8"/>
    <p:sldId id="1056" r:id="rId9"/>
    <p:sldId id="298" r:id="rId10"/>
    <p:sldId id="1057" r:id="rId11"/>
    <p:sldId id="1058" r:id="rId12"/>
    <p:sldId id="1073" r:id="rId13"/>
    <p:sldId id="1065" r:id="rId14"/>
    <p:sldId id="367" r:id="rId15"/>
    <p:sldId id="1055" r:id="rId16"/>
    <p:sldId id="261" r:id="rId17"/>
    <p:sldId id="1059" r:id="rId18"/>
    <p:sldId id="634" r:id="rId19"/>
    <p:sldId id="1061" r:id="rId20"/>
    <p:sldId id="475" r:id="rId21"/>
    <p:sldId id="428" r:id="rId22"/>
    <p:sldId id="405" r:id="rId23"/>
    <p:sldId id="347" r:id="rId24"/>
    <p:sldId id="1062" r:id="rId25"/>
    <p:sldId id="462" r:id="rId26"/>
    <p:sldId id="461" r:id="rId27"/>
    <p:sldId id="308" r:id="rId28"/>
    <p:sldId id="448" r:id="rId29"/>
    <p:sldId id="1074" r:id="rId30"/>
    <p:sldId id="299" r:id="rId31"/>
    <p:sldId id="437" r:id="rId32"/>
    <p:sldId id="465" r:id="rId33"/>
    <p:sldId id="431" r:id="rId34"/>
    <p:sldId id="422" r:id="rId35"/>
    <p:sldId id="455" r:id="rId36"/>
    <p:sldId id="434" r:id="rId37"/>
    <p:sldId id="440" r:id="rId38"/>
    <p:sldId id="1049" r:id="rId39"/>
    <p:sldId id="442" r:id="rId40"/>
    <p:sldId id="446" r:id="rId41"/>
    <p:sldId id="366" r:id="rId42"/>
    <p:sldId id="368" r:id="rId43"/>
    <p:sldId id="479" r:id="rId44"/>
    <p:sldId id="1050" r:id="rId45"/>
    <p:sldId id="1054" r:id="rId46"/>
    <p:sldId id="1071" r:id="rId47"/>
    <p:sldId id="373" r:id="rId48"/>
    <p:sldId id="365" r:id="rId49"/>
    <p:sldId id="650" r:id="rId50"/>
    <p:sldId id="1048" r:id="rId51"/>
    <p:sldId id="1072" r:id="rId52"/>
  </p:sldIdLst>
  <p:sldSz cx="12195175" cy="6858000"/>
  <p:notesSz cx="6797675" cy="9926638"/>
  <p:embeddedFontLst>
    <p:embeddedFont>
      <p:font typeface="Arial Black" panose="020B0A04020102020204" pitchFamily="34" charset="0"/>
      <p:bold r:id="rId55"/>
    </p:embeddedFont>
    <p:embeddedFont>
      <p:font typeface="Calibri" panose="020F0502020204030204" pitchFamily="34" charset="0"/>
      <p:regular r:id="rId56"/>
      <p:bold r:id="rId57"/>
      <p:italic r:id="rId58"/>
      <p:boldItalic r:id="rId59"/>
    </p:embeddedFont>
    <p:embeddedFont>
      <p:font typeface="Calibri Light" panose="020F0302020204030204" pitchFamily="34" charset="0"/>
      <p:regular r:id="rId60"/>
      <p:italic r:id="rId61"/>
    </p:embeddedFont>
    <p:embeddedFont>
      <p:font typeface="Helvetica" panose="020B0604020202020204" pitchFamily="34" charset="0"/>
      <p:regular r:id="rId62"/>
      <p:bold r:id="rId63"/>
      <p:italic r:id="rId64"/>
      <p:boldItalic r:id="rId65"/>
    </p:embeddedFont>
    <p:embeddedFont>
      <p:font typeface="NLRTM" panose="020B0604020202020204" charset="0"/>
      <p:regular r:id="rId66"/>
    </p:embeddedFont>
    <p:embeddedFont>
      <p:font typeface="NLRTM Bold" panose="020B0604020202020204" charset="0"/>
      <p:bold r:id="rId67"/>
    </p:embeddedFont>
    <p:embeddedFont>
      <p:font typeface="NLRTM ExtraBold" panose="020B0604020202020204" charset="0"/>
      <p:bold r:id="rId68"/>
    </p:embeddedFont>
    <p:embeddedFont>
      <p:font typeface="NLRTM Italic" panose="00000500000000000000" charset="0"/>
      <p:regular r:id="rId69"/>
    </p:embeddedFont>
    <p:embeddedFont>
      <p:font typeface="Segoe UI Light" panose="020B0502040204020203" pitchFamily="34" charset="0"/>
      <p:regular r:id="rId70"/>
      <p:italic r:id="rId71"/>
    </p:embeddedFont>
  </p:embeddedFontLst>
  <p:custShowLst>
    <p:custShow name="Map of Rotterdam" id="0">
      <p:sldLst/>
    </p:custShow>
  </p:custShowLst>
  <p:custDataLst>
    <p:tags r:id="rId72"/>
  </p:custDataLst>
  <p:defaultTextStyle>
    <a:defPPr>
      <a:defRPr lang="nl-NL"/>
    </a:defPPr>
    <a:lvl1pPr marL="0" algn="l" defTabSz="1219352" rtl="0" eaLnBrk="1" latinLnBrk="0" hangingPunct="1">
      <a:defRPr sz="2400" kern="1200">
        <a:solidFill>
          <a:schemeClr val="tx1"/>
        </a:solidFill>
        <a:latin typeface="+mn-lt"/>
        <a:ea typeface="+mn-ea"/>
        <a:cs typeface="+mn-cs"/>
      </a:defRPr>
    </a:lvl1pPr>
    <a:lvl2pPr marL="609676" algn="l" defTabSz="1219352" rtl="0" eaLnBrk="1" latinLnBrk="0" hangingPunct="1">
      <a:defRPr sz="2400" kern="1200">
        <a:solidFill>
          <a:schemeClr val="tx1"/>
        </a:solidFill>
        <a:latin typeface="+mn-lt"/>
        <a:ea typeface="+mn-ea"/>
        <a:cs typeface="+mn-cs"/>
      </a:defRPr>
    </a:lvl2pPr>
    <a:lvl3pPr marL="1219352" algn="l" defTabSz="1219352" rtl="0" eaLnBrk="1" latinLnBrk="0" hangingPunct="1">
      <a:defRPr sz="2400" kern="1200">
        <a:solidFill>
          <a:schemeClr val="tx1"/>
        </a:solidFill>
        <a:latin typeface="+mn-lt"/>
        <a:ea typeface="+mn-ea"/>
        <a:cs typeface="+mn-cs"/>
      </a:defRPr>
    </a:lvl3pPr>
    <a:lvl4pPr marL="1829029" algn="l" defTabSz="1219352" rtl="0" eaLnBrk="1" latinLnBrk="0" hangingPunct="1">
      <a:defRPr sz="2400" kern="1200">
        <a:solidFill>
          <a:schemeClr val="tx1"/>
        </a:solidFill>
        <a:latin typeface="+mn-lt"/>
        <a:ea typeface="+mn-ea"/>
        <a:cs typeface="+mn-cs"/>
      </a:defRPr>
    </a:lvl4pPr>
    <a:lvl5pPr marL="2438705" algn="l" defTabSz="1219352" rtl="0" eaLnBrk="1" latinLnBrk="0" hangingPunct="1">
      <a:defRPr sz="2400" kern="1200">
        <a:solidFill>
          <a:schemeClr val="tx1"/>
        </a:solidFill>
        <a:latin typeface="+mn-lt"/>
        <a:ea typeface="+mn-ea"/>
        <a:cs typeface="+mn-cs"/>
      </a:defRPr>
    </a:lvl5pPr>
    <a:lvl6pPr marL="3048381" algn="l" defTabSz="1219352" rtl="0" eaLnBrk="1" latinLnBrk="0" hangingPunct="1">
      <a:defRPr sz="2400" kern="1200">
        <a:solidFill>
          <a:schemeClr val="tx1"/>
        </a:solidFill>
        <a:latin typeface="+mn-lt"/>
        <a:ea typeface="+mn-ea"/>
        <a:cs typeface="+mn-cs"/>
      </a:defRPr>
    </a:lvl6pPr>
    <a:lvl7pPr marL="3658057" algn="l" defTabSz="1219352" rtl="0" eaLnBrk="1" latinLnBrk="0" hangingPunct="1">
      <a:defRPr sz="2400" kern="1200">
        <a:solidFill>
          <a:schemeClr val="tx1"/>
        </a:solidFill>
        <a:latin typeface="+mn-lt"/>
        <a:ea typeface="+mn-ea"/>
        <a:cs typeface="+mn-cs"/>
      </a:defRPr>
    </a:lvl7pPr>
    <a:lvl8pPr marL="4267733" algn="l" defTabSz="1219352" rtl="0" eaLnBrk="1" latinLnBrk="0" hangingPunct="1">
      <a:defRPr sz="2400" kern="1200">
        <a:solidFill>
          <a:schemeClr val="tx1"/>
        </a:solidFill>
        <a:latin typeface="+mn-lt"/>
        <a:ea typeface="+mn-ea"/>
        <a:cs typeface="+mn-cs"/>
      </a:defRPr>
    </a:lvl8pPr>
    <a:lvl9pPr marL="4877410" algn="l" defTabSz="1219352"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06" userDrawn="1">
          <p15:clr>
            <a:srgbClr val="A4A3A4"/>
          </p15:clr>
        </p15:guide>
        <p15:guide id="2" orient="horz" pos="2537" userDrawn="1">
          <p15:clr>
            <a:srgbClr val="A4A3A4"/>
          </p15:clr>
        </p15:guide>
        <p15:guide id="3" orient="horz" pos="595" userDrawn="1">
          <p15:clr>
            <a:srgbClr val="A4A3A4"/>
          </p15:clr>
        </p15:guide>
        <p15:guide id="4" orient="horz" pos="4156" userDrawn="1">
          <p15:clr>
            <a:srgbClr val="A4A3A4"/>
          </p15:clr>
        </p15:guide>
        <p15:guide id="5" orient="horz" pos="3725" userDrawn="1">
          <p15:clr>
            <a:srgbClr val="A4A3A4"/>
          </p15:clr>
        </p15:guide>
        <p15:guide id="7" orient="horz" pos="1321" userDrawn="1">
          <p15:clr>
            <a:srgbClr val="A4A3A4"/>
          </p15:clr>
        </p15:guide>
        <p15:guide id="8" orient="horz" pos="3669" userDrawn="1">
          <p15:clr>
            <a:srgbClr val="A4A3A4"/>
          </p15:clr>
        </p15:guide>
        <p15:guide id="9" orient="horz" pos="3203" userDrawn="1">
          <p15:clr>
            <a:srgbClr val="A4A3A4"/>
          </p15:clr>
        </p15:guide>
        <p15:guide id="10" pos="307" userDrawn="1">
          <p15:clr>
            <a:srgbClr val="A4A3A4"/>
          </p15:clr>
        </p15:guide>
        <p15:guide id="11" pos="7393" userDrawn="1">
          <p15:clr>
            <a:srgbClr val="A4A3A4"/>
          </p15:clr>
        </p15:guide>
        <p15:guide id="12" pos="3836" userDrawn="1">
          <p15:clr>
            <a:srgbClr val="A4A3A4"/>
          </p15:clr>
        </p15:guide>
        <p15:guide id="13" pos="1915" userDrawn="1">
          <p15:clr>
            <a:srgbClr val="A4A3A4"/>
          </p15:clr>
        </p15:guide>
        <p15:guide id="14" pos="5771"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Item, van, Cees" initials="CvI"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C4EFFF"/>
    <a:srgbClr val="D9EBF8"/>
    <a:srgbClr val="009CD6"/>
    <a:srgbClr val="001F4B"/>
    <a:srgbClr val="FFD800"/>
    <a:srgbClr val="F39900"/>
    <a:srgbClr val="92D050"/>
    <a:srgbClr val="623773"/>
    <a:srgbClr val="007E91"/>
    <a:srgbClr val="BE087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2137BD-83B2-4AA9-9556-3E074A8F1E23}" v="96" dt="2020-04-21T13:27:17.87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375" autoAdjust="0"/>
    <p:restoredTop sz="95127" autoAdjust="0"/>
  </p:normalViewPr>
  <p:slideViewPr>
    <p:cSldViewPr snapToGrid="0">
      <p:cViewPr varScale="1">
        <p:scale>
          <a:sx n="100" d="100"/>
          <a:sy n="100" d="100"/>
        </p:scale>
        <p:origin x="102" y="300"/>
      </p:cViewPr>
      <p:guideLst>
        <p:guide orient="horz" pos="3906"/>
        <p:guide orient="horz" pos="2537"/>
        <p:guide orient="horz" pos="595"/>
        <p:guide orient="horz" pos="4156"/>
        <p:guide orient="horz" pos="3725"/>
        <p:guide orient="horz" pos="1321"/>
        <p:guide orient="horz" pos="3669"/>
        <p:guide orient="horz" pos="3203"/>
        <p:guide pos="307"/>
        <p:guide pos="7393"/>
        <p:guide pos="3836"/>
        <p:guide pos="1915"/>
        <p:guide pos="5771"/>
      </p:guideLst>
    </p:cSldViewPr>
  </p:slideViewPr>
  <p:outlineViewPr>
    <p:cViewPr>
      <p:scale>
        <a:sx n="33" d="100"/>
        <a:sy n="33" d="100"/>
      </p:scale>
      <p:origin x="0" y="0"/>
    </p:cViewPr>
  </p:outlineViewPr>
  <p:notesTextViewPr>
    <p:cViewPr>
      <p:scale>
        <a:sx n="3" d="2"/>
        <a:sy n="3" d="2"/>
      </p:scale>
      <p:origin x="0" y="0"/>
    </p:cViewPr>
  </p:notesTextViewPr>
  <p:sorterViewPr>
    <p:cViewPr>
      <p:scale>
        <a:sx n="160" d="100"/>
        <a:sy n="160" d="100"/>
      </p:scale>
      <p:origin x="0" y="-42852"/>
    </p:cViewPr>
  </p:sorterViewPr>
  <p:notesViewPr>
    <p:cSldViewPr snapToGrid="0">
      <p:cViewPr varScale="1">
        <p:scale>
          <a:sx n="75" d="100"/>
          <a:sy n="75" d="100"/>
        </p:scale>
        <p:origin x="3954" y="7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font" Target="fonts/font3.fntdata"/><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commentAuthors" Target="commentAuthors.xml"/><Relationship Id="rId78"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font" Target="fonts/font1.fntdata"/><Relationship Id="rId76"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Macro-Enabled_Worksheet.xlsm"/></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557762698128293E-2"/>
          <c:y val="8.4358282735284118E-2"/>
          <c:w val="0.96594982078852998"/>
          <c:h val="0.85869565217391297"/>
        </c:manualLayout>
      </c:layout>
      <c:barChart>
        <c:barDir val="col"/>
        <c:grouping val="stacked"/>
        <c:varyColors val="0"/>
        <c:ser>
          <c:idx val="0"/>
          <c:order val="0"/>
          <c:tx>
            <c:strRef>
              <c:f>Sheet1!$A$2</c:f>
              <c:strCache>
                <c:ptCount val="1"/>
              </c:strCache>
            </c:strRef>
          </c:tx>
          <c:spPr>
            <a:solidFill>
              <a:schemeClr val="accent6"/>
            </a:solidFill>
            <a:ln w="20712">
              <a:noFill/>
            </a:ln>
          </c:spPr>
          <c:invertIfNegative val="0"/>
          <c:dPt>
            <c:idx val="0"/>
            <c:invertIfNegative val="0"/>
            <c:bubble3D val="0"/>
            <c:spPr>
              <a:solidFill>
                <a:schemeClr val="bg2"/>
              </a:solidFill>
              <a:ln w="20712">
                <a:noFill/>
              </a:ln>
            </c:spPr>
            <c:extLst>
              <c:ext xmlns:c16="http://schemas.microsoft.com/office/drawing/2014/chart" uri="{C3380CC4-5D6E-409C-BE32-E72D297353CC}">
                <c16:uniqueId val="{00000001-821A-4391-81E3-1B1D1F28BA2A}"/>
              </c:ext>
            </c:extLst>
          </c:dPt>
          <c:dPt>
            <c:idx val="1"/>
            <c:invertIfNegative val="0"/>
            <c:bubble3D val="0"/>
            <c:spPr>
              <a:solidFill>
                <a:schemeClr val="accent6"/>
              </a:solidFill>
              <a:ln w="20712">
                <a:noFill/>
              </a:ln>
            </c:spPr>
            <c:extLst>
              <c:ext xmlns:c16="http://schemas.microsoft.com/office/drawing/2014/chart" uri="{C3380CC4-5D6E-409C-BE32-E72D297353CC}">
                <c16:uniqueId val="{00000003-821A-4391-81E3-1B1D1F28BA2A}"/>
              </c:ext>
            </c:extLst>
          </c:dPt>
          <c:dPt>
            <c:idx val="2"/>
            <c:invertIfNegative val="0"/>
            <c:bubble3D val="0"/>
            <c:spPr>
              <a:solidFill>
                <a:schemeClr val="tx2">
                  <a:lumMod val="25000"/>
                  <a:lumOff val="75000"/>
                </a:schemeClr>
              </a:solidFill>
              <a:ln w="20712">
                <a:noFill/>
              </a:ln>
            </c:spPr>
            <c:extLst>
              <c:ext xmlns:c16="http://schemas.microsoft.com/office/drawing/2014/chart" uri="{C3380CC4-5D6E-409C-BE32-E72D297353CC}">
                <c16:uniqueId val="{00000005-821A-4391-81E3-1B1D1F28BA2A}"/>
              </c:ext>
            </c:extLst>
          </c:dPt>
          <c:dPt>
            <c:idx val="3"/>
            <c:invertIfNegative val="0"/>
            <c:bubble3D val="0"/>
            <c:spPr>
              <a:solidFill>
                <a:schemeClr val="accent1"/>
              </a:solidFill>
              <a:ln w="20712">
                <a:noFill/>
              </a:ln>
            </c:spPr>
            <c:extLst>
              <c:ext xmlns:c16="http://schemas.microsoft.com/office/drawing/2014/chart" uri="{C3380CC4-5D6E-409C-BE32-E72D297353CC}">
                <c16:uniqueId val="{00000007-821A-4391-81E3-1B1D1F28BA2A}"/>
              </c:ext>
            </c:extLst>
          </c:dPt>
          <c:dLbls>
            <c:dLbl>
              <c:idx val="0"/>
              <c:layout>
                <c:manualLayout>
                  <c:x val="3.0667352598465637E-4"/>
                  <c:y val="-0.33315355375884809"/>
                </c:manualLayout>
              </c:layout>
              <c:tx>
                <c:rich>
                  <a:bodyPr/>
                  <a:lstStyle/>
                  <a:p>
                    <a:pPr>
                      <a:defRPr sz="2000" b="1" i="0" u="none" strike="noStrike" baseline="0">
                        <a:solidFill>
                          <a:schemeClr val="accent6"/>
                        </a:solidFill>
                        <a:latin typeface="Futura Std Book" charset="0"/>
                        <a:ea typeface="Futura Std Book" charset="0"/>
                        <a:cs typeface="Futura Std Book" charset="0"/>
                      </a:defRPr>
                    </a:pPr>
                    <a:fld id="{9C16B20F-E2DC-B043-9B30-88D0E4588CE9}" type="VALUE">
                      <a:rPr lang="en-US" b="1" i="0">
                        <a:latin typeface="Futura Std Book" charset="0"/>
                        <a:ea typeface="Futura Std Book" charset="0"/>
                        <a:cs typeface="Futura Std Book" charset="0"/>
                      </a:rPr>
                      <a:pPr>
                        <a:defRPr sz="2000" b="1" i="0" u="none" strike="noStrike" baseline="0">
                          <a:solidFill>
                            <a:schemeClr val="accent6"/>
                          </a:solidFill>
                          <a:latin typeface="Futura Std Book" charset="0"/>
                          <a:ea typeface="Futura Std Book" charset="0"/>
                          <a:cs typeface="Futura Std Book" charset="0"/>
                        </a:defRPr>
                      </a:pPr>
                      <a:t>[WAARDE]</a:t>
                    </a:fld>
                    <a:endParaRPr lang="nl-NL"/>
                  </a:p>
                </c:rich>
              </c:tx>
              <c:spPr>
                <a:noFill/>
                <a:ln w="20712">
                  <a:noFill/>
                </a:ln>
              </c:sp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21A-4391-81E3-1B1D1F28BA2A}"/>
                </c:ext>
              </c:extLst>
            </c:dLbl>
            <c:dLbl>
              <c:idx val="1"/>
              <c:layout>
                <c:manualLayout>
                  <c:x val="-1.5201812028907797E-3"/>
                  <c:y val="-0.26110531009102117"/>
                </c:manualLayout>
              </c:layout>
              <c:tx>
                <c:rich>
                  <a:bodyPr/>
                  <a:lstStyle/>
                  <a:p>
                    <a:pPr>
                      <a:defRPr sz="2000" b="1" i="0" u="none" strike="noStrike" baseline="0">
                        <a:solidFill>
                          <a:schemeClr val="bg1"/>
                        </a:solidFill>
                        <a:latin typeface="Futura Std Book" charset="0"/>
                        <a:ea typeface="Futura Std Book" charset="0"/>
                        <a:cs typeface="Futura Std Book" charset="0"/>
                      </a:defRPr>
                    </a:pPr>
                    <a:fld id="{F7973470-C6B2-2C4B-8437-34DFA82314C9}" type="VALUE">
                      <a:rPr lang="en-US" b="1" i="0">
                        <a:latin typeface="Futura Std Book" charset="0"/>
                        <a:ea typeface="Futura Std Book" charset="0"/>
                        <a:cs typeface="Futura Std Book" charset="0"/>
                      </a:rPr>
                      <a:pPr>
                        <a:defRPr sz="2000" b="1" i="0" u="none" strike="noStrike" baseline="0">
                          <a:solidFill>
                            <a:schemeClr val="bg1"/>
                          </a:solidFill>
                          <a:latin typeface="Futura Std Book" charset="0"/>
                          <a:ea typeface="Futura Std Book" charset="0"/>
                          <a:cs typeface="Futura Std Book" charset="0"/>
                        </a:defRPr>
                      </a:pPr>
                      <a:t>[WAARDE]</a:t>
                    </a:fld>
                    <a:endParaRPr lang="nl-NL"/>
                  </a:p>
                </c:rich>
              </c:tx>
              <c:spPr>
                <a:noFill/>
                <a:ln w="20712">
                  <a:noFill/>
                </a:ln>
              </c:sp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821A-4391-81E3-1B1D1F28BA2A}"/>
                </c:ext>
              </c:extLst>
            </c:dLbl>
            <c:dLbl>
              <c:idx val="2"/>
              <c:layout>
                <c:manualLayout>
                  <c:x val="-1.0721990737070424E-3"/>
                  <c:y val="-0.18014722477968662"/>
                </c:manualLayout>
              </c:layout>
              <c:tx>
                <c:rich>
                  <a:bodyPr/>
                  <a:lstStyle/>
                  <a:p>
                    <a:pPr>
                      <a:defRPr sz="2000" b="1" i="0" u="none" strike="noStrike" baseline="0">
                        <a:solidFill>
                          <a:schemeClr val="bg1"/>
                        </a:solidFill>
                        <a:latin typeface="Futura Std Book" charset="0"/>
                        <a:ea typeface="Futura Std Book" charset="0"/>
                        <a:cs typeface="Futura Std Book" charset="0"/>
                      </a:defRPr>
                    </a:pPr>
                    <a:fld id="{C5D60419-CD8A-BD44-89B5-691FA888FB2B}" type="VALUE">
                      <a:rPr lang="en-US" b="1" i="0">
                        <a:latin typeface="Futura Std Book" charset="0"/>
                        <a:ea typeface="Futura Std Book" charset="0"/>
                        <a:cs typeface="Futura Std Book" charset="0"/>
                      </a:rPr>
                      <a:pPr>
                        <a:defRPr sz="2000" b="1" i="0" u="none" strike="noStrike" baseline="0">
                          <a:solidFill>
                            <a:schemeClr val="bg1"/>
                          </a:solidFill>
                          <a:latin typeface="Futura Std Book" charset="0"/>
                          <a:ea typeface="Futura Std Book" charset="0"/>
                          <a:cs typeface="Futura Std Book" charset="0"/>
                        </a:defRPr>
                      </a:pPr>
                      <a:t>[WAARDE]</a:t>
                    </a:fld>
                    <a:endParaRPr lang="nl-NL"/>
                  </a:p>
                </c:rich>
              </c:tx>
              <c:spPr>
                <a:noFill/>
                <a:ln w="20712">
                  <a:noFill/>
                </a:ln>
              </c:sp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821A-4391-81E3-1B1D1F28BA2A}"/>
                </c:ext>
              </c:extLst>
            </c:dLbl>
            <c:dLbl>
              <c:idx val="3"/>
              <c:layout>
                <c:manualLayout>
                  <c:x val="2.1085809604743976E-3"/>
                  <c:y val="-8.7702693840423868E-2"/>
                </c:manualLayout>
              </c:layout>
              <c:tx>
                <c:rich>
                  <a:bodyPr/>
                  <a:lstStyle/>
                  <a:p>
                    <a:pPr>
                      <a:defRPr sz="2000" b="1" i="0" u="none" strike="noStrike" baseline="0">
                        <a:solidFill>
                          <a:schemeClr val="bg1"/>
                        </a:solidFill>
                        <a:latin typeface="Futura Std Book" charset="0"/>
                        <a:ea typeface="Futura Std Book" charset="0"/>
                        <a:cs typeface="Futura Std Book" charset="0"/>
                      </a:defRPr>
                    </a:pPr>
                    <a:fld id="{681CA9D6-84C9-4447-B55E-00F449006E9E}" type="VALUE">
                      <a:rPr lang="en-US" b="1" i="0">
                        <a:latin typeface="Futura Std Book" charset="0"/>
                        <a:ea typeface="Futura Std Book" charset="0"/>
                        <a:cs typeface="Futura Std Book" charset="0"/>
                      </a:rPr>
                      <a:pPr>
                        <a:defRPr sz="2000" b="1" i="0" u="none" strike="noStrike" baseline="0">
                          <a:solidFill>
                            <a:schemeClr val="bg1"/>
                          </a:solidFill>
                          <a:latin typeface="Futura Std Book" charset="0"/>
                          <a:ea typeface="Futura Std Book" charset="0"/>
                          <a:cs typeface="Futura Std Book" charset="0"/>
                        </a:defRPr>
                      </a:pPr>
                      <a:t>[WAARDE]</a:t>
                    </a:fld>
                    <a:endParaRPr lang="nl-NL"/>
                  </a:p>
                </c:rich>
              </c:tx>
              <c:spPr>
                <a:noFill/>
                <a:ln w="20712">
                  <a:noFill/>
                </a:ln>
              </c:sp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821A-4391-81E3-1B1D1F28BA2A}"/>
                </c:ext>
              </c:extLst>
            </c:dLbl>
            <c:spPr>
              <a:noFill/>
              <a:ln w="20712">
                <a:noFill/>
              </a:ln>
            </c:spPr>
            <c:txPr>
              <a:bodyPr wrap="square" lIns="38100" tIns="19050" rIns="38100" bIns="19050" anchor="ctr">
                <a:spAutoFit/>
              </a:bodyPr>
              <a:lstStyle/>
              <a:p>
                <a:pPr>
                  <a:defRPr sz="2000" b="1" i="0" u="none" strike="noStrike" baseline="0">
                    <a:solidFill>
                      <a:schemeClr val="accent6"/>
                    </a:solidFill>
                    <a:latin typeface="Futura Std Book" charset="0"/>
                    <a:ea typeface="Futura Std Book" charset="0"/>
                    <a:cs typeface="Futura Std Book" charset="0"/>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E$1</c:f>
              <c:numCache>
                <c:formatCode>General</c:formatCode>
                <c:ptCount val="4"/>
              </c:numCache>
            </c:numRef>
          </c:cat>
          <c:val>
            <c:numRef>
              <c:f>Sheet1!$B$2:$E$2</c:f>
              <c:numCache>
                <c:formatCode>#,##0_);\(#,##0\)</c:formatCode>
                <c:ptCount val="4"/>
                <c:pt idx="0">
                  <c:v>105</c:v>
                </c:pt>
                <c:pt idx="1">
                  <c:v>87</c:v>
                </c:pt>
                <c:pt idx="2">
                  <c:v>63</c:v>
                </c:pt>
                <c:pt idx="3">
                  <c:v>38</c:v>
                </c:pt>
              </c:numCache>
            </c:numRef>
          </c:val>
          <c:extLst>
            <c:ext xmlns:c16="http://schemas.microsoft.com/office/drawing/2014/chart" uri="{C3380CC4-5D6E-409C-BE32-E72D297353CC}">
              <c16:uniqueId val="{00000008-821A-4391-81E3-1B1D1F28BA2A}"/>
            </c:ext>
          </c:extLst>
        </c:ser>
        <c:dLbls>
          <c:showLegendKey val="0"/>
          <c:showVal val="0"/>
          <c:showCatName val="0"/>
          <c:showSerName val="0"/>
          <c:showPercent val="0"/>
          <c:showBubbleSize val="0"/>
        </c:dLbls>
        <c:gapWidth val="80"/>
        <c:overlap val="100"/>
        <c:axId val="80536160"/>
        <c:axId val="80538480"/>
      </c:barChart>
      <c:catAx>
        <c:axId val="80536160"/>
        <c:scaling>
          <c:orientation val="minMax"/>
        </c:scaling>
        <c:delete val="0"/>
        <c:axPos val="b"/>
        <c:numFmt formatCode="General" sourceLinked="1"/>
        <c:majorTickMark val="none"/>
        <c:minorTickMark val="none"/>
        <c:tickLblPos val="none"/>
        <c:spPr>
          <a:ln w="10356">
            <a:solidFill>
              <a:srgbClr val="000000"/>
            </a:solidFill>
            <a:prstDash val="solid"/>
          </a:ln>
        </c:spPr>
        <c:crossAx val="80538480"/>
        <c:crossesAt val="0"/>
        <c:auto val="1"/>
        <c:lblAlgn val="ctr"/>
        <c:lblOffset val="100"/>
        <c:tickLblSkip val="1"/>
        <c:tickMarkSkip val="1"/>
        <c:noMultiLvlLbl val="0"/>
      </c:catAx>
      <c:valAx>
        <c:axId val="80538480"/>
        <c:scaling>
          <c:orientation val="minMax"/>
          <c:max val="115"/>
          <c:min val="0"/>
        </c:scaling>
        <c:delete val="0"/>
        <c:axPos val="l"/>
        <c:numFmt formatCode="#,##0_);\(#,##0\)" sourceLinked="0"/>
        <c:majorTickMark val="none"/>
        <c:minorTickMark val="none"/>
        <c:tickLblPos val="none"/>
        <c:spPr>
          <a:ln w="5178">
            <a:noFill/>
          </a:ln>
        </c:spPr>
        <c:crossAx val="80536160"/>
        <c:crosses val="autoZero"/>
        <c:crossBetween val="between"/>
      </c:valAx>
      <c:spPr>
        <a:noFill/>
        <a:ln w="20712">
          <a:noFill/>
        </a:ln>
      </c:spPr>
    </c:plotArea>
    <c:plotVisOnly val="1"/>
    <c:dispBlanksAs val="gap"/>
    <c:showDLblsOverMax val="0"/>
  </c:chart>
  <c:spPr>
    <a:noFill/>
    <a:ln>
      <a:noFill/>
    </a:ln>
  </c:spPr>
  <c:txPr>
    <a:bodyPr/>
    <a:lstStyle/>
    <a:p>
      <a:pPr>
        <a:defRPr sz="979" b="1" i="0" u="none" strike="noStrike" baseline="0">
          <a:solidFill>
            <a:srgbClr val="000000"/>
          </a:solidFill>
          <a:latin typeface="Arial"/>
          <a:ea typeface="Arial"/>
          <a:cs typeface="Arial"/>
        </a:defRPr>
      </a:pPr>
      <a:endParaRPr lang="nl-NL"/>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82164667583695"/>
          <c:y val="9.1449224885030739E-2"/>
          <c:w val="0.82106718435774806"/>
          <c:h val="0.85728370212279015"/>
        </c:manualLayout>
      </c:layout>
      <c:barChart>
        <c:barDir val="col"/>
        <c:grouping val="clustered"/>
        <c:varyColors val="0"/>
        <c:ser>
          <c:idx val="0"/>
          <c:order val="0"/>
          <c:tx>
            <c:strRef>
              <c:f>Blad1!$B$1</c:f>
              <c:strCache>
                <c:ptCount val="1"/>
                <c:pt idx="0">
                  <c:v>Reeks 1</c:v>
                </c:pt>
              </c:strCache>
            </c:strRef>
          </c:tx>
          <c:spPr>
            <a:effectLst/>
          </c:spPr>
          <c:invertIfNegative val="0"/>
          <c:cat>
            <c:numRef>
              <c:f>Blad1!$A$3:$A$7</c:f>
              <c:numCache>
                <c:formatCode>General</c:formatCode>
                <c:ptCount val="5"/>
              </c:numCache>
            </c:numRef>
          </c:cat>
          <c:val>
            <c:numRef>
              <c:f>Blad1!$B$3:$B$7</c:f>
              <c:numCache>
                <c:formatCode>_ * #,##0_ ;_ * \-#,##0_ ;_ * "-"??_ ;_ @_ </c:formatCode>
                <c:ptCount val="5"/>
                <c:pt idx="0">
                  <c:v>12234535</c:v>
                </c:pt>
                <c:pt idx="1">
                  <c:v>12385168</c:v>
                </c:pt>
                <c:pt idx="2">
                  <c:v>13734334</c:v>
                </c:pt>
                <c:pt idx="3">
                  <c:v>14512660</c:v>
                </c:pt>
                <c:pt idx="4">
                  <c:v>14821496.999999989</c:v>
                </c:pt>
              </c:numCache>
            </c:numRef>
          </c:val>
          <c:extLst>
            <c:ext xmlns:c16="http://schemas.microsoft.com/office/drawing/2014/chart" uri="{C3380CC4-5D6E-409C-BE32-E72D297353CC}">
              <c16:uniqueId val="{00000000-DB6D-47E4-AE4A-2EAA313FF6A6}"/>
            </c:ext>
          </c:extLst>
        </c:ser>
        <c:dLbls>
          <c:showLegendKey val="0"/>
          <c:showVal val="0"/>
          <c:showCatName val="0"/>
          <c:showSerName val="0"/>
          <c:showPercent val="0"/>
          <c:showBubbleSize val="0"/>
        </c:dLbls>
        <c:gapWidth val="95"/>
        <c:axId val="43799680"/>
        <c:axId val="43801216"/>
      </c:barChart>
      <c:catAx>
        <c:axId val="43799680"/>
        <c:scaling>
          <c:orientation val="minMax"/>
        </c:scaling>
        <c:delete val="0"/>
        <c:axPos val="b"/>
        <c:numFmt formatCode="General" sourceLinked="1"/>
        <c:majorTickMark val="out"/>
        <c:minorTickMark val="none"/>
        <c:tickLblPos val="nextTo"/>
        <c:spPr>
          <a:ln>
            <a:solidFill>
              <a:schemeClr val="tx2"/>
            </a:solidFill>
          </a:ln>
        </c:spPr>
        <c:txPr>
          <a:bodyPr rot="2400000"/>
          <a:lstStyle/>
          <a:p>
            <a:pPr>
              <a:defRPr sz="1600" b="1">
                <a:solidFill>
                  <a:schemeClr val="tx2"/>
                </a:solidFill>
              </a:defRPr>
            </a:pPr>
            <a:endParaRPr lang="nl-NL"/>
          </a:p>
        </c:txPr>
        <c:crossAx val="43801216"/>
        <c:crosses val="autoZero"/>
        <c:auto val="1"/>
        <c:lblAlgn val="ctr"/>
        <c:lblOffset val="100"/>
        <c:noMultiLvlLbl val="0"/>
      </c:catAx>
      <c:valAx>
        <c:axId val="43801216"/>
        <c:scaling>
          <c:orientation val="minMax"/>
          <c:min val="5000000"/>
        </c:scaling>
        <c:delete val="0"/>
        <c:axPos val="l"/>
        <c:majorGridlines>
          <c:spPr>
            <a:ln>
              <a:solidFill>
                <a:schemeClr val="tx2"/>
              </a:solidFill>
            </a:ln>
          </c:spPr>
        </c:majorGridlines>
        <c:minorGridlines>
          <c:spPr>
            <a:ln>
              <a:noFill/>
            </a:ln>
          </c:spPr>
        </c:minorGridlines>
        <c:numFmt formatCode="000,000" sourceLinked="0"/>
        <c:majorTickMark val="out"/>
        <c:minorTickMark val="none"/>
        <c:tickLblPos val="nextTo"/>
        <c:spPr>
          <a:ln>
            <a:noFill/>
          </a:ln>
        </c:spPr>
        <c:txPr>
          <a:bodyPr/>
          <a:lstStyle/>
          <a:p>
            <a:pPr>
              <a:defRPr sz="1400">
                <a:solidFill>
                  <a:schemeClr val="tx2"/>
                </a:solidFill>
              </a:defRPr>
            </a:pPr>
            <a:endParaRPr lang="nl-NL"/>
          </a:p>
        </c:txPr>
        <c:crossAx val="43799680"/>
        <c:crosses val="autoZero"/>
        <c:crossBetween val="between"/>
      </c:valAx>
    </c:plotArea>
    <c:plotVisOnly val="1"/>
    <c:dispBlanksAs val="gap"/>
    <c:showDLblsOverMax val="0"/>
  </c:chart>
  <c:spPr>
    <a:solidFill>
      <a:srgbClr val="D9EBF8"/>
    </a:solidFill>
  </c:spPr>
  <c:txPr>
    <a:bodyPr/>
    <a:lstStyle/>
    <a:p>
      <a:pPr>
        <a:defRPr sz="1800"/>
      </a:pPr>
      <a:endParaRPr lang="nl-NL"/>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89166150688302"/>
          <c:y val="0.12436268823706047"/>
          <c:w val="0.78247164946267567"/>
          <c:h val="0.70403812583806613"/>
        </c:manualLayout>
      </c:layout>
      <c:barChart>
        <c:barDir val="col"/>
        <c:grouping val="clustered"/>
        <c:varyColors val="0"/>
        <c:ser>
          <c:idx val="0"/>
          <c:order val="0"/>
          <c:spPr>
            <a:solidFill>
              <a:schemeClr val="accent1"/>
            </a:solidFill>
            <a:ln>
              <a:noFill/>
            </a:ln>
            <a:effectLst/>
          </c:spPr>
          <c:invertIfNegative val="0"/>
          <c:dPt>
            <c:idx val="4"/>
            <c:invertIfNegative val="0"/>
            <c:bubble3D val="0"/>
            <c:spPr>
              <a:solidFill>
                <a:schemeClr val="bg2"/>
              </a:solidFill>
              <a:ln>
                <a:noFill/>
              </a:ln>
              <a:effectLst/>
            </c:spPr>
            <c:extLst>
              <c:ext xmlns:c16="http://schemas.microsoft.com/office/drawing/2014/chart" uri="{C3380CC4-5D6E-409C-BE32-E72D297353CC}">
                <c16:uniqueId val="{00000001-F1B4-447B-97A2-F0873571F285}"/>
              </c:ext>
            </c:extLst>
          </c:dPt>
          <c:cat>
            <c:strRef>
              <c:f>Blad1!$R$6:$R$15</c:f>
              <c:strCache>
                <c:ptCount val="10"/>
                <c:pt idx="0">
                  <c:v>Hamburg</c:v>
                </c:pt>
                <c:pt idx="1">
                  <c:v>Bremerhaven</c:v>
                </c:pt>
                <c:pt idx="2">
                  <c:v>Wilhelmsh.</c:v>
                </c:pt>
                <c:pt idx="3">
                  <c:v>Amsterdam</c:v>
                </c:pt>
                <c:pt idx="4">
                  <c:v>Rotterdam</c:v>
                </c:pt>
                <c:pt idx="5">
                  <c:v>North Sea Ports</c:v>
                </c:pt>
                <c:pt idx="6">
                  <c:v>Antwerpen</c:v>
                </c:pt>
                <c:pt idx="7">
                  <c:v>Zeebrugge</c:v>
                </c:pt>
                <c:pt idx="8">
                  <c:v>Duinkerken</c:v>
                </c:pt>
                <c:pt idx="9">
                  <c:v>Le Havre</c:v>
                </c:pt>
              </c:strCache>
            </c:strRef>
          </c:cat>
          <c:val>
            <c:numRef>
              <c:f>Blad1!$S$6:$S$15</c:f>
              <c:numCache>
                <c:formatCode>#,##0</c:formatCode>
                <c:ptCount val="10"/>
                <c:pt idx="0">
                  <c:v>-253.50299999999848</c:v>
                </c:pt>
                <c:pt idx="1">
                  <c:v>101.10199999999824</c:v>
                </c:pt>
                <c:pt idx="2">
                  <c:v>130.33500000000004</c:v>
                </c:pt>
                <c:pt idx="3">
                  <c:v>40.149800000000013</c:v>
                </c:pt>
                <c:pt idx="4">
                  <c:v>2114.8325000000109</c:v>
                </c:pt>
                <c:pt idx="5">
                  <c:v>86.632350000000002</c:v>
                </c:pt>
                <c:pt idx="6">
                  <c:v>1062.6819999999989</c:v>
                </c:pt>
                <c:pt idx="7">
                  <c:v>191.97900000000013</c:v>
                </c:pt>
                <c:pt idx="8">
                  <c:v>-63.232914000000029</c:v>
                </c:pt>
                <c:pt idx="9">
                  <c:v>294.82099999999889</c:v>
                </c:pt>
              </c:numCache>
            </c:numRef>
          </c:val>
          <c:extLst>
            <c:ext xmlns:c16="http://schemas.microsoft.com/office/drawing/2014/chart" uri="{C3380CC4-5D6E-409C-BE32-E72D297353CC}">
              <c16:uniqueId val="{00000002-F1B4-447B-97A2-F0873571F285}"/>
            </c:ext>
          </c:extLst>
        </c:ser>
        <c:dLbls>
          <c:showLegendKey val="0"/>
          <c:showVal val="0"/>
          <c:showCatName val="0"/>
          <c:showSerName val="0"/>
          <c:showPercent val="0"/>
          <c:showBubbleSize val="0"/>
        </c:dLbls>
        <c:gapWidth val="60"/>
        <c:overlap val="-27"/>
        <c:axId val="897447352"/>
        <c:axId val="897443744"/>
      </c:barChart>
      <c:catAx>
        <c:axId val="897447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400" b="1" i="0" u="none" strike="noStrike" kern="1200" baseline="0">
                <a:solidFill>
                  <a:schemeClr val="tx2"/>
                </a:solidFill>
                <a:latin typeface="+mn-lt"/>
                <a:ea typeface="+mn-ea"/>
                <a:cs typeface="+mn-cs"/>
              </a:defRPr>
            </a:pPr>
            <a:endParaRPr lang="nl-NL"/>
          </a:p>
        </c:txPr>
        <c:crossAx val="897443744"/>
        <c:crosses val="autoZero"/>
        <c:auto val="1"/>
        <c:lblAlgn val="ctr"/>
        <c:lblOffset val="100"/>
        <c:noMultiLvlLbl val="0"/>
      </c:catAx>
      <c:valAx>
        <c:axId val="897443744"/>
        <c:scaling>
          <c:orientation val="minMax"/>
        </c:scaling>
        <c:delete val="0"/>
        <c:axPos val="l"/>
        <c:majorGridlines>
          <c:spPr>
            <a:ln w="6350" cap="flat" cmpd="sng" algn="ctr">
              <a:no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nl-NL"/>
          </a:p>
        </c:txPr>
        <c:crossAx val="897447352"/>
        <c:crosses val="autoZero"/>
        <c:crossBetween val="between"/>
      </c:valAx>
      <c:spPr>
        <a:noFill/>
        <a:ln w="25400">
          <a:noFill/>
        </a:ln>
        <a:effectLst/>
      </c:spPr>
    </c:plotArea>
    <c:plotVisOnly val="1"/>
    <c:dispBlanksAs val="gap"/>
    <c:showDLblsOverMax val="0"/>
  </c:chart>
  <c:spPr>
    <a:solidFill>
      <a:schemeClr val="accent4"/>
    </a:solidFill>
    <a:ln>
      <a:noFill/>
    </a:ln>
    <a:effectLst/>
  </c:spPr>
  <c:txPr>
    <a:bodyPr/>
    <a:lstStyle/>
    <a:p>
      <a:pPr>
        <a:defRPr/>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824100242531495E-2"/>
          <c:y val="5.0944381074489758E-2"/>
          <c:w val="0.84286250153908704"/>
          <c:h val="0.89811123785102043"/>
        </c:manualLayout>
      </c:layout>
      <c:lineChart>
        <c:grouping val="standard"/>
        <c:varyColors val="0"/>
        <c:ser>
          <c:idx val="0"/>
          <c:order val="0"/>
          <c:tx>
            <c:strRef>
              <c:f>Blad1!$A$1</c:f>
              <c:strCache>
                <c:ptCount val="1"/>
                <c:pt idx="0">
                  <c:v>APM</c:v>
                </c:pt>
              </c:strCache>
            </c:strRef>
          </c:tx>
          <c:spPr>
            <a:ln w="19050" cap="rnd" cmpd="sng" algn="ctr">
              <a:solidFill>
                <a:schemeClr val="accent1"/>
              </a:solidFill>
              <a:prstDash val="solid"/>
              <a:round/>
            </a:ln>
            <a:effectLst/>
          </c:spPr>
          <c:marker>
            <c:symbol val="none"/>
          </c:marker>
          <c:cat>
            <c:multiLvlStrRef>
              <c:f>Blad1!#VERW!</c:f>
            </c:multiLvlStrRef>
          </c:cat>
          <c:val>
            <c:numRef>
              <c:f>Blad1!$A$2</c:f>
              <c:numCache>
                <c:formatCode>General</c:formatCode>
                <c:ptCount val="1"/>
                <c:pt idx="0">
                  <c:v>-13.58</c:v>
                </c:pt>
              </c:numCache>
            </c:numRef>
          </c:val>
          <c:smooth val="0"/>
          <c:extLst>
            <c:ext xmlns:c16="http://schemas.microsoft.com/office/drawing/2014/chart" uri="{C3380CC4-5D6E-409C-BE32-E72D297353CC}">
              <c16:uniqueId val="{00000000-8F33-46C2-B9FA-BCFF52598C87}"/>
            </c:ext>
          </c:extLst>
        </c:ser>
        <c:ser>
          <c:idx val="1"/>
          <c:order val="1"/>
          <c:tx>
            <c:strRef>
              <c:f>Blad1!$B$1</c:f>
              <c:strCache>
                <c:ptCount val="1"/>
                <c:pt idx="0">
                  <c:v>Malacca</c:v>
                </c:pt>
              </c:strCache>
            </c:strRef>
          </c:tx>
          <c:spPr>
            <a:ln w="19050" cap="rnd" cmpd="sng" algn="ctr">
              <a:solidFill>
                <a:schemeClr val="accent2"/>
              </a:solidFill>
              <a:prstDash val="solid"/>
              <a:round/>
            </a:ln>
            <a:effectLst/>
          </c:spPr>
          <c:marker>
            <c:symbol val="none"/>
          </c:marker>
          <c:cat>
            <c:multiLvlStrRef>
              <c:f>Blad1!#VERW!</c:f>
            </c:multiLvlStrRef>
          </c:cat>
          <c:val>
            <c:numRef>
              <c:f>Blad1!$B$2</c:f>
              <c:numCache>
                <c:formatCode>General</c:formatCode>
                <c:ptCount val="1"/>
                <c:pt idx="0">
                  <c:v>-23</c:v>
                </c:pt>
              </c:numCache>
            </c:numRef>
          </c:val>
          <c:smooth val="0"/>
          <c:extLst>
            <c:ext xmlns:c16="http://schemas.microsoft.com/office/drawing/2014/chart" uri="{C3380CC4-5D6E-409C-BE32-E72D297353CC}">
              <c16:uniqueId val="{00000001-8F33-46C2-B9FA-BCFF52598C87}"/>
            </c:ext>
          </c:extLst>
        </c:ser>
        <c:dLbls>
          <c:showLegendKey val="0"/>
          <c:showVal val="0"/>
          <c:showCatName val="0"/>
          <c:showSerName val="0"/>
          <c:showPercent val="0"/>
          <c:showBubbleSize val="0"/>
        </c:dLbls>
        <c:smooth val="0"/>
        <c:axId val="157510656"/>
        <c:axId val="157512448"/>
      </c:lineChart>
      <c:catAx>
        <c:axId val="157510656"/>
        <c:scaling>
          <c:orientation val="minMax"/>
        </c:scaling>
        <c:delete val="0"/>
        <c:axPos val="b"/>
        <c:numFmt formatCode="General" sourceLinked="1"/>
        <c:majorTickMark val="out"/>
        <c:minorTickMark val="none"/>
        <c:tickLblPos val="nextTo"/>
        <c:spPr>
          <a:noFill/>
          <a:ln w="12700" cap="flat" cmpd="sng" algn="ctr">
            <a:solidFill>
              <a:schemeClr val="bg1"/>
            </a:solidFill>
            <a:prstDash val="solid"/>
            <a:round/>
          </a:ln>
          <a:effectLst/>
        </c:spPr>
        <c:txPr>
          <a:bodyPr rot="-60000000" spcFirstLastPara="1" vertOverflow="ellipsis" vert="horz" wrap="square" anchor="ctr" anchorCtr="1"/>
          <a:lstStyle/>
          <a:p>
            <a:pPr>
              <a:defRPr sz="1800" b="1" i="0" u="none" strike="noStrike" kern="1200" baseline="0">
                <a:solidFill>
                  <a:schemeClr val="bg1"/>
                </a:solidFill>
                <a:latin typeface="+mn-lt"/>
                <a:ea typeface="+mn-ea"/>
                <a:cs typeface="+mn-cs"/>
              </a:defRPr>
            </a:pPr>
            <a:endParaRPr lang="nl-NL"/>
          </a:p>
        </c:txPr>
        <c:crossAx val="157512448"/>
        <c:crosses val="autoZero"/>
        <c:auto val="1"/>
        <c:lblAlgn val="ctr"/>
        <c:lblOffset val="100"/>
        <c:noMultiLvlLbl val="0"/>
      </c:catAx>
      <c:valAx>
        <c:axId val="157512448"/>
        <c:scaling>
          <c:orientation val="minMax"/>
        </c:scaling>
        <c:delete val="0"/>
        <c:axPos val="l"/>
        <c:majorGridlines>
          <c:spPr>
            <a:ln w="6350" cap="flat" cmpd="sng" algn="ctr">
              <a:solidFill>
                <a:schemeClr val="bg1"/>
              </a:solidFill>
              <a:prstDash val="solid"/>
              <a:round/>
            </a:ln>
            <a:effectLst/>
          </c:spPr>
        </c:majorGridlines>
        <c:numFmt formatCode="General" sourceLinked="1"/>
        <c:majorTickMark val="out"/>
        <c:minorTickMark val="none"/>
        <c:tickLblPos val="nextTo"/>
        <c:spPr>
          <a:noFill/>
          <a:ln w="6350" cap="flat" cmpd="sng" algn="ctr">
            <a:solidFill>
              <a:schemeClr val="bg1"/>
            </a:solidFill>
            <a:prstDash val="solid"/>
            <a:round/>
          </a:ln>
          <a:effectLst/>
        </c:spPr>
        <c:txPr>
          <a:bodyPr rot="-60000000" spcFirstLastPara="1" vertOverflow="ellipsis" vert="horz" wrap="square" anchor="ctr" anchorCtr="1"/>
          <a:lstStyle/>
          <a:p>
            <a:pPr>
              <a:defRPr sz="1800" b="1" i="0" u="none" strike="noStrike" kern="1200" baseline="0">
                <a:solidFill>
                  <a:schemeClr val="tx2"/>
                </a:solidFill>
                <a:latin typeface="+mn-lt"/>
                <a:ea typeface="+mn-ea"/>
                <a:cs typeface="+mn-cs"/>
              </a:defRPr>
            </a:pPr>
            <a:endParaRPr lang="nl-NL"/>
          </a:p>
        </c:txPr>
        <c:crossAx val="157510656"/>
        <c:crosses val="autoZero"/>
        <c:crossBetween val="between"/>
      </c:valAx>
      <c:spPr>
        <a:noFill/>
        <a:ln w="25400">
          <a:noFill/>
        </a:ln>
        <a:effectLst/>
      </c:spPr>
    </c:plotArea>
    <c:plotVisOnly val="1"/>
    <c:dispBlanksAs val="gap"/>
    <c:showDLblsOverMax val="0"/>
  </c:chart>
  <c:spPr>
    <a:noFill/>
    <a:ln w="6350" cap="flat" cmpd="sng" algn="ctr">
      <a:noFill/>
      <a:prstDash val="solid"/>
      <a:miter lim="800000"/>
    </a:ln>
    <a:effectLst/>
  </c:spPr>
  <c:txPr>
    <a:bodyPr/>
    <a:lstStyle/>
    <a:p>
      <a:pPr>
        <a:defRPr sz="1800" b="1">
          <a:solidFill>
            <a:schemeClr val="bg1"/>
          </a:solidFill>
        </a:defRPr>
      </a:pPr>
      <a:endParaRPr lang="nl-NL"/>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130893389778303E-2"/>
          <c:y val="9.4172529525802198E-2"/>
          <c:w val="0.65619376401393203"/>
          <c:h val="0.51278098525561999"/>
        </c:manualLayout>
      </c:layout>
      <c:barChart>
        <c:barDir val="col"/>
        <c:grouping val="clustered"/>
        <c:varyColors val="0"/>
        <c:ser>
          <c:idx val="0"/>
          <c:order val="0"/>
          <c:tx>
            <c:strRef>
              <c:f>Blad1!$B$1</c:f>
              <c:strCache>
                <c:ptCount val="1"/>
                <c:pt idx="0">
                  <c:v>% of population (15+) mastering a foreign language well enough in order to be able to have a conversation </c:v>
                </c:pt>
              </c:strCache>
            </c:strRef>
          </c:tx>
          <c:spPr>
            <a:solidFill>
              <a:schemeClr val="accent1"/>
            </a:solidFill>
          </c:spPr>
          <c:invertIfNegative val="0"/>
          <c:dPt>
            <c:idx val="0"/>
            <c:invertIfNegative val="1"/>
            <c:bubble3D val="0"/>
            <c:extLst>
              <c:ext xmlns:c16="http://schemas.microsoft.com/office/drawing/2014/chart" uri="{C3380CC4-5D6E-409C-BE32-E72D297353CC}">
                <c16:uniqueId val="{00000000-52E6-46F3-9D31-77A4503E17F5}"/>
              </c:ext>
            </c:extLst>
          </c:dPt>
          <c:dPt>
            <c:idx val="1"/>
            <c:invertIfNegative val="1"/>
            <c:bubble3D val="0"/>
            <c:spPr>
              <a:solidFill>
                <a:schemeClr val="accent6"/>
              </a:solidFill>
            </c:spPr>
            <c:extLst>
              <c:ext xmlns:c16="http://schemas.microsoft.com/office/drawing/2014/chart" uri="{C3380CC4-5D6E-409C-BE32-E72D297353CC}">
                <c16:uniqueId val="{00000002-52E6-46F3-9D31-77A4503E17F5}"/>
              </c:ext>
            </c:extLst>
          </c:dPt>
          <c:dPt>
            <c:idx val="2"/>
            <c:invertIfNegative val="1"/>
            <c:bubble3D val="0"/>
            <c:extLst>
              <c:ext xmlns:c16="http://schemas.microsoft.com/office/drawing/2014/chart" uri="{C3380CC4-5D6E-409C-BE32-E72D297353CC}">
                <c16:uniqueId val="{00000003-52E6-46F3-9D31-77A4503E17F5}"/>
              </c:ext>
            </c:extLst>
          </c:dPt>
          <c:dPt>
            <c:idx val="3"/>
            <c:invertIfNegative val="1"/>
            <c:bubble3D val="0"/>
            <c:extLst>
              <c:ext xmlns:c16="http://schemas.microsoft.com/office/drawing/2014/chart" uri="{C3380CC4-5D6E-409C-BE32-E72D297353CC}">
                <c16:uniqueId val="{00000004-52E6-46F3-9D31-77A4503E17F5}"/>
              </c:ext>
            </c:extLst>
          </c:dPt>
          <c:dPt>
            <c:idx val="4"/>
            <c:invertIfNegative val="1"/>
            <c:bubble3D val="0"/>
            <c:extLst>
              <c:ext xmlns:c16="http://schemas.microsoft.com/office/drawing/2014/chart" uri="{C3380CC4-5D6E-409C-BE32-E72D297353CC}">
                <c16:uniqueId val="{00000005-52E6-46F3-9D31-77A4503E17F5}"/>
              </c:ext>
            </c:extLst>
          </c:dPt>
          <c:dPt>
            <c:idx val="5"/>
            <c:invertIfNegative val="1"/>
            <c:bubble3D val="0"/>
            <c:extLst>
              <c:ext xmlns:c16="http://schemas.microsoft.com/office/drawing/2014/chart" uri="{C3380CC4-5D6E-409C-BE32-E72D297353CC}">
                <c16:uniqueId val="{00000006-52E6-46F3-9D31-77A4503E17F5}"/>
              </c:ext>
            </c:extLst>
          </c:dPt>
          <c:dPt>
            <c:idx val="6"/>
            <c:invertIfNegative val="1"/>
            <c:bubble3D val="0"/>
            <c:extLst>
              <c:ext xmlns:c16="http://schemas.microsoft.com/office/drawing/2014/chart" uri="{C3380CC4-5D6E-409C-BE32-E72D297353CC}">
                <c16:uniqueId val="{00000007-52E6-46F3-9D31-77A4503E17F5}"/>
              </c:ext>
            </c:extLst>
          </c:dPt>
          <c:dPt>
            <c:idx val="7"/>
            <c:invertIfNegative val="1"/>
            <c:bubble3D val="0"/>
            <c:extLst>
              <c:ext xmlns:c16="http://schemas.microsoft.com/office/drawing/2014/chart" uri="{C3380CC4-5D6E-409C-BE32-E72D297353CC}">
                <c16:uniqueId val="{00000008-52E6-46F3-9D31-77A4503E17F5}"/>
              </c:ext>
            </c:extLst>
          </c:dPt>
          <c:dPt>
            <c:idx val="8"/>
            <c:invertIfNegative val="1"/>
            <c:bubble3D val="0"/>
            <c:extLst>
              <c:ext xmlns:c16="http://schemas.microsoft.com/office/drawing/2014/chart" uri="{C3380CC4-5D6E-409C-BE32-E72D297353CC}">
                <c16:uniqueId val="{00000009-52E6-46F3-9D31-77A4503E17F5}"/>
              </c:ext>
            </c:extLst>
          </c:dPt>
          <c:dPt>
            <c:idx val="9"/>
            <c:invertIfNegative val="1"/>
            <c:bubble3D val="0"/>
            <c:extLst>
              <c:ext xmlns:c16="http://schemas.microsoft.com/office/drawing/2014/chart" uri="{C3380CC4-5D6E-409C-BE32-E72D297353CC}">
                <c16:uniqueId val="{0000000A-52E6-46F3-9D31-77A4503E17F5}"/>
              </c:ext>
            </c:extLst>
          </c:dPt>
          <c:dPt>
            <c:idx val="10"/>
            <c:invertIfNegative val="1"/>
            <c:bubble3D val="0"/>
            <c:extLst>
              <c:ext xmlns:c16="http://schemas.microsoft.com/office/drawing/2014/chart" uri="{C3380CC4-5D6E-409C-BE32-E72D297353CC}">
                <c16:uniqueId val="{0000000B-52E6-46F3-9D31-77A4503E17F5}"/>
              </c:ext>
            </c:extLst>
          </c:dPt>
          <c:dPt>
            <c:idx val="11"/>
            <c:invertIfNegative val="1"/>
            <c:bubble3D val="0"/>
            <c:extLst>
              <c:ext xmlns:c16="http://schemas.microsoft.com/office/drawing/2014/chart" uri="{C3380CC4-5D6E-409C-BE32-E72D297353CC}">
                <c16:uniqueId val="{0000000C-52E6-46F3-9D31-77A4503E17F5}"/>
              </c:ext>
            </c:extLst>
          </c:dPt>
          <c:dPt>
            <c:idx val="12"/>
            <c:invertIfNegative val="1"/>
            <c:bubble3D val="0"/>
            <c:extLst>
              <c:ext xmlns:c16="http://schemas.microsoft.com/office/drawing/2014/chart" uri="{C3380CC4-5D6E-409C-BE32-E72D297353CC}">
                <c16:uniqueId val="{0000000D-52E6-46F3-9D31-77A4503E17F5}"/>
              </c:ext>
            </c:extLst>
          </c:dPt>
          <c:dPt>
            <c:idx val="13"/>
            <c:invertIfNegative val="1"/>
            <c:bubble3D val="0"/>
            <c:extLst>
              <c:ext xmlns:c16="http://schemas.microsoft.com/office/drawing/2014/chart" uri="{C3380CC4-5D6E-409C-BE32-E72D297353CC}">
                <c16:uniqueId val="{0000000E-52E6-46F3-9D31-77A4503E17F5}"/>
              </c:ext>
            </c:extLst>
          </c:dPt>
          <c:dPt>
            <c:idx val="14"/>
            <c:invertIfNegative val="1"/>
            <c:bubble3D val="0"/>
            <c:extLst>
              <c:ext xmlns:c16="http://schemas.microsoft.com/office/drawing/2014/chart" uri="{C3380CC4-5D6E-409C-BE32-E72D297353CC}">
                <c16:uniqueId val="{0000000F-52E6-46F3-9D31-77A4503E17F5}"/>
              </c:ext>
            </c:extLst>
          </c:dPt>
          <c:dPt>
            <c:idx val="15"/>
            <c:invertIfNegative val="1"/>
            <c:bubble3D val="0"/>
            <c:extLst>
              <c:ext xmlns:c16="http://schemas.microsoft.com/office/drawing/2014/chart" uri="{C3380CC4-5D6E-409C-BE32-E72D297353CC}">
                <c16:uniqueId val="{00000010-52E6-46F3-9D31-77A4503E17F5}"/>
              </c:ext>
            </c:extLst>
          </c:dPt>
          <c:dLbls>
            <c:spPr>
              <a:noFill/>
              <a:ln>
                <a:noFill/>
              </a:ln>
              <a:effectLst/>
            </c:spPr>
            <c:txPr>
              <a:bodyPr wrap="square" lIns="38100" tIns="19050" rIns="38100" bIns="19050" anchor="ctr">
                <a:spAutoFit/>
              </a:bodyPr>
              <a:lstStyle/>
              <a:p>
                <a:pPr>
                  <a:defRPr sz="800"/>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lad1!$A$2:$A$17</c:f>
              <c:strCache>
                <c:ptCount val="16"/>
                <c:pt idx="0">
                  <c:v>Luxembourg</c:v>
                </c:pt>
                <c:pt idx="1">
                  <c:v>Netherlands</c:v>
                </c:pt>
                <c:pt idx="2">
                  <c:v>Sweden</c:v>
                </c:pt>
                <c:pt idx="3">
                  <c:v>Denmark</c:v>
                </c:pt>
                <c:pt idx="4">
                  <c:v>Austria</c:v>
                </c:pt>
                <c:pt idx="5">
                  <c:v>Finland</c:v>
                </c:pt>
                <c:pt idx="6">
                  <c:v>Belgium</c:v>
                </c:pt>
                <c:pt idx="7">
                  <c:v>Germany</c:v>
                </c:pt>
                <c:pt idx="8">
                  <c:v>France</c:v>
                </c:pt>
                <c:pt idx="9">
                  <c:v>Poland</c:v>
                </c:pt>
                <c:pt idx="10">
                  <c:v>Czech Republic</c:v>
                </c:pt>
                <c:pt idx="11">
                  <c:v>Spain</c:v>
                </c:pt>
                <c:pt idx="12">
                  <c:v>Ireland</c:v>
                </c:pt>
                <c:pt idx="13">
                  <c:v>United Kingdom</c:v>
                </c:pt>
                <c:pt idx="14">
                  <c:v>Portugal</c:v>
                </c:pt>
                <c:pt idx="15">
                  <c:v>Italia</c:v>
                </c:pt>
              </c:strCache>
            </c:strRef>
          </c:cat>
          <c:val>
            <c:numRef>
              <c:f>Blad1!$B$2:$B$17</c:f>
              <c:numCache>
                <c:formatCode>General</c:formatCode>
                <c:ptCount val="16"/>
                <c:pt idx="0">
                  <c:v>98</c:v>
                </c:pt>
                <c:pt idx="1">
                  <c:v>94</c:v>
                </c:pt>
                <c:pt idx="2">
                  <c:v>91</c:v>
                </c:pt>
                <c:pt idx="3">
                  <c:v>89</c:v>
                </c:pt>
                <c:pt idx="4">
                  <c:v>78</c:v>
                </c:pt>
                <c:pt idx="5">
                  <c:v>75</c:v>
                </c:pt>
                <c:pt idx="6">
                  <c:v>72</c:v>
                </c:pt>
                <c:pt idx="7">
                  <c:v>66</c:v>
                </c:pt>
                <c:pt idx="8">
                  <c:v>51</c:v>
                </c:pt>
                <c:pt idx="9">
                  <c:v>50</c:v>
                </c:pt>
                <c:pt idx="10">
                  <c:v>49</c:v>
                </c:pt>
                <c:pt idx="11">
                  <c:v>46</c:v>
                </c:pt>
                <c:pt idx="12">
                  <c:v>40</c:v>
                </c:pt>
                <c:pt idx="13">
                  <c:v>39</c:v>
                </c:pt>
                <c:pt idx="14">
                  <c:v>39</c:v>
                </c:pt>
                <c:pt idx="15">
                  <c:v>38</c:v>
                </c:pt>
              </c:numCache>
            </c:numRef>
          </c:val>
          <c:extLst>
            <c:ext xmlns:c16="http://schemas.microsoft.com/office/drawing/2014/chart" uri="{C3380CC4-5D6E-409C-BE32-E72D297353CC}">
              <c16:uniqueId val="{00000011-52E6-46F3-9D31-77A4503E17F5}"/>
            </c:ext>
          </c:extLst>
        </c:ser>
        <c:ser>
          <c:idx val="1"/>
          <c:order val="1"/>
          <c:tx>
            <c:strRef>
              <c:f>Blad1!$C$1</c:f>
              <c:strCache>
                <c:ptCount val="1"/>
                <c:pt idx="0">
                  <c:v>% of population (15+) mastering English </c:v>
                </c:pt>
              </c:strCache>
            </c:strRef>
          </c:tx>
          <c:spPr>
            <a:solidFill>
              <a:schemeClr val="bg2">
                <a:lumMod val="20000"/>
                <a:lumOff val="80000"/>
              </a:schemeClr>
            </a:solidFill>
            <a:ln>
              <a:noFill/>
            </a:ln>
          </c:spPr>
          <c:invertIfNegative val="0"/>
          <c:dPt>
            <c:idx val="0"/>
            <c:invertIfNegative val="1"/>
            <c:bubble3D val="0"/>
            <c:extLst>
              <c:ext xmlns:c16="http://schemas.microsoft.com/office/drawing/2014/chart" uri="{C3380CC4-5D6E-409C-BE32-E72D297353CC}">
                <c16:uniqueId val="{00000012-52E6-46F3-9D31-77A4503E17F5}"/>
              </c:ext>
            </c:extLst>
          </c:dPt>
          <c:dPt>
            <c:idx val="1"/>
            <c:invertIfNegative val="1"/>
            <c:bubble3D val="0"/>
            <c:spPr>
              <a:solidFill>
                <a:schemeClr val="bg2"/>
              </a:solidFill>
              <a:ln>
                <a:noFill/>
              </a:ln>
            </c:spPr>
            <c:extLst>
              <c:ext xmlns:c16="http://schemas.microsoft.com/office/drawing/2014/chart" uri="{C3380CC4-5D6E-409C-BE32-E72D297353CC}">
                <c16:uniqueId val="{00000014-52E6-46F3-9D31-77A4503E17F5}"/>
              </c:ext>
            </c:extLst>
          </c:dPt>
          <c:dPt>
            <c:idx val="2"/>
            <c:invertIfNegative val="1"/>
            <c:bubble3D val="0"/>
            <c:extLst>
              <c:ext xmlns:c16="http://schemas.microsoft.com/office/drawing/2014/chart" uri="{C3380CC4-5D6E-409C-BE32-E72D297353CC}">
                <c16:uniqueId val="{00000015-52E6-46F3-9D31-77A4503E17F5}"/>
              </c:ext>
            </c:extLst>
          </c:dPt>
          <c:dPt>
            <c:idx val="3"/>
            <c:invertIfNegative val="1"/>
            <c:bubble3D val="0"/>
            <c:extLst>
              <c:ext xmlns:c16="http://schemas.microsoft.com/office/drawing/2014/chart" uri="{C3380CC4-5D6E-409C-BE32-E72D297353CC}">
                <c16:uniqueId val="{00000016-52E6-46F3-9D31-77A4503E17F5}"/>
              </c:ext>
            </c:extLst>
          </c:dPt>
          <c:dPt>
            <c:idx val="4"/>
            <c:invertIfNegative val="1"/>
            <c:bubble3D val="0"/>
            <c:extLst>
              <c:ext xmlns:c16="http://schemas.microsoft.com/office/drawing/2014/chart" uri="{C3380CC4-5D6E-409C-BE32-E72D297353CC}">
                <c16:uniqueId val="{00000017-52E6-46F3-9D31-77A4503E17F5}"/>
              </c:ext>
            </c:extLst>
          </c:dPt>
          <c:dPt>
            <c:idx val="5"/>
            <c:invertIfNegative val="1"/>
            <c:bubble3D val="0"/>
            <c:extLst>
              <c:ext xmlns:c16="http://schemas.microsoft.com/office/drawing/2014/chart" uri="{C3380CC4-5D6E-409C-BE32-E72D297353CC}">
                <c16:uniqueId val="{00000018-52E6-46F3-9D31-77A4503E17F5}"/>
              </c:ext>
            </c:extLst>
          </c:dPt>
          <c:dPt>
            <c:idx val="6"/>
            <c:invertIfNegative val="1"/>
            <c:bubble3D val="0"/>
            <c:extLst>
              <c:ext xmlns:c16="http://schemas.microsoft.com/office/drawing/2014/chart" uri="{C3380CC4-5D6E-409C-BE32-E72D297353CC}">
                <c16:uniqueId val="{00000019-52E6-46F3-9D31-77A4503E17F5}"/>
              </c:ext>
            </c:extLst>
          </c:dPt>
          <c:dPt>
            <c:idx val="7"/>
            <c:invertIfNegative val="1"/>
            <c:bubble3D val="0"/>
            <c:extLst>
              <c:ext xmlns:c16="http://schemas.microsoft.com/office/drawing/2014/chart" uri="{C3380CC4-5D6E-409C-BE32-E72D297353CC}">
                <c16:uniqueId val="{0000001A-52E6-46F3-9D31-77A4503E17F5}"/>
              </c:ext>
            </c:extLst>
          </c:dPt>
          <c:dPt>
            <c:idx val="8"/>
            <c:invertIfNegative val="1"/>
            <c:bubble3D val="0"/>
            <c:extLst>
              <c:ext xmlns:c16="http://schemas.microsoft.com/office/drawing/2014/chart" uri="{C3380CC4-5D6E-409C-BE32-E72D297353CC}">
                <c16:uniqueId val="{0000001B-52E6-46F3-9D31-77A4503E17F5}"/>
              </c:ext>
            </c:extLst>
          </c:dPt>
          <c:dPt>
            <c:idx val="9"/>
            <c:invertIfNegative val="1"/>
            <c:bubble3D val="0"/>
            <c:extLst>
              <c:ext xmlns:c16="http://schemas.microsoft.com/office/drawing/2014/chart" uri="{C3380CC4-5D6E-409C-BE32-E72D297353CC}">
                <c16:uniqueId val="{0000001C-52E6-46F3-9D31-77A4503E17F5}"/>
              </c:ext>
            </c:extLst>
          </c:dPt>
          <c:dPt>
            <c:idx val="10"/>
            <c:invertIfNegative val="1"/>
            <c:bubble3D val="0"/>
            <c:extLst>
              <c:ext xmlns:c16="http://schemas.microsoft.com/office/drawing/2014/chart" uri="{C3380CC4-5D6E-409C-BE32-E72D297353CC}">
                <c16:uniqueId val="{0000001D-52E6-46F3-9D31-77A4503E17F5}"/>
              </c:ext>
            </c:extLst>
          </c:dPt>
          <c:dPt>
            <c:idx val="11"/>
            <c:invertIfNegative val="1"/>
            <c:bubble3D val="0"/>
            <c:extLst>
              <c:ext xmlns:c16="http://schemas.microsoft.com/office/drawing/2014/chart" uri="{C3380CC4-5D6E-409C-BE32-E72D297353CC}">
                <c16:uniqueId val="{0000001E-52E6-46F3-9D31-77A4503E17F5}"/>
              </c:ext>
            </c:extLst>
          </c:dPt>
          <c:dPt>
            <c:idx val="12"/>
            <c:invertIfNegative val="1"/>
            <c:bubble3D val="0"/>
            <c:extLst>
              <c:ext xmlns:c16="http://schemas.microsoft.com/office/drawing/2014/chart" uri="{C3380CC4-5D6E-409C-BE32-E72D297353CC}">
                <c16:uniqueId val="{00000020-52E6-46F3-9D31-77A4503E17F5}"/>
              </c:ext>
            </c:extLst>
          </c:dPt>
          <c:dPt>
            <c:idx val="13"/>
            <c:invertIfNegative val="1"/>
            <c:bubble3D val="0"/>
            <c:extLst>
              <c:ext xmlns:c16="http://schemas.microsoft.com/office/drawing/2014/chart" uri="{C3380CC4-5D6E-409C-BE32-E72D297353CC}">
                <c16:uniqueId val="{00000022-52E6-46F3-9D31-77A4503E17F5}"/>
              </c:ext>
            </c:extLst>
          </c:dPt>
          <c:dPt>
            <c:idx val="14"/>
            <c:invertIfNegative val="1"/>
            <c:bubble3D val="0"/>
            <c:extLst>
              <c:ext xmlns:c16="http://schemas.microsoft.com/office/drawing/2014/chart" uri="{C3380CC4-5D6E-409C-BE32-E72D297353CC}">
                <c16:uniqueId val="{00000023-52E6-46F3-9D31-77A4503E17F5}"/>
              </c:ext>
            </c:extLst>
          </c:dPt>
          <c:dPt>
            <c:idx val="15"/>
            <c:invertIfNegative val="1"/>
            <c:bubble3D val="0"/>
            <c:extLst>
              <c:ext xmlns:c16="http://schemas.microsoft.com/office/drawing/2014/chart" uri="{C3380CC4-5D6E-409C-BE32-E72D297353CC}">
                <c16:uniqueId val="{00000024-52E6-46F3-9D31-77A4503E17F5}"/>
              </c:ext>
            </c:extLst>
          </c:dPt>
          <c:dPt>
            <c:idx val="16"/>
            <c:invertIfNegative val="1"/>
            <c:bubble3D val="0"/>
            <c:extLst>
              <c:ext xmlns:c16="http://schemas.microsoft.com/office/drawing/2014/chart" uri="{C3380CC4-5D6E-409C-BE32-E72D297353CC}">
                <c16:uniqueId val="{00000025-52E6-46F3-9D31-77A4503E17F5}"/>
              </c:ext>
            </c:extLst>
          </c:dPt>
          <c:dPt>
            <c:idx val="17"/>
            <c:invertIfNegative val="1"/>
            <c:bubble3D val="0"/>
            <c:extLst>
              <c:ext xmlns:c16="http://schemas.microsoft.com/office/drawing/2014/chart" uri="{C3380CC4-5D6E-409C-BE32-E72D297353CC}">
                <c16:uniqueId val="{00000026-52E6-46F3-9D31-77A4503E17F5}"/>
              </c:ext>
            </c:extLst>
          </c:dPt>
          <c:dPt>
            <c:idx val="18"/>
            <c:invertIfNegative val="1"/>
            <c:bubble3D val="0"/>
            <c:extLst>
              <c:ext xmlns:c16="http://schemas.microsoft.com/office/drawing/2014/chart" uri="{C3380CC4-5D6E-409C-BE32-E72D297353CC}">
                <c16:uniqueId val="{00000027-52E6-46F3-9D31-77A4503E17F5}"/>
              </c:ext>
            </c:extLst>
          </c:dPt>
          <c:dPt>
            <c:idx val="19"/>
            <c:invertIfNegative val="1"/>
            <c:bubble3D val="0"/>
            <c:extLst>
              <c:ext xmlns:c16="http://schemas.microsoft.com/office/drawing/2014/chart" uri="{C3380CC4-5D6E-409C-BE32-E72D297353CC}">
                <c16:uniqueId val="{00000028-52E6-46F3-9D31-77A4503E17F5}"/>
              </c:ext>
            </c:extLst>
          </c:dPt>
          <c:dPt>
            <c:idx val="20"/>
            <c:invertIfNegative val="1"/>
            <c:bubble3D val="0"/>
            <c:extLst>
              <c:ext xmlns:c16="http://schemas.microsoft.com/office/drawing/2014/chart" uri="{C3380CC4-5D6E-409C-BE32-E72D297353CC}">
                <c16:uniqueId val="{00000029-52E6-46F3-9D31-77A4503E17F5}"/>
              </c:ext>
            </c:extLst>
          </c:dPt>
          <c:dPt>
            <c:idx val="21"/>
            <c:invertIfNegative val="1"/>
            <c:bubble3D val="0"/>
            <c:extLst>
              <c:ext xmlns:c16="http://schemas.microsoft.com/office/drawing/2014/chart" uri="{C3380CC4-5D6E-409C-BE32-E72D297353CC}">
                <c16:uniqueId val="{0000002A-52E6-46F3-9D31-77A4503E17F5}"/>
              </c:ext>
            </c:extLst>
          </c:dPt>
          <c:dPt>
            <c:idx val="22"/>
            <c:invertIfNegative val="1"/>
            <c:bubble3D val="0"/>
            <c:extLst>
              <c:ext xmlns:c16="http://schemas.microsoft.com/office/drawing/2014/chart" uri="{C3380CC4-5D6E-409C-BE32-E72D297353CC}">
                <c16:uniqueId val="{0000002C-52E6-46F3-9D31-77A4503E17F5}"/>
              </c:ext>
            </c:extLst>
          </c:dPt>
          <c:dPt>
            <c:idx val="23"/>
            <c:invertIfNegative val="1"/>
            <c:bubble3D val="0"/>
            <c:extLst>
              <c:ext xmlns:c16="http://schemas.microsoft.com/office/drawing/2014/chart" uri="{C3380CC4-5D6E-409C-BE32-E72D297353CC}">
                <c16:uniqueId val="{0000002E-52E6-46F3-9D31-77A4503E17F5}"/>
              </c:ext>
            </c:extLst>
          </c:dPt>
          <c:dLbls>
            <c:spPr>
              <a:noFill/>
              <a:ln>
                <a:noFill/>
              </a:ln>
              <a:effectLst/>
            </c:spPr>
            <c:txPr>
              <a:bodyPr wrap="square" lIns="38100" tIns="19050" rIns="38100" bIns="19050" anchor="ctr">
                <a:spAutoFit/>
              </a:bodyPr>
              <a:lstStyle/>
              <a:p>
                <a:pPr>
                  <a:defRPr sz="800"/>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lad1!$A$2:$A$17</c:f>
              <c:strCache>
                <c:ptCount val="16"/>
                <c:pt idx="0">
                  <c:v>Luxembourg</c:v>
                </c:pt>
                <c:pt idx="1">
                  <c:v>Netherlands</c:v>
                </c:pt>
                <c:pt idx="2">
                  <c:v>Sweden</c:v>
                </c:pt>
                <c:pt idx="3">
                  <c:v>Denmark</c:v>
                </c:pt>
                <c:pt idx="4">
                  <c:v>Austria</c:v>
                </c:pt>
                <c:pt idx="5">
                  <c:v>Finland</c:v>
                </c:pt>
                <c:pt idx="6">
                  <c:v>Belgium</c:v>
                </c:pt>
                <c:pt idx="7">
                  <c:v>Germany</c:v>
                </c:pt>
                <c:pt idx="8">
                  <c:v>France</c:v>
                </c:pt>
                <c:pt idx="9">
                  <c:v>Poland</c:v>
                </c:pt>
                <c:pt idx="10">
                  <c:v>Czech Republic</c:v>
                </c:pt>
                <c:pt idx="11">
                  <c:v>Spain</c:v>
                </c:pt>
                <c:pt idx="12">
                  <c:v>Ireland</c:v>
                </c:pt>
                <c:pt idx="13">
                  <c:v>United Kingdom</c:v>
                </c:pt>
                <c:pt idx="14">
                  <c:v>Portugal</c:v>
                </c:pt>
                <c:pt idx="15">
                  <c:v>Italia</c:v>
                </c:pt>
              </c:strCache>
            </c:strRef>
          </c:cat>
          <c:val>
            <c:numRef>
              <c:f>Blad1!$C$2:$C$17</c:f>
              <c:numCache>
                <c:formatCode>General</c:formatCode>
                <c:ptCount val="16"/>
                <c:pt idx="0">
                  <c:v>69</c:v>
                </c:pt>
                <c:pt idx="1">
                  <c:v>90</c:v>
                </c:pt>
                <c:pt idx="2">
                  <c:v>86</c:v>
                </c:pt>
                <c:pt idx="3">
                  <c:v>86</c:v>
                </c:pt>
                <c:pt idx="4">
                  <c:v>73</c:v>
                </c:pt>
                <c:pt idx="5">
                  <c:v>70</c:v>
                </c:pt>
                <c:pt idx="6">
                  <c:v>38</c:v>
                </c:pt>
                <c:pt idx="7">
                  <c:v>56</c:v>
                </c:pt>
                <c:pt idx="8">
                  <c:v>39</c:v>
                </c:pt>
                <c:pt idx="9">
                  <c:v>33</c:v>
                </c:pt>
                <c:pt idx="10">
                  <c:v>27</c:v>
                </c:pt>
                <c:pt idx="11">
                  <c:v>22</c:v>
                </c:pt>
                <c:pt idx="12">
                  <c:v>99</c:v>
                </c:pt>
                <c:pt idx="13">
                  <c:v>98</c:v>
                </c:pt>
                <c:pt idx="14">
                  <c:v>27</c:v>
                </c:pt>
                <c:pt idx="15">
                  <c:v>34</c:v>
                </c:pt>
              </c:numCache>
            </c:numRef>
          </c:val>
          <c:extLst>
            <c:ext xmlns:c16="http://schemas.microsoft.com/office/drawing/2014/chart" uri="{C3380CC4-5D6E-409C-BE32-E72D297353CC}">
              <c16:uniqueId val="{0000002F-52E6-46F3-9D31-77A4503E17F5}"/>
            </c:ext>
          </c:extLst>
        </c:ser>
        <c:dLbls>
          <c:showLegendKey val="0"/>
          <c:showVal val="0"/>
          <c:showCatName val="0"/>
          <c:showSerName val="0"/>
          <c:showPercent val="0"/>
          <c:showBubbleSize val="0"/>
        </c:dLbls>
        <c:gapWidth val="150"/>
        <c:axId val="76022144"/>
        <c:axId val="76024464"/>
      </c:barChart>
      <c:catAx>
        <c:axId val="76022144"/>
        <c:scaling>
          <c:orientation val="minMax"/>
        </c:scaling>
        <c:delete val="0"/>
        <c:axPos val="b"/>
        <c:numFmt formatCode="General" sourceLinked="1"/>
        <c:majorTickMark val="out"/>
        <c:minorTickMark val="none"/>
        <c:tickLblPos val="nextTo"/>
        <c:crossAx val="76024464"/>
        <c:crosses val="autoZero"/>
        <c:auto val="0"/>
        <c:lblAlgn val="ctr"/>
        <c:lblOffset val="100"/>
        <c:noMultiLvlLbl val="0"/>
      </c:catAx>
      <c:valAx>
        <c:axId val="76024464"/>
        <c:scaling>
          <c:orientation val="minMax"/>
          <c:max val="100"/>
        </c:scaling>
        <c:delete val="0"/>
        <c:axPos val="l"/>
        <c:numFmt formatCode="General" sourceLinked="1"/>
        <c:majorTickMark val="out"/>
        <c:minorTickMark val="none"/>
        <c:tickLblPos val="nextTo"/>
        <c:crossAx val="76022144"/>
        <c:crosses val="autoZero"/>
        <c:crossBetween val="between"/>
        <c:majorUnit val="20"/>
      </c:valAx>
    </c:plotArea>
    <c:legend>
      <c:legendPos val="tr"/>
      <c:layout>
        <c:manualLayout>
          <c:xMode val="edge"/>
          <c:yMode val="edge"/>
          <c:x val="0.73001729796294523"/>
          <c:y val="5.7645215636226918E-2"/>
          <c:w val="0.26146451167629264"/>
          <c:h val="0.5006048208648447"/>
        </c:manualLayout>
      </c:layout>
      <c:overlay val="0"/>
      <c:txPr>
        <a:bodyPr/>
        <a:lstStyle/>
        <a:p>
          <a:pPr>
            <a:defRPr>
              <a:latin typeface="+mn-lt"/>
            </a:defRPr>
          </a:pPr>
          <a:endParaRPr lang="nl-NL"/>
        </a:p>
      </c:txPr>
    </c:legend>
    <c:plotVisOnly val="1"/>
    <c:dispBlanksAs val="gap"/>
    <c:showDLblsOverMax val="0"/>
  </c:chart>
  <c:txPr>
    <a:bodyPr/>
    <a:lstStyle/>
    <a:p>
      <a:pPr>
        <a:defRPr sz="1000">
          <a:solidFill>
            <a:schemeClr val="tx2"/>
          </a:solidFill>
          <a:latin typeface="+mn-lt"/>
        </a:defRPr>
      </a:pPr>
      <a:endParaRPr lang="nl-NL"/>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9F95ED2-1999-401C-B694-BB227E99ACBA}" type="doc">
      <dgm:prSet loTypeId="urn:microsoft.com/office/officeart/2005/8/layout/default" loCatId="list" qsTypeId="urn:microsoft.com/office/officeart/2005/8/quickstyle/simple1" qsCatId="simple" csTypeId="urn:microsoft.com/office/officeart/2005/8/colors/accent1_2" csCatId="accent1" phldr="0"/>
      <dgm:spPr/>
      <dgm:t>
        <a:bodyPr/>
        <a:lstStyle/>
        <a:p>
          <a:endParaRPr lang="nl-NL"/>
        </a:p>
      </dgm:t>
    </dgm:pt>
    <dgm:pt modelId="{67B85967-13C0-4C61-A613-AC8169081728}" type="pres">
      <dgm:prSet presAssocID="{D9F95ED2-1999-401C-B694-BB227E99ACBA}" presName="diagram" presStyleCnt="0">
        <dgm:presLayoutVars>
          <dgm:dir/>
          <dgm:resizeHandles val="exact"/>
        </dgm:presLayoutVars>
      </dgm:prSet>
      <dgm:spPr/>
    </dgm:pt>
  </dgm:ptLst>
  <dgm:cxnLst>
    <dgm:cxn modelId="{137A5832-6689-449F-952C-91CD5D328233}" type="presOf" srcId="{D9F95ED2-1999-401C-B694-BB227E99ACBA}" destId="{67B85967-13C0-4C61-A613-AC8169081728}" srcOrd="0" destOrd="0" presId="urn:microsoft.com/office/officeart/2005/8/layout/defaul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9F95ED2-1999-401C-B694-BB227E99ACBA}" type="doc">
      <dgm:prSet loTypeId="urn:microsoft.com/office/officeart/2005/8/layout/default" loCatId="list" qsTypeId="urn:microsoft.com/office/officeart/2005/8/quickstyle/simple1" qsCatId="simple" csTypeId="urn:microsoft.com/office/officeart/2005/8/colors/accent1_2" csCatId="accent1" phldr="0"/>
      <dgm:spPr/>
      <dgm:t>
        <a:bodyPr/>
        <a:lstStyle/>
        <a:p>
          <a:endParaRPr lang="nl-NL"/>
        </a:p>
      </dgm:t>
    </dgm:pt>
    <dgm:pt modelId="{67B85967-13C0-4C61-A613-AC8169081728}" type="pres">
      <dgm:prSet presAssocID="{D9F95ED2-1999-401C-B694-BB227E99ACBA}" presName="diagram" presStyleCnt="0">
        <dgm:presLayoutVars>
          <dgm:dir/>
          <dgm:resizeHandles val="exact"/>
        </dgm:presLayoutVars>
      </dgm:prSet>
      <dgm:spPr/>
    </dgm:pt>
  </dgm:ptLst>
  <dgm:cxnLst>
    <dgm:cxn modelId="{137A5832-6689-449F-952C-91CD5D328233}" type="presOf" srcId="{D9F95ED2-1999-401C-B694-BB227E99ACBA}" destId="{67B85967-13C0-4C61-A613-AC8169081728}" srcOrd="0" destOrd="0" presId="urn:microsoft.com/office/officeart/2005/8/layout/defaul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9F95ED2-1999-401C-B694-BB227E99ACBA}" type="doc">
      <dgm:prSet loTypeId="urn:microsoft.com/office/officeart/2005/8/layout/default" loCatId="list" qsTypeId="urn:microsoft.com/office/officeart/2005/8/quickstyle/simple1" qsCatId="simple" csTypeId="urn:microsoft.com/office/officeart/2005/8/colors/accent1_2" csCatId="accent1" phldr="0"/>
      <dgm:spPr/>
      <dgm:t>
        <a:bodyPr/>
        <a:lstStyle/>
        <a:p>
          <a:endParaRPr lang="nl-NL"/>
        </a:p>
      </dgm:t>
    </dgm:pt>
    <dgm:pt modelId="{67B85967-13C0-4C61-A613-AC8169081728}" type="pres">
      <dgm:prSet presAssocID="{D9F95ED2-1999-401C-B694-BB227E99ACBA}" presName="diagram" presStyleCnt="0">
        <dgm:presLayoutVars>
          <dgm:dir/>
          <dgm:resizeHandles val="exact"/>
        </dgm:presLayoutVars>
      </dgm:prSet>
      <dgm:spPr/>
    </dgm:pt>
  </dgm:ptLst>
  <dgm:cxnLst>
    <dgm:cxn modelId="{137A5832-6689-449F-952C-91CD5D328233}" type="presOf" srcId="{D9F95ED2-1999-401C-B694-BB227E99ACBA}" destId="{67B85967-13C0-4C61-A613-AC8169081728}" srcOrd="0" destOrd="0" presId="urn:microsoft.com/office/officeart/2005/8/layout/defaul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9F95ED2-1999-401C-B694-BB227E99ACBA}" type="doc">
      <dgm:prSet loTypeId="urn:microsoft.com/office/officeart/2005/8/layout/default" loCatId="list" qsTypeId="urn:microsoft.com/office/officeart/2005/8/quickstyle/simple1" qsCatId="simple" csTypeId="urn:microsoft.com/office/officeart/2005/8/colors/accent1_2" csCatId="accent1" phldr="0"/>
      <dgm:spPr/>
      <dgm:t>
        <a:bodyPr/>
        <a:lstStyle/>
        <a:p>
          <a:endParaRPr lang="nl-NL"/>
        </a:p>
      </dgm:t>
    </dgm:pt>
    <dgm:pt modelId="{67B85967-13C0-4C61-A613-AC8169081728}" type="pres">
      <dgm:prSet presAssocID="{D9F95ED2-1999-401C-B694-BB227E99ACBA}" presName="diagram" presStyleCnt="0">
        <dgm:presLayoutVars>
          <dgm:dir/>
          <dgm:resizeHandles val="exact"/>
        </dgm:presLayoutVars>
      </dgm:prSet>
      <dgm:spPr/>
    </dgm:pt>
  </dgm:ptLst>
  <dgm:cxnLst>
    <dgm:cxn modelId="{137A5832-6689-449F-952C-91CD5D328233}" type="presOf" srcId="{D9F95ED2-1999-401C-B694-BB227E99ACBA}" destId="{67B85967-13C0-4C61-A613-AC8169081728}" srcOrd="0" destOrd="0" presId="urn:microsoft.com/office/officeart/2005/8/layout/defaul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6916</cdr:x>
      <cdr:y>0.86789</cdr:y>
    </cdr:from>
    <cdr:to>
      <cdr:x>0.91927</cdr:x>
      <cdr:y>0.87052</cdr:y>
    </cdr:to>
    <cdr:cxnSp macro="">
      <cdr:nvCxnSpPr>
        <cdr:cNvPr id="3" name="Rechte verbindingslijn 2">
          <a:extLst xmlns:a="http://schemas.openxmlformats.org/drawingml/2006/main">
            <a:ext uri="{FF2B5EF4-FFF2-40B4-BE49-F238E27FC236}">
              <a16:creationId xmlns:a16="http://schemas.microsoft.com/office/drawing/2014/main" id="{E9A8D65A-4D51-4878-AAF3-73CF9F814A1F}"/>
            </a:ext>
          </a:extLst>
        </cdr:cNvPr>
        <cdr:cNvCxnSpPr/>
      </cdr:nvCxnSpPr>
      <cdr:spPr>
        <a:xfrm xmlns:a="http://schemas.openxmlformats.org/drawingml/2006/main" flipV="1">
          <a:off x="603863" y="3257277"/>
          <a:ext cx="7422112" cy="9868"/>
        </a:xfrm>
        <a:prstGeom xmlns:a="http://schemas.openxmlformats.org/drawingml/2006/main" prst="line">
          <a:avLst/>
        </a:prstGeom>
        <a:ln xmlns:a="http://schemas.openxmlformats.org/drawingml/2006/main" w="63500" cap="rnd">
          <a:solidFill>
            <a:schemeClr val="tx2"/>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6916</cdr:x>
      <cdr:y>0.54132</cdr:y>
    </cdr:from>
    <cdr:to>
      <cdr:x>0.9149</cdr:x>
      <cdr:y>0.54806</cdr:y>
    </cdr:to>
    <cdr:cxnSp macro="">
      <cdr:nvCxnSpPr>
        <cdr:cNvPr id="5" name="Rechte verbindingslijn 4">
          <a:extLst xmlns:a="http://schemas.openxmlformats.org/drawingml/2006/main">
            <a:ext uri="{FF2B5EF4-FFF2-40B4-BE49-F238E27FC236}">
              <a16:creationId xmlns:a16="http://schemas.microsoft.com/office/drawing/2014/main" id="{BD75D978-E753-4CC2-B187-3CF71BE8F0CA}"/>
            </a:ext>
          </a:extLst>
        </cdr:cNvPr>
        <cdr:cNvCxnSpPr/>
      </cdr:nvCxnSpPr>
      <cdr:spPr>
        <a:xfrm xmlns:a="http://schemas.openxmlformats.org/drawingml/2006/main">
          <a:off x="603863" y="2031616"/>
          <a:ext cx="7384012" cy="25315"/>
        </a:xfrm>
        <a:prstGeom xmlns:a="http://schemas.openxmlformats.org/drawingml/2006/main" prst="line">
          <a:avLst/>
        </a:prstGeom>
        <a:ln xmlns:a="http://schemas.openxmlformats.org/drawingml/2006/main" w="63500" cap="rnd">
          <a:solidFill>
            <a:srgbClr val="FF0000"/>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jdelijke aanduiding voor datum 2"/>
          <p:cNvSpPr>
            <a:spLocks noGrp="1"/>
          </p:cNvSpPr>
          <p:nvPr>
            <p:ph type="dt" sz="quarter" idx="1"/>
          </p:nvPr>
        </p:nvSpPr>
        <p:spPr>
          <a:xfrm>
            <a:off x="3850444" y="1"/>
            <a:ext cx="2945659" cy="496332"/>
          </a:xfrm>
          <a:prstGeom prst="rect">
            <a:avLst/>
          </a:prstGeom>
        </p:spPr>
        <p:txBody>
          <a:bodyPr vert="horz" lIns="88221" tIns="44111" rIns="88221" bIns="44111" rtlCol="0"/>
          <a:lstStyle>
            <a:lvl1pPr algn="r">
              <a:defRPr sz="1200"/>
            </a:lvl1pPr>
          </a:lstStyle>
          <a:p>
            <a:fld id="{24F5BBF3-5FC5-4CFD-8F4C-8BC7DAA8E1CD}" type="datetimeFigureOut">
              <a:rPr lang="nl-NL" smtClean="0"/>
              <a:t>29-5-2020</a:t>
            </a:fld>
            <a:endParaRPr lang="nl-NL"/>
          </a:p>
        </p:txBody>
      </p:sp>
      <p:sp>
        <p:nvSpPr>
          <p:cNvPr id="4" name="Tijdelijke aanduiding voor voettekst 3"/>
          <p:cNvSpPr>
            <a:spLocks noGrp="1"/>
          </p:cNvSpPr>
          <p:nvPr>
            <p:ph type="ftr" sz="quarter" idx="2"/>
          </p:nvPr>
        </p:nvSpPr>
        <p:spPr>
          <a:xfrm>
            <a:off x="0" y="9428584"/>
            <a:ext cx="2945659" cy="496332"/>
          </a:xfrm>
          <a:prstGeom prst="rect">
            <a:avLst/>
          </a:prstGeom>
        </p:spPr>
        <p:txBody>
          <a:bodyPr vert="horz" lIns="88221" tIns="44111" rIns="88221" bIns="44111"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50444" y="9428584"/>
            <a:ext cx="2945659" cy="496332"/>
          </a:xfrm>
          <a:prstGeom prst="rect">
            <a:avLst/>
          </a:prstGeom>
        </p:spPr>
        <p:txBody>
          <a:bodyPr vert="horz" lIns="88221" tIns="44111" rIns="88221" bIns="44111" rtlCol="0" anchor="b"/>
          <a:lstStyle>
            <a:lvl1pPr algn="r">
              <a:defRPr sz="1200"/>
            </a:lvl1pPr>
          </a:lstStyle>
          <a:p>
            <a:fld id="{48D5A1BC-5CAA-4FD4-AA5B-7E415D000934}" type="slidenum">
              <a:rPr lang="nl-NL" smtClean="0"/>
              <a:t>‹nr.›</a:t>
            </a:fld>
            <a:endParaRPr lang="nl-NL"/>
          </a:p>
        </p:txBody>
      </p:sp>
    </p:spTree>
    <p:extLst>
      <p:ext uri="{BB962C8B-B14F-4D97-AF65-F5344CB8AC3E}">
        <p14:creationId xmlns:p14="http://schemas.microsoft.com/office/powerpoint/2010/main" val="18100442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424855" y="1"/>
            <a:ext cx="2945659" cy="496332"/>
          </a:xfrm>
          <a:prstGeom prst="rect">
            <a:avLst/>
          </a:prstGeom>
        </p:spPr>
        <p:txBody>
          <a:bodyPr vert="horz" lIns="88221" tIns="44111" rIns="88221" bIns="44111" rtlCol="0"/>
          <a:lstStyle>
            <a:lvl1pPr algn="l">
              <a:defRPr sz="1100">
                <a:latin typeface="NLRTM" panose="00000500000000000000" pitchFamily="2" charset="0"/>
              </a:defRPr>
            </a:lvl1pPr>
          </a:lstStyle>
          <a:p>
            <a:endParaRPr lang="nl-NL" dirty="0"/>
          </a:p>
        </p:txBody>
      </p:sp>
      <p:sp>
        <p:nvSpPr>
          <p:cNvPr id="3" name="Tijdelijke aanduiding voor datum 2"/>
          <p:cNvSpPr>
            <a:spLocks noGrp="1"/>
          </p:cNvSpPr>
          <p:nvPr>
            <p:ph type="dt" idx="1"/>
          </p:nvPr>
        </p:nvSpPr>
        <p:spPr>
          <a:xfrm>
            <a:off x="3427164" y="1"/>
            <a:ext cx="2945659" cy="496332"/>
          </a:xfrm>
          <a:prstGeom prst="rect">
            <a:avLst/>
          </a:prstGeom>
        </p:spPr>
        <p:txBody>
          <a:bodyPr vert="horz" lIns="88221" tIns="44111" rIns="88221" bIns="44111" rtlCol="0"/>
          <a:lstStyle>
            <a:lvl1pPr algn="r">
              <a:defRPr sz="1100">
                <a:latin typeface="NLRTM" panose="00000500000000000000" pitchFamily="2" charset="0"/>
              </a:defRPr>
            </a:lvl1pPr>
          </a:lstStyle>
          <a:p>
            <a:fld id="{13EA9AAA-27FB-4E69-B390-166BE6B4799F}" type="datetimeFigureOut">
              <a:rPr lang="nl-NL" smtClean="0"/>
              <a:pPr/>
              <a:t>29-5-2020</a:t>
            </a:fld>
            <a:endParaRPr lang="nl-NL"/>
          </a:p>
        </p:txBody>
      </p:sp>
      <p:sp>
        <p:nvSpPr>
          <p:cNvPr id="4" name="Tijdelijke aanduiding voor dia-afbeelding 3"/>
          <p:cNvSpPr>
            <a:spLocks noGrp="1" noRot="1" noChangeAspect="1"/>
          </p:cNvSpPr>
          <p:nvPr>
            <p:ph type="sldImg" idx="2"/>
          </p:nvPr>
        </p:nvSpPr>
        <p:spPr>
          <a:xfrm>
            <a:off x="385763" y="781050"/>
            <a:ext cx="6026150" cy="3389313"/>
          </a:xfrm>
          <a:prstGeom prst="rect">
            <a:avLst/>
          </a:prstGeom>
          <a:noFill/>
          <a:ln w="12700">
            <a:solidFill>
              <a:prstClr val="black"/>
            </a:solidFill>
          </a:ln>
        </p:spPr>
        <p:txBody>
          <a:bodyPr vert="horz" lIns="88221" tIns="44111" rIns="88221" bIns="44111" rtlCol="0" anchor="ctr"/>
          <a:lstStyle/>
          <a:p>
            <a:endParaRPr lang="nl-NL"/>
          </a:p>
        </p:txBody>
      </p:sp>
      <p:sp>
        <p:nvSpPr>
          <p:cNvPr id="5" name="Tijdelijke aanduiding voor notities 4"/>
          <p:cNvSpPr>
            <a:spLocks noGrp="1"/>
          </p:cNvSpPr>
          <p:nvPr>
            <p:ph type="body" sz="quarter" idx="3"/>
          </p:nvPr>
        </p:nvSpPr>
        <p:spPr>
          <a:xfrm>
            <a:off x="424855" y="4456357"/>
            <a:ext cx="5947966" cy="5040696"/>
          </a:xfrm>
          <a:prstGeom prst="rect">
            <a:avLst/>
          </a:prstGeom>
        </p:spPr>
        <p:txBody>
          <a:bodyPr vert="horz" lIns="88221" tIns="44111" rIns="88221" bIns="44111"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463746144"/>
      </p:ext>
    </p:extLst>
  </p:cSld>
  <p:clrMap bg1="lt1" tx1="dk1" bg2="lt2" tx2="dk2" accent1="accent1" accent2="accent2" accent3="accent3" accent4="accent4" accent5="accent5" accent6="accent6" hlink="hlink" folHlink="folHlink"/>
  <p:notesStyle>
    <a:lvl1pPr marL="0" algn="l" defTabSz="1219352" rtl="0" eaLnBrk="1" latinLnBrk="0" hangingPunct="1">
      <a:defRPr sz="1050" kern="1200">
        <a:solidFill>
          <a:schemeClr val="tx1"/>
        </a:solidFill>
        <a:latin typeface="NLRTM" panose="00000500000000000000" pitchFamily="2" charset="0"/>
        <a:ea typeface="+mn-ea"/>
        <a:cs typeface="+mn-cs"/>
      </a:defRPr>
    </a:lvl1pPr>
    <a:lvl2pPr marL="609676" algn="l" defTabSz="1219352" rtl="0" eaLnBrk="1" latinLnBrk="0" hangingPunct="1">
      <a:defRPr sz="1050" kern="1200">
        <a:solidFill>
          <a:schemeClr val="tx1"/>
        </a:solidFill>
        <a:latin typeface="NLRTM" panose="00000500000000000000" pitchFamily="2" charset="0"/>
        <a:ea typeface="+mn-ea"/>
        <a:cs typeface="+mn-cs"/>
      </a:defRPr>
    </a:lvl2pPr>
    <a:lvl3pPr marL="1219352" algn="l" defTabSz="1219352" rtl="0" eaLnBrk="1" latinLnBrk="0" hangingPunct="1">
      <a:defRPr sz="1050" kern="1200">
        <a:solidFill>
          <a:schemeClr val="tx1"/>
        </a:solidFill>
        <a:latin typeface="NLRTM" panose="00000500000000000000" pitchFamily="2" charset="0"/>
        <a:ea typeface="+mn-ea"/>
        <a:cs typeface="+mn-cs"/>
      </a:defRPr>
    </a:lvl3pPr>
    <a:lvl4pPr marL="1829029" algn="l" defTabSz="1219352" rtl="0" eaLnBrk="1" latinLnBrk="0" hangingPunct="1">
      <a:defRPr sz="1050" kern="1200">
        <a:solidFill>
          <a:schemeClr val="tx1"/>
        </a:solidFill>
        <a:latin typeface="NLRTM" panose="00000500000000000000" pitchFamily="2" charset="0"/>
        <a:ea typeface="+mn-ea"/>
        <a:cs typeface="+mn-cs"/>
      </a:defRPr>
    </a:lvl4pPr>
    <a:lvl5pPr marL="2438705" algn="l" defTabSz="1219352" rtl="0" eaLnBrk="1" latinLnBrk="0" hangingPunct="1">
      <a:defRPr sz="1050" kern="1200">
        <a:solidFill>
          <a:schemeClr val="tx1"/>
        </a:solidFill>
        <a:latin typeface="NLRTM" panose="00000500000000000000" pitchFamily="2" charset="0"/>
        <a:ea typeface="+mn-ea"/>
        <a:cs typeface="+mn-cs"/>
      </a:defRPr>
    </a:lvl5pPr>
    <a:lvl6pPr marL="3048381" algn="l" defTabSz="1219352" rtl="0" eaLnBrk="1" latinLnBrk="0" hangingPunct="1">
      <a:defRPr sz="1600" kern="1200">
        <a:solidFill>
          <a:schemeClr val="tx1"/>
        </a:solidFill>
        <a:latin typeface="+mn-lt"/>
        <a:ea typeface="+mn-ea"/>
        <a:cs typeface="+mn-cs"/>
      </a:defRPr>
    </a:lvl6pPr>
    <a:lvl7pPr marL="3658057" algn="l" defTabSz="1219352" rtl="0" eaLnBrk="1" latinLnBrk="0" hangingPunct="1">
      <a:defRPr sz="1600" kern="1200">
        <a:solidFill>
          <a:schemeClr val="tx1"/>
        </a:solidFill>
        <a:latin typeface="+mn-lt"/>
        <a:ea typeface="+mn-ea"/>
        <a:cs typeface="+mn-cs"/>
      </a:defRPr>
    </a:lvl7pPr>
    <a:lvl8pPr marL="4267733" algn="l" defTabSz="1219352" rtl="0" eaLnBrk="1" latinLnBrk="0" hangingPunct="1">
      <a:defRPr sz="1600" kern="1200">
        <a:solidFill>
          <a:schemeClr val="tx1"/>
        </a:solidFill>
        <a:latin typeface="+mn-lt"/>
        <a:ea typeface="+mn-ea"/>
        <a:cs typeface="+mn-cs"/>
      </a:defRPr>
    </a:lvl8pPr>
    <a:lvl9pPr marL="4877410" algn="l" defTabSz="1219352"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Tree>
    <p:extLst>
      <p:ext uri="{BB962C8B-B14F-4D97-AF65-F5344CB8AC3E}">
        <p14:creationId xmlns:p14="http://schemas.microsoft.com/office/powerpoint/2010/main" val="41086691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sz="1600" b="0" u="none" baseline="0" dirty="0"/>
          </a:p>
        </p:txBody>
      </p:sp>
      <p:sp>
        <p:nvSpPr>
          <p:cNvPr id="4" name="Slide Number Placeholder 3"/>
          <p:cNvSpPr>
            <a:spLocks noGrp="1"/>
          </p:cNvSpPr>
          <p:nvPr>
            <p:ph type="sldNum" sz="quarter" idx="10"/>
          </p:nvPr>
        </p:nvSpPr>
        <p:spPr/>
        <p:txBody>
          <a:bodyPr/>
          <a:lstStyle/>
          <a:p>
            <a:fld id="{247DDDC5-6FC9-440B-A884-CB7AD2CAE3B7}" type="slidenum">
              <a:rPr lang="nl-NL" smtClean="0"/>
              <a:t>14</a:t>
            </a:fld>
            <a:endParaRPr lang="nl-NL"/>
          </a:p>
        </p:txBody>
      </p:sp>
    </p:spTree>
    <p:extLst>
      <p:ext uri="{BB962C8B-B14F-4D97-AF65-F5344CB8AC3E}">
        <p14:creationId xmlns:p14="http://schemas.microsoft.com/office/powerpoint/2010/main" val="301083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sz="1600" b="0" u="none" baseline="0" dirty="0"/>
          </a:p>
        </p:txBody>
      </p:sp>
      <p:sp>
        <p:nvSpPr>
          <p:cNvPr id="4" name="Slide Number Placeholder 3"/>
          <p:cNvSpPr>
            <a:spLocks noGrp="1"/>
          </p:cNvSpPr>
          <p:nvPr>
            <p:ph type="sldNum" sz="quarter" idx="10"/>
          </p:nvPr>
        </p:nvSpPr>
        <p:spPr/>
        <p:txBody>
          <a:bodyPr/>
          <a:lstStyle/>
          <a:p>
            <a:fld id="{247DDDC5-6FC9-440B-A884-CB7AD2CAE3B7}" type="slidenum">
              <a:rPr lang="nl-NL" smtClean="0"/>
              <a:t>15</a:t>
            </a:fld>
            <a:endParaRPr lang="nl-NL"/>
          </a:p>
        </p:txBody>
      </p:sp>
    </p:spTree>
    <p:extLst>
      <p:ext uri="{BB962C8B-B14F-4D97-AF65-F5344CB8AC3E}">
        <p14:creationId xmlns:p14="http://schemas.microsoft.com/office/powerpoint/2010/main" val="24720402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247DDDC5-6FC9-440B-A884-CB7AD2CAE3B7}" type="slidenum">
              <a:rPr lang="nl-NL" smtClean="0">
                <a:solidFill>
                  <a:prstClr val="black"/>
                </a:solidFill>
              </a:rPr>
              <a:pPr/>
              <a:t>16</a:t>
            </a:fld>
            <a:endParaRPr lang="nl-NL">
              <a:solidFill>
                <a:prstClr val="black"/>
              </a:solidFill>
            </a:endParaRPr>
          </a:p>
        </p:txBody>
      </p:sp>
    </p:spTree>
    <p:extLst>
      <p:ext uri="{BB962C8B-B14F-4D97-AF65-F5344CB8AC3E}">
        <p14:creationId xmlns:p14="http://schemas.microsoft.com/office/powerpoint/2010/main" val="30921039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247DDDC5-6FC9-440B-A884-CB7AD2CAE3B7}" type="slidenum">
              <a:rPr lang="nl-NL" smtClean="0">
                <a:solidFill>
                  <a:prstClr val="black"/>
                </a:solidFill>
              </a:rPr>
              <a:pPr/>
              <a:t>17</a:t>
            </a:fld>
            <a:endParaRPr lang="nl-NL">
              <a:solidFill>
                <a:prstClr val="black"/>
              </a:solidFill>
            </a:endParaRPr>
          </a:p>
        </p:txBody>
      </p:sp>
    </p:spTree>
    <p:extLst>
      <p:ext uri="{BB962C8B-B14F-4D97-AF65-F5344CB8AC3E}">
        <p14:creationId xmlns:p14="http://schemas.microsoft.com/office/powerpoint/2010/main" val="13624668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352" rtl="0" eaLnBrk="1" fontAlgn="auto" latinLnBrk="0" hangingPunct="1">
              <a:lnSpc>
                <a:spcPct val="100000"/>
              </a:lnSpc>
              <a:spcBef>
                <a:spcPts val="0"/>
              </a:spcBef>
              <a:spcAft>
                <a:spcPts val="0"/>
              </a:spcAft>
              <a:buClrTx/>
              <a:buSzTx/>
              <a:buFontTx/>
              <a:buNone/>
              <a:tabLst/>
              <a:defRPr/>
            </a:pPr>
            <a:r>
              <a:rPr lang="nl-NL" dirty="0"/>
              <a:t>The Port of Rotterdam is </a:t>
            </a:r>
            <a:r>
              <a:rPr lang="nl-NL" dirty="0" err="1"/>
              <a:t>accessible</a:t>
            </a:r>
            <a:r>
              <a:rPr lang="nl-NL" dirty="0"/>
              <a:t> 24/7 </a:t>
            </a:r>
            <a:r>
              <a:rPr lang="nl-NL" dirty="0" err="1"/>
              <a:t>for</a:t>
            </a:r>
            <a:r>
              <a:rPr lang="nl-NL" dirty="0"/>
              <a:t> </a:t>
            </a:r>
            <a:r>
              <a:rPr lang="nl-NL" dirty="0" err="1"/>
              <a:t>deep</a:t>
            </a:r>
            <a:r>
              <a:rPr lang="nl-NL" dirty="0"/>
              <a:t> </a:t>
            </a:r>
            <a:r>
              <a:rPr lang="nl-NL" dirty="0" err="1"/>
              <a:t>drafted</a:t>
            </a:r>
            <a:r>
              <a:rPr lang="nl-NL" dirty="0"/>
              <a:t> vessels. The draft of </a:t>
            </a:r>
            <a:r>
              <a:rPr lang="nl-NL" dirty="0" err="1"/>
              <a:t>the</a:t>
            </a:r>
            <a:r>
              <a:rPr lang="nl-NL" dirty="0"/>
              <a:t> </a:t>
            </a:r>
            <a:r>
              <a:rPr lang="nl-NL" dirty="0" err="1"/>
              <a:t>biggest</a:t>
            </a:r>
            <a:r>
              <a:rPr lang="nl-NL" dirty="0"/>
              <a:t> container vessels is 16 m but </a:t>
            </a:r>
            <a:r>
              <a:rPr lang="nl-NL" dirty="0" err="1"/>
              <a:t>they</a:t>
            </a:r>
            <a:r>
              <a:rPr lang="nl-NL" dirty="0"/>
              <a:t> </a:t>
            </a:r>
            <a:r>
              <a:rPr lang="nl-NL" dirty="0" err="1"/>
              <a:t>can</a:t>
            </a:r>
            <a:r>
              <a:rPr lang="nl-NL" dirty="0"/>
              <a:t> </a:t>
            </a:r>
            <a:r>
              <a:rPr lang="nl-NL" dirty="0" err="1"/>
              <a:t>only</a:t>
            </a:r>
            <a:r>
              <a:rPr lang="nl-NL" dirty="0"/>
              <a:t> enter </a:t>
            </a:r>
            <a:r>
              <a:rPr lang="nl-NL" dirty="0" err="1"/>
              <a:t>the</a:t>
            </a:r>
            <a:r>
              <a:rPr lang="nl-NL" dirty="0"/>
              <a:t> ports of Antwerp </a:t>
            </a:r>
            <a:r>
              <a:rPr lang="nl-NL" dirty="0" err="1"/>
              <a:t>and</a:t>
            </a:r>
            <a:r>
              <a:rPr lang="nl-NL" dirty="0"/>
              <a:t> Hamburg at high </a:t>
            </a:r>
            <a:r>
              <a:rPr lang="nl-NL" dirty="0" err="1"/>
              <a:t>tide</a:t>
            </a:r>
            <a:r>
              <a:rPr lang="nl-NL" dirty="0"/>
              <a:t> </a:t>
            </a:r>
            <a:r>
              <a:rPr lang="nl-NL" dirty="0" err="1"/>
              <a:t>and</a:t>
            </a:r>
            <a:r>
              <a:rPr lang="nl-NL" dirty="0"/>
              <a:t> </a:t>
            </a:r>
            <a:r>
              <a:rPr lang="nl-NL" dirty="0" err="1"/>
              <a:t>often</a:t>
            </a:r>
            <a:r>
              <a:rPr lang="nl-NL" dirty="0"/>
              <a:t> </a:t>
            </a:r>
            <a:r>
              <a:rPr lang="nl-NL" dirty="0" err="1"/>
              <a:t>not</a:t>
            </a:r>
            <a:r>
              <a:rPr lang="nl-NL" dirty="0"/>
              <a:t> </a:t>
            </a:r>
            <a:r>
              <a:rPr lang="nl-NL" dirty="0" err="1"/>
              <a:t>fully</a:t>
            </a:r>
            <a:r>
              <a:rPr lang="nl-NL" dirty="0"/>
              <a:t> </a:t>
            </a:r>
            <a:r>
              <a:rPr lang="nl-NL" dirty="0" err="1"/>
              <a:t>loaded</a:t>
            </a:r>
            <a:r>
              <a:rPr lang="nl-NL" dirty="0"/>
              <a:t>. </a:t>
            </a:r>
            <a:r>
              <a:rPr lang="nl-NL" dirty="0" err="1"/>
              <a:t>That’s</a:t>
            </a:r>
            <a:r>
              <a:rPr lang="nl-NL" dirty="0"/>
              <a:t> </a:t>
            </a:r>
            <a:r>
              <a:rPr lang="nl-NL" dirty="0" err="1"/>
              <a:t>why</a:t>
            </a:r>
            <a:r>
              <a:rPr lang="nl-NL" dirty="0"/>
              <a:t> </a:t>
            </a:r>
            <a:r>
              <a:rPr lang="nl-NL" dirty="0" err="1"/>
              <a:t>the</a:t>
            </a:r>
            <a:r>
              <a:rPr lang="nl-NL" dirty="0"/>
              <a:t> Port of Rotterdam is </a:t>
            </a:r>
            <a:r>
              <a:rPr lang="nl-NL" dirty="0" err="1"/>
              <a:t>often</a:t>
            </a:r>
            <a:r>
              <a:rPr lang="nl-NL" dirty="0"/>
              <a:t> first </a:t>
            </a:r>
            <a:r>
              <a:rPr lang="nl-NL" dirty="0" err="1"/>
              <a:t>and</a:t>
            </a:r>
            <a:r>
              <a:rPr lang="nl-NL" dirty="0"/>
              <a:t> last port of call</a:t>
            </a:r>
          </a:p>
          <a:p>
            <a:endParaRPr lang="nl-NL" dirty="0"/>
          </a:p>
        </p:txBody>
      </p:sp>
      <p:sp>
        <p:nvSpPr>
          <p:cNvPr id="4" name="Slide Number Placeholder 3"/>
          <p:cNvSpPr>
            <a:spLocks noGrp="1"/>
          </p:cNvSpPr>
          <p:nvPr>
            <p:ph type="sldNum" sz="quarter" idx="10"/>
          </p:nvPr>
        </p:nvSpPr>
        <p:spPr/>
        <p:txBody>
          <a:bodyPr/>
          <a:lstStyle/>
          <a:p>
            <a:fld id="{247DDDC5-6FC9-440B-A884-CB7AD2CAE3B7}" type="slidenum">
              <a:rPr lang="nl-NL" smtClean="0"/>
              <a:t>18</a:t>
            </a:fld>
            <a:endParaRPr lang="nl-NL"/>
          </a:p>
        </p:txBody>
      </p:sp>
    </p:spTree>
    <p:extLst>
      <p:ext uri="{BB962C8B-B14F-4D97-AF65-F5344CB8AC3E}">
        <p14:creationId xmlns:p14="http://schemas.microsoft.com/office/powerpoint/2010/main" val="9213237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19359622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a:t>The Netherlands has a renowned reputation in horticulture</a:t>
            </a:r>
            <a:r>
              <a:rPr lang="en-US" baseline="0" dirty="0"/>
              <a:t> and agriculture industry, ranging from p</a:t>
            </a:r>
            <a:r>
              <a:rPr lang="en-US" dirty="0"/>
              <a:t>roduction, product innovation, new technologies, seed improvement and packaging technologies. Furthermore, there are various leading universities that focus on nutritional technology and logistics. </a:t>
            </a:r>
          </a:p>
          <a:p>
            <a:endParaRPr lang="en-US" dirty="0"/>
          </a:p>
          <a:p>
            <a:r>
              <a:rPr lang="en-US" dirty="0"/>
              <a:t>Most activities related to the production, import, export, distribution, transport and these value-added services are clustered in six areas in the Netherlands, the so-called </a:t>
            </a:r>
            <a:r>
              <a:rPr lang="en-US" dirty="0" err="1"/>
              <a:t>Greenports</a:t>
            </a:r>
            <a:r>
              <a:rPr lang="en-US" dirty="0"/>
              <a:t>. The port of Rotterdam is very favorably located in relation to the Westland and </a:t>
            </a:r>
            <a:r>
              <a:rPr lang="en-US" dirty="0" err="1"/>
              <a:t>Barendrecht</a:t>
            </a:r>
            <a:r>
              <a:rPr lang="en-US" dirty="0"/>
              <a:t> </a:t>
            </a:r>
            <a:r>
              <a:rPr lang="en-US" dirty="0" err="1"/>
              <a:t>Greenports</a:t>
            </a:r>
            <a:r>
              <a:rPr lang="en-US" dirty="0"/>
              <a:t> and has excellent intermodal connections with other Greenport areas, such as Venlo.</a:t>
            </a:r>
          </a:p>
          <a:p>
            <a:endParaRPr lang="en-US" dirty="0"/>
          </a:p>
          <a:p>
            <a:r>
              <a:rPr lang="nl-NL" dirty="0"/>
              <a:t>Agro</a:t>
            </a:r>
            <a:r>
              <a:rPr lang="nl-NL" baseline="0" dirty="0"/>
              <a:t> Merchants, </a:t>
            </a:r>
            <a:r>
              <a:rPr lang="nl-NL" baseline="0" dirty="0" err="1"/>
              <a:t>Nicherei</a:t>
            </a:r>
            <a:r>
              <a:rPr lang="nl-NL" baseline="0" dirty="0"/>
              <a:t> </a:t>
            </a:r>
            <a:r>
              <a:rPr lang="nl-NL" baseline="0" dirty="0" err="1"/>
              <a:t>and</a:t>
            </a:r>
            <a:r>
              <a:rPr lang="nl-NL" baseline="0" dirty="0"/>
              <a:t> Kloosterboor </a:t>
            </a:r>
            <a:r>
              <a:rPr lang="nl-NL" baseline="0" dirty="0" err="1"/>
              <a:t>currently</a:t>
            </a:r>
            <a:r>
              <a:rPr lang="nl-NL" baseline="0" dirty="0"/>
              <a:t> </a:t>
            </a:r>
            <a:r>
              <a:rPr lang="nl-NL" baseline="0" dirty="0" err="1"/>
              <a:t>hold</a:t>
            </a:r>
            <a:r>
              <a:rPr lang="nl-NL" baseline="0" dirty="0"/>
              <a:t> </a:t>
            </a:r>
            <a:r>
              <a:rPr lang="nl-NL" baseline="0" dirty="0" err="1"/>
              <a:t>the</a:t>
            </a:r>
            <a:r>
              <a:rPr lang="nl-NL" baseline="0" dirty="0"/>
              <a:t> 4th, 5th </a:t>
            </a:r>
            <a:r>
              <a:rPr lang="nl-NL" baseline="0" dirty="0" err="1"/>
              <a:t>and</a:t>
            </a:r>
            <a:r>
              <a:rPr lang="nl-NL" baseline="0" dirty="0"/>
              <a:t> 6th </a:t>
            </a:r>
            <a:r>
              <a:rPr lang="nl-NL" baseline="0" dirty="0" err="1"/>
              <a:t>position</a:t>
            </a:r>
            <a:r>
              <a:rPr lang="nl-NL" baseline="0" dirty="0"/>
              <a:t> of </a:t>
            </a:r>
            <a:r>
              <a:rPr lang="nl-NL" baseline="0" dirty="0" err="1"/>
              <a:t>the</a:t>
            </a:r>
            <a:r>
              <a:rPr lang="nl-NL" baseline="0" dirty="0"/>
              <a:t> </a:t>
            </a:r>
            <a:r>
              <a:rPr lang="nl-NL" baseline="0" dirty="0" err="1"/>
              <a:t>largest</a:t>
            </a:r>
            <a:r>
              <a:rPr lang="nl-NL" baseline="0" dirty="0"/>
              <a:t> </a:t>
            </a:r>
            <a:r>
              <a:rPr lang="nl-NL" baseline="0" dirty="0" err="1"/>
              <a:t>refrigerated</a:t>
            </a:r>
            <a:r>
              <a:rPr lang="nl-NL" baseline="0" dirty="0"/>
              <a:t> warehouses. </a:t>
            </a:r>
            <a:r>
              <a:rPr lang="nl-NL" baseline="0" dirty="0" err="1"/>
              <a:t>All</a:t>
            </a:r>
            <a:r>
              <a:rPr lang="nl-NL" baseline="0" dirty="0"/>
              <a:t> 3 have 2 or more </a:t>
            </a:r>
            <a:r>
              <a:rPr lang="nl-NL" baseline="0" dirty="0" err="1"/>
              <a:t>locations</a:t>
            </a:r>
            <a:r>
              <a:rPr lang="nl-NL" baseline="0" dirty="0"/>
              <a:t> in </a:t>
            </a:r>
            <a:r>
              <a:rPr lang="nl-NL" baseline="0" dirty="0" err="1"/>
              <a:t>the</a:t>
            </a:r>
            <a:r>
              <a:rPr lang="nl-NL" baseline="0" dirty="0"/>
              <a:t> </a:t>
            </a:r>
            <a:r>
              <a:rPr lang="nl-NL" baseline="0" dirty="0" err="1"/>
              <a:t>various</a:t>
            </a:r>
            <a:r>
              <a:rPr lang="nl-NL" baseline="0" dirty="0"/>
              <a:t> </a:t>
            </a:r>
            <a:r>
              <a:rPr lang="nl-NL" baseline="0" dirty="0" err="1"/>
              <a:t>parts</a:t>
            </a:r>
            <a:r>
              <a:rPr lang="nl-NL" baseline="0" dirty="0"/>
              <a:t> of </a:t>
            </a:r>
            <a:r>
              <a:rPr lang="nl-NL" baseline="0" dirty="0" err="1"/>
              <a:t>the</a:t>
            </a:r>
            <a:r>
              <a:rPr lang="nl-NL" baseline="0" dirty="0"/>
              <a:t> port, </a:t>
            </a:r>
            <a:r>
              <a:rPr lang="nl-NL" baseline="0" dirty="0" err="1"/>
              <a:t>and</a:t>
            </a:r>
            <a:r>
              <a:rPr lang="nl-NL" baseline="0" dirty="0"/>
              <a:t> are even </a:t>
            </a:r>
            <a:r>
              <a:rPr lang="nl-NL" baseline="0" dirty="0" err="1"/>
              <a:t>expanding</a:t>
            </a:r>
            <a:r>
              <a:rPr lang="nl-NL" baseline="0" dirty="0"/>
              <a:t> </a:t>
            </a:r>
            <a:r>
              <a:rPr lang="nl-NL" baseline="0" dirty="0" err="1"/>
              <a:t>their</a:t>
            </a:r>
            <a:r>
              <a:rPr lang="nl-NL" baseline="0" dirty="0"/>
              <a:t> </a:t>
            </a:r>
            <a:r>
              <a:rPr lang="nl-NL" baseline="0" dirty="0" err="1"/>
              <a:t>capacity</a:t>
            </a:r>
            <a:r>
              <a:rPr lang="nl-NL" baseline="0" dirty="0"/>
              <a:t> as we </a:t>
            </a:r>
            <a:r>
              <a:rPr lang="nl-NL" baseline="0" dirty="0" err="1"/>
              <a:t>speak</a:t>
            </a:r>
            <a:r>
              <a:rPr lang="nl-NL" baseline="0" dirty="0"/>
              <a:t>. </a:t>
            </a:r>
            <a:endParaRPr lang="nl-NL" dirty="0"/>
          </a:p>
          <a:p>
            <a:r>
              <a:rPr lang="nl-NL" dirty="0"/>
              <a:t>At </a:t>
            </a:r>
            <a:r>
              <a:rPr lang="nl-NL" dirty="0" err="1"/>
              <a:t>the</a:t>
            </a:r>
            <a:r>
              <a:rPr lang="nl-NL" dirty="0"/>
              <a:t> </a:t>
            </a:r>
            <a:r>
              <a:rPr lang="nl-NL" b="1" dirty="0"/>
              <a:t>Maasvlakte</a:t>
            </a:r>
            <a:r>
              <a:rPr lang="nl-NL" dirty="0"/>
              <a:t>, most </a:t>
            </a:r>
            <a:r>
              <a:rPr lang="nl-NL" dirty="0" err="1"/>
              <a:t>facilities</a:t>
            </a:r>
            <a:r>
              <a:rPr lang="nl-NL" dirty="0"/>
              <a:t> are </a:t>
            </a:r>
            <a:r>
              <a:rPr lang="nl-NL" dirty="0" err="1"/>
              <a:t>used</a:t>
            </a:r>
            <a:r>
              <a:rPr lang="nl-NL" dirty="0"/>
              <a:t> </a:t>
            </a:r>
            <a:r>
              <a:rPr lang="nl-NL" dirty="0" err="1"/>
              <a:t>for</a:t>
            </a:r>
            <a:r>
              <a:rPr lang="nl-NL" dirty="0"/>
              <a:t> </a:t>
            </a:r>
            <a:r>
              <a:rPr lang="nl-NL" b="1" dirty="0" err="1"/>
              <a:t>frozen</a:t>
            </a:r>
            <a:r>
              <a:rPr lang="nl-NL" b="1" dirty="0"/>
              <a:t> </a:t>
            </a:r>
            <a:r>
              <a:rPr lang="nl-NL" b="1" dirty="0" err="1"/>
              <a:t>products</a:t>
            </a:r>
            <a:r>
              <a:rPr lang="nl-NL" b="1" dirty="0"/>
              <a:t> </a:t>
            </a:r>
            <a:r>
              <a:rPr lang="nl-NL" dirty="0"/>
              <a:t>like </a:t>
            </a:r>
            <a:r>
              <a:rPr lang="nl-NL" dirty="0" err="1"/>
              <a:t>french</a:t>
            </a:r>
            <a:r>
              <a:rPr lang="nl-NL" dirty="0"/>
              <a:t> fries, </a:t>
            </a:r>
            <a:r>
              <a:rPr lang="nl-NL" dirty="0" err="1"/>
              <a:t>meat</a:t>
            </a:r>
            <a:r>
              <a:rPr lang="nl-NL" dirty="0"/>
              <a:t> </a:t>
            </a:r>
            <a:r>
              <a:rPr lang="nl-NL" dirty="0" err="1"/>
              <a:t>and</a:t>
            </a:r>
            <a:r>
              <a:rPr lang="nl-NL" dirty="0"/>
              <a:t> </a:t>
            </a:r>
            <a:r>
              <a:rPr lang="nl-NL" dirty="0" err="1"/>
              <a:t>fish</a:t>
            </a:r>
            <a:r>
              <a:rPr lang="nl-NL" dirty="0"/>
              <a:t>. </a:t>
            </a:r>
            <a:r>
              <a:rPr lang="nl-NL" b="1" dirty="0" err="1"/>
              <a:t>Fresh</a:t>
            </a:r>
            <a:r>
              <a:rPr lang="nl-NL" b="1" dirty="0"/>
              <a:t> fruit </a:t>
            </a:r>
            <a:r>
              <a:rPr lang="nl-NL" dirty="0"/>
              <a:t>is </a:t>
            </a:r>
            <a:r>
              <a:rPr lang="nl-NL" dirty="0" err="1"/>
              <a:t>mostly</a:t>
            </a:r>
            <a:r>
              <a:rPr lang="nl-NL" dirty="0"/>
              <a:t> </a:t>
            </a:r>
            <a:r>
              <a:rPr lang="nl-NL" dirty="0" err="1"/>
              <a:t>being</a:t>
            </a:r>
            <a:r>
              <a:rPr lang="nl-NL" dirty="0"/>
              <a:t> </a:t>
            </a:r>
            <a:r>
              <a:rPr lang="nl-NL" dirty="0" err="1"/>
              <a:t>stored</a:t>
            </a:r>
            <a:r>
              <a:rPr lang="nl-NL" dirty="0"/>
              <a:t> </a:t>
            </a:r>
            <a:r>
              <a:rPr lang="nl-NL" b="1" dirty="0"/>
              <a:t>at Cool Port, Rotterdam Fruit Wharf </a:t>
            </a:r>
            <a:r>
              <a:rPr lang="nl-NL" b="1" dirty="0" err="1"/>
              <a:t>and</a:t>
            </a:r>
            <a:r>
              <a:rPr lang="nl-NL" b="1" dirty="0"/>
              <a:t> Agro Merchants (M4H)</a:t>
            </a:r>
            <a:r>
              <a:rPr lang="nl-NL" dirty="0"/>
              <a:t>. </a:t>
            </a:r>
          </a:p>
          <a:p>
            <a:r>
              <a:rPr lang="nl-NL" dirty="0"/>
              <a:t>The M4H </a:t>
            </a:r>
            <a:r>
              <a:rPr lang="nl-NL" dirty="0" err="1"/>
              <a:t>also</a:t>
            </a:r>
            <a:r>
              <a:rPr lang="nl-NL" dirty="0"/>
              <a:t> </a:t>
            </a:r>
            <a:r>
              <a:rPr lang="nl-NL" dirty="0" err="1"/>
              <a:t>holds</a:t>
            </a:r>
            <a:r>
              <a:rPr lang="nl-NL" dirty="0"/>
              <a:t> 2 </a:t>
            </a:r>
            <a:r>
              <a:rPr lang="nl-NL" dirty="0" err="1"/>
              <a:t>locations</a:t>
            </a:r>
            <a:r>
              <a:rPr lang="nl-NL" dirty="0"/>
              <a:t> </a:t>
            </a:r>
            <a:r>
              <a:rPr lang="nl-NL" dirty="0" err="1"/>
              <a:t>dedicated</a:t>
            </a:r>
            <a:r>
              <a:rPr lang="nl-NL" dirty="0"/>
              <a:t> </a:t>
            </a:r>
            <a:r>
              <a:rPr lang="nl-NL" dirty="0" err="1"/>
              <a:t>to</a:t>
            </a:r>
            <a:r>
              <a:rPr lang="nl-NL" dirty="0"/>
              <a:t> </a:t>
            </a:r>
            <a:r>
              <a:rPr lang="nl-NL" dirty="0" err="1"/>
              <a:t>juices</a:t>
            </a:r>
            <a:r>
              <a:rPr lang="nl-NL" dirty="0"/>
              <a:t> </a:t>
            </a:r>
            <a:r>
              <a:rPr lang="nl-NL" dirty="0" err="1"/>
              <a:t>and</a:t>
            </a:r>
            <a:r>
              <a:rPr lang="nl-NL" dirty="0"/>
              <a:t> juice </a:t>
            </a:r>
            <a:r>
              <a:rPr lang="nl-NL" dirty="0" err="1"/>
              <a:t>concentrates</a:t>
            </a:r>
            <a:r>
              <a:rPr lang="nl-NL" dirty="0"/>
              <a:t>. </a:t>
            </a:r>
            <a:r>
              <a:rPr lang="nl-NL" dirty="0" err="1"/>
              <a:t>Cutrale’s</a:t>
            </a:r>
            <a:r>
              <a:rPr lang="nl-NL" dirty="0"/>
              <a:t> import terminal </a:t>
            </a:r>
            <a:r>
              <a:rPr lang="nl-NL" b="1" dirty="0"/>
              <a:t>Continental Juice</a:t>
            </a:r>
            <a:r>
              <a:rPr lang="nl-NL" dirty="0"/>
              <a:t>, handles a </a:t>
            </a:r>
            <a:r>
              <a:rPr lang="nl-NL" dirty="0" err="1"/>
              <a:t>yearly</a:t>
            </a:r>
            <a:r>
              <a:rPr lang="nl-NL" dirty="0"/>
              <a:t> 500.000 </a:t>
            </a:r>
            <a:r>
              <a:rPr lang="nl-NL" dirty="0" err="1"/>
              <a:t>tonnes</a:t>
            </a:r>
            <a:r>
              <a:rPr lang="nl-NL" dirty="0"/>
              <a:t> of </a:t>
            </a:r>
            <a:r>
              <a:rPr lang="nl-NL" dirty="0" err="1"/>
              <a:t>orange</a:t>
            </a:r>
            <a:r>
              <a:rPr lang="nl-NL" dirty="0"/>
              <a:t> juice, </a:t>
            </a:r>
            <a:r>
              <a:rPr lang="nl-NL" dirty="0" err="1"/>
              <a:t>which</a:t>
            </a:r>
            <a:r>
              <a:rPr lang="nl-NL" dirty="0"/>
              <a:t> </a:t>
            </a:r>
            <a:r>
              <a:rPr lang="nl-NL" dirty="0" err="1"/>
              <a:t>comes</a:t>
            </a:r>
            <a:r>
              <a:rPr lang="nl-NL" dirty="0"/>
              <a:t> in tanker </a:t>
            </a:r>
            <a:r>
              <a:rPr lang="nl-NL" dirty="0" err="1"/>
              <a:t>vessels</a:t>
            </a:r>
            <a:r>
              <a:rPr lang="nl-NL" dirty="0"/>
              <a:t> </a:t>
            </a:r>
            <a:r>
              <a:rPr lang="nl-NL" dirty="0" err="1"/>
              <a:t>from</a:t>
            </a:r>
            <a:r>
              <a:rPr lang="nl-NL" dirty="0"/>
              <a:t> Brazil. CJ has a market share of 50% in </a:t>
            </a:r>
            <a:r>
              <a:rPr lang="nl-NL" dirty="0" err="1"/>
              <a:t>the</a:t>
            </a:r>
            <a:r>
              <a:rPr lang="nl-NL" dirty="0"/>
              <a:t> European import of </a:t>
            </a:r>
            <a:r>
              <a:rPr lang="nl-NL" dirty="0" err="1"/>
              <a:t>juices</a:t>
            </a:r>
            <a:r>
              <a:rPr lang="nl-NL" dirty="0"/>
              <a:t>. </a:t>
            </a:r>
          </a:p>
          <a:p>
            <a:r>
              <a:rPr lang="en-US" dirty="0"/>
              <a:t>Every year 250.000 to 300.000 tons of fruit juices, fruit juice concentrates and fruit purees packed in drums and bins and destined for Europe are being handled, stored and processed at </a:t>
            </a:r>
            <a:r>
              <a:rPr lang="en-US" b="1" dirty="0"/>
              <a:t>HIWA in Rotterdam</a:t>
            </a:r>
            <a:r>
              <a:rPr lang="en-US" dirty="0"/>
              <a:t>. HIWA's total storage capacity is more than 100.000 tons.</a:t>
            </a:r>
          </a:p>
          <a:p>
            <a:endParaRPr lang="nl-NL" dirty="0"/>
          </a:p>
        </p:txBody>
      </p:sp>
      <p:sp>
        <p:nvSpPr>
          <p:cNvPr id="4" name="Tijdelijke aanduiding voor dianummer 3"/>
          <p:cNvSpPr>
            <a:spLocks noGrp="1"/>
          </p:cNvSpPr>
          <p:nvPr>
            <p:ph type="sldNum" sz="quarter" idx="5"/>
          </p:nvPr>
        </p:nvSpPr>
        <p:spPr/>
        <p:txBody>
          <a:bodyPr/>
          <a:lstStyle/>
          <a:p>
            <a:fld id="{247DDDC5-6FC9-440B-A884-CB7AD2CAE3B7}" type="slidenum">
              <a:rPr lang="nl-NL" smtClean="0"/>
              <a:t>22</a:t>
            </a:fld>
            <a:endParaRPr lang="nl-NL"/>
          </a:p>
        </p:txBody>
      </p:sp>
    </p:spTree>
    <p:extLst>
      <p:ext uri="{BB962C8B-B14F-4D97-AF65-F5344CB8AC3E}">
        <p14:creationId xmlns:p14="http://schemas.microsoft.com/office/powerpoint/2010/main" val="11533837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baseline="0" dirty="0"/>
          </a:p>
        </p:txBody>
      </p:sp>
      <p:sp>
        <p:nvSpPr>
          <p:cNvPr id="4" name="Slide Number Placeholder 3"/>
          <p:cNvSpPr>
            <a:spLocks noGrp="1"/>
          </p:cNvSpPr>
          <p:nvPr>
            <p:ph type="sldNum" sz="quarter" idx="10"/>
          </p:nvPr>
        </p:nvSpPr>
        <p:spPr/>
        <p:txBody>
          <a:bodyPr/>
          <a:lstStyle/>
          <a:p>
            <a:fld id="{247DDDC5-6FC9-440B-A884-CB7AD2CAE3B7}" type="slidenum">
              <a:rPr lang="nl-NL" smtClean="0"/>
              <a:t>24</a:t>
            </a:fld>
            <a:endParaRPr lang="nl-NL"/>
          </a:p>
        </p:txBody>
      </p:sp>
    </p:spTree>
    <p:extLst>
      <p:ext uri="{BB962C8B-B14F-4D97-AF65-F5344CB8AC3E}">
        <p14:creationId xmlns:p14="http://schemas.microsoft.com/office/powerpoint/2010/main" val="11464408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18833037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baseline="0"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7DDDC5-6FC9-440B-A884-CB7AD2CAE3B7}"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19884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7350" y="782638"/>
            <a:ext cx="6022975" cy="3387725"/>
          </a:xfrm>
        </p:spPr>
      </p:sp>
      <p:sp>
        <p:nvSpPr>
          <p:cNvPr id="3" name="Tijdelijke aanduiding voor notities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15153544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535"/>
              </a:spcBef>
              <a:buFont typeface="Arial" panose="020B0604020202020204" pitchFamily="34" charset="0"/>
              <a:buChar char="•"/>
            </a:pPr>
            <a:r>
              <a:rPr lang="en-US" altLang="nl-NL" sz="1050" dirty="0" err="1">
                <a:solidFill>
                  <a:srgbClr val="134679"/>
                </a:solidFill>
              </a:rPr>
              <a:t>Portbase</a:t>
            </a:r>
            <a:r>
              <a:rPr lang="en-US" altLang="nl-NL" sz="1050" dirty="0">
                <a:solidFill>
                  <a:srgbClr val="134679"/>
                </a:solidFill>
              </a:rPr>
              <a:t> connects all parties in the logistics chains of Dutch ports. </a:t>
            </a:r>
          </a:p>
          <a:p>
            <a:pPr marL="171450" indent="-171450">
              <a:spcBef>
                <a:spcPts val="535"/>
              </a:spcBef>
              <a:buFont typeface="Arial" panose="020B0604020202020204" pitchFamily="34" charset="0"/>
              <a:buChar char="•"/>
            </a:pPr>
            <a:r>
              <a:rPr lang="en-US" altLang="nl-NL" sz="1050" dirty="0">
                <a:solidFill>
                  <a:srgbClr val="004678"/>
                </a:solidFill>
                <a:ea typeface="ヒラギノ角ゴ ProN W3" charset="-128"/>
              </a:rPr>
              <a:t>The Port Community System transcends the ports and has a broad basis of support in the port community. </a:t>
            </a:r>
          </a:p>
          <a:p>
            <a:pPr marL="171450" indent="-171450">
              <a:spcBef>
                <a:spcPts val="535"/>
              </a:spcBef>
              <a:buFont typeface="Arial" panose="020B0604020202020204" pitchFamily="34" charset="0"/>
              <a:buChar char="•"/>
            </a:pPr>
            <a:endParaRPr lang="en-US" altLang="nl-NL" sz="1050" dirty="0">
              <a:solidFill>
                <a:srgbClr val="004678"/>
              </a:solidFill>
              <a:ea typeface="ヒラギノ角ゴ ProN W3" charset="-128"/>
            </a:endParaRPr>
          </a:p>
          <a:p>
            <a:pPr marL="0" indent="0">
              <a:spcBef>
                <a:spcPts val="535"/>
              </a:spcBef>
              <a:buFont typeface="Arial" panose="020B0604020202020204" pitchFamily="34" charset="0"/>
              <a:buNone/>
            </a:pPr>
            <a:r>
              <a:rPr lang="en-GB" altLang="nl-NL" sz="1050" dirty="0">
                <a:latin typeface="Arial" panose="020B0604020202020204" pitchFamily="34" charset="0"/>
                <a:cs typeface="Arial" panose="020B0604020202020204" pitchFamily="34" charset="0"/>
              </a:rPr>
              <a:t>Supply Chain Specific benefits:</a:t>
            </a:r>
            <a:endParaRPr lang="en-US" altLang="nl-NL" sz="1050" dirty="0">
              <a:solidFill>
                <a:srgbClr val="004678"/>
              </a:solidFill>
              <a:ea typeface="ヒラギノ角ゴ ProN W3" charset="-128"/>
            </a:endParaRPr>
          </a:p>
          <a:p>
            <a:pPr marL="273050" indent="-273050" eaLnBrk="1" hangingPunct="1">
              <a:spcBef>
                <a:spcPct val="30000"/>
              </a:spcBef>
              <a:buSzTx/>
              <a:buFontTx/>
              <a:buChar char="•"/>
            </a:pPr>
            <a:r>
              <a:rPr lang="en-GB" altLang="nl-NL" sz="1050" dirty="0"/>
              <a:t>One-stop-shop for automated information exchange</a:t>
            </a:r>
          </a:p>
          <a:p>
            <a:pPr marL="273050" indent="-273050" eaLnBrk="1" hangingPunct="1">
              <a:spcBef>
                <a:spcPct val="30000"/>
              </a:spcBef>
              <a:buSzTx/>
              <a:buFontTx/>
              <a:buChar char="•"/>
            </a:pPr>
            <a:r>
              <a:rPr lang="en-GB" altLang="nl-NL" sz="1050" dirty="0"/>
              <a:t>All governments and related processes are connected</a:t>
            </a:r>
          </a:p>
          <a:p>
            <a:pPr marL="273050" indent="-273050" eaLnBrk="1" hangingPunct="1">
              <a:spcBef>
                <a:spcPct val="30000"/>
              </a:spcBef>
              <a:buSzTx/>
              <a:buFontTx/>
              <a:buChar char="•"/>
            </a:pPr>
            <a:r>
              <a:rPr lang="en-GB" altLang="nl-NL" sz="1050" dirty="0"/>
              <a:t>Use of standard messages and procedures throughout the ports</a:t>
            </a:r>
          </a:p>
          <a:p>
            <a:pPr marL="273050" indent="-273050" eaLnBrk="1" hangingPunct="1">
              <a:spcBef>
                <a:spcPct val="30000"/>
              </a:spcBef>
              <a:buSzTx/>
              <a:buFontTx/>
              <a:buChar char="•"/>
            </a:pPr>
            <a:r>
              <a:rPr lang="en-US" altLang="nl-NL" sz="1050" dirty="0"/>
              <a:t>Low administration costs due to automation</a:t>
            </a:r>
          </a:p>
          <a:p>
            <a:pPr marL="273050" indent="-273050" eaLnBrk="1" hangingPunct="1">
              <a:spcBef>
                <a:spcPct val="30000"/>
              </a:spcBef>
              <a:buSzTx/>
              <a:buFontTx/>
              <a:buChar char="•"/>
            </a:pPr>
            <a:r>
              <a:rPr lang="en-GB" altLang="nl-NL" sz="1050" dirty="0"/>
              <a:t>Information flows reach both governments and business well in advance of vessel arrival</a:t>
            </a:r>
          </a:p>
          <a:p>
            <a:pPr marL="273050" indent="-273050" eaLnBrk="1" hangingPunct="1">
              <a:spcBef>
                <a:spcPct val="30000"/>
              </a:spcBef>
              <a:buSzTx/>
              <a:buFontTx/>
              <a:buChar char="•"/>
            </a:pPr>
            <a:r>
              <a:rPr lang="en-GB" altLang="nl-NL" sz="1050" dirty="0"/>
              <a:t>Better government inspections due to timely and correct data, thus improving transit times</a:t>
            </a:r>
          </a:p>
          <a:p>
            <a:pPr marL="273050" indent="-273050" eaLnBrk="1" hangingPunct="1">
              <a:spcBef>
                <a:spcPct val="30000"/>
              </a:spcBef>
              <a:buSzTx/>
              <a:buFontTx/>
              <a:buChar char="•"/>
            </a:pPr>
            <a:r>
              <a:rPr lang="en-GB" altLang="nl-NL" sz="1050" dirty="0"/>
              <a:t>Sharing/ re-use of data improves data quality</a:t>
            </a:r>
          </a:p>
          <a:p>
            <a:endParaRPr lang="nl-NL" dirty="0"/>
          </a:p>
        </p:txBody>
      </p:sp>
      <p:sp>
        <p:nvSpPr>
          <p:cNvPr id="4" name="Slide Number Placeholder 3"/>
          <p:cNvSpPr>
            <a:spLocks noGrp="1"/>
          </p:cNvSpPr>
          <p:nvPr>
            <p:ph type="sldNum" sz="quarter" idx="10"/>
          </p:nvPr>
        </p:nvSpPr>
        <p:spPr/>
        <p:txBody>
          <a:bodyPr/>
          <a:lstStyle/>
          <a:p>
            <a:fld id="{247DDDC5-6FC9-440B-A884-CB7AD2CAE3B7}" type="slidenum">
              <a:rPr lang="nl-NL" smtClean="0"/>
              <a:t>27</a:t>
            </a:fld>
            <a:endParaRPr lang="nl-NL"/>
          </a:p>
        </p:txBody>
      </p:sp>
    </p:spTree>
    <p:extLst>
      <p:ext uri="{BB962C8B-B14F-4D97-AF65-F5344CB8AC3E}">
        <p14:creationId xmlns:p14="http://schemas.microsoft.com/office/powerpoint/2010/main" val="20540346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247DDDC5-6FC9-440B-A884-CB7AD2CAE3B7}" type="slidenum">
              <a:rPr lang="nl-NL" smtClean="0">
                <a:solidFill>
                  <a:prstClr val="black"/>
                </a:solidFill>
              </a:rPr>
              <a:pPr/>
              <a:t>28</a:t>
            </a:fld>
            <a:endParaRPr lang="nl-NL">
              <a:solidFill>
                <a:prstClr val="black"/>
              </a:solidFill>
            </a:endParaRPr>
          </a:p>
        </p:txBody>
      </p:sp>
    </p:spTree>
    <p:extLst>
      <p:ext uri="{BB962C8B-B14F-4D97-AF65-F5344CB8AC3E}">
        <p14:creationId xmlns:p14="http://schemas.microsoft.com/office/powerpoint/2010/main" val="10361568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247DDDC5-6FC9-440B-A884-CB7AD2CAE3B7}" type="slidenum">
              <a:rPr lang="nl-NL" smtClean="0">
                <a:solidFill>
                  <a:prstClr val="black"/>
                </a:solidFill>
              </a:rPr>
              <a:pPr/>
              <a:t>29</a:t>
            </a:fld>
            <a:endParaRPr lang="nl-NL">
              <a:solidFill>
                <a:prstClr val="black"/>
              </a:solidFill>
            </a:endParaRPr>
          </a:p>
        </p:txBody>
      </p:sp>
    </p:spTree>
    <p:extLst>
      <p:ext uri="{BB962C8B-B14F-4D97-AF65-F5344CB8AC3E}">
        <p14:creationId xmlns:p14="http://schemas.microsoft.com/office/powerpoint/2010/main" val="8268612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lvl="0" indent="0">
              <a:buFont typeface="Arial" panose="020B0604020202020204" pitchFamily="34" charset="0"/>
              <a:buNone/>
            </a:pPr>
            <a:endParaRPr lang="nl-NL" dirty="0"/>
          </a:p>
        </p:txBody>
      </p:sp>
      <p:sp>
        <p:nvSpPr>
          <p:cNvPr id="4" name="Tijdelijke aanduiding voor dianummer 3"/>
          <p:cNvSpPr>
            <a:spLocks noGrp="1"/>
          </p:cNvSpPr>
          <p:nvPr>
            <p:ph type="sldNum" sz="quarter" idx="10"/>
          </p:nvPr>
        </p:nvSpPr>
        <p:spPr/>
        <p:txBody>
          <a:bodyPr/>
          <a:lstStyle/>
          <a:p>
            <a:fld id="{247DDDC5-6FC9-440B-A884-CB7AD2CAE3B7}" type="slidenum">
              <a:rPr lang="nl-NL" smtClean="0">
                <a:solidFill>
                  <a:prstClr val="black"/>
                </a:solidFill>
              </a:rPr>
              <a:pPr/>
              <a:t>30</a:t>
            </a:fld>
            <a:endParaRPr lang="nl-NL">
              <a:solidFill>
                <a:prstClr val="black"/>
              </a:solidFill>
            </a:endParaRPr>
          </a:p>
        </p:txBody>
      </p:sp>
    </p:spTree>
    <p:extLst>
      <p:ext uri="{BB962C8B-B14F-4D97-AF65-F5344CB8AC3E}">
        <p14:creationId xmlns:p14="http://schemas.microsoft.com/office/powerpoint/2010/main" val="19964605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baseline="0" dirty="0"/>
          </a:p>
        </p:txBody>
      </p:sp>
      <p:sp>
        <p:nvSpPr>
          <p:cNvPr id="4" name="Slide Number Placeholder 3"/>
          <p:cNvSpPr>
            <a:spLocks noGrp="1"/>
          </p:cNvSpPr>
          <p:nvPr>
            <p:ph type="sldNum" sz="quarter" idx="10"/>
          </p:nvPr>
        </p:nvSpPr>
        <p:spPr/>
        <p:txBody>
          <a:bodyPr/>
          <a:lstStyle/>
          <a:p>
            <a:fld id="{247DDDC5-6FC9-440B-A884-CB7AD2CAE3B7}" type="slidenum">
              <a:rPr lang="nl-NL" smtClean="0"/>
              <a:t>31</a:t>
            </a:fld>
            <a:endParaRPr lang="nl-NL"/>
          </a:p>
        </p:txBody>
      </p:sp>
    </p:spTree>
    <p:extLst>
      <p:ext uri="{BB962C8B-B14F-4D97-AF65-F5344CB8AC3E}">
        <p14:creationId xmlns:p14="http://schemas.microsoft.com/office/powerpoint/2010/main" val="12225461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247DDDC5-6FC9-440B-A884-CB7AD2CAE3B7}" type="slidenum">
              <a:rPr lang="nl-NL" smtClean="0">
                <a:solidFill>
                  <a:prstClr val="black"/>
                </a:solidFill>
              </a:rPr>
              <a:pPr/>
              <a:t>32</a:t>
            </a:fld>
            <a:endParaRPr lang="nl-NL">
              <a:solidFill>
                <a:prstClr val="black"/>
              </a:solidFill>
            </a:endParaRPr>
          </a:p>
        </p:txBody>
      </p:sp>
    </p:spTree>
    <p:extLst>
      <p:ext uri="{BB962C8B-B14F-4D97-AF65-F5344CB8AC3E}">
        <p14:creationId xmlns:p14="http://schemas.microsoft.com/office/powerpoint/2010/main" val="1312592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247DDDC5-6FC9-440B-A884-CB7AD2CAE3B7}" type="slidenum">
              <a:rPr lang="nl-NL" smtClean="0">
                <a:solidFill>
                  <a:prstClr val="black"/>
                </a:solidFill>
              </a:rPr>
              <a:pPr/>
              <a:t>33</a:t>
            </a:fld>
            <a:endParaRPr lang="nl-NL">
              <a:solidFill>
                <a:prstClr val="black"/>
              </a:solidFill>
            </a:endParaRPr>
          </a:p>
        </p:txBody>
      </p:sp>
    </p:spTree>
    <p:extLst>
      <p:ext uri="{BB962C8B-B14F-4D97-AF65-F5344CB8AC3E}">
        <p14:creationId xmlns:p14="http://schemas.microsoft.com/office/powerpoint/2010/main" val="1390728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pPr marL="0" marR="0" lvl="0" indent="0" algn="r" defTabSz="914140" rtl="0" eaLnBrk="1" fontAlgn="auto" latinLnBrk="0" hangingPunct="1">
              <a:lnSpc>
                <a:spcPct val="100000"/>
              </a:lnSpc>
              <a:spcBef>
                <a:spcPts val="0"/>
              </a:spcBef>
              <a:spcAft>
                <a:spcPts val="0"/>
              </a:spcAft>
              <a:buClrTx/>
              <a:buSzTx/>
              <a:buFontTx/>
              <a:buNone/>
              <a:tabLst/>
              <a:defRPr/>
            </a:pPr>
            <a:fld id="{247DDDC5-6FC9-440B-A884-CB7AD2CAE3B7}"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140" rtl="0" eaLnBrk="1" fontAlgn="auto" latinLnBrk="0" hangingPunct="1">
                <a:lnSpc>
                  <a:spcPct val="100000"/>
                </a:lnSpc>
                <a:spcBef>
                  <a:spcPts val="0"/>
                </a:spcBef>
                <a:spcAft>
                  <a:spcPts val="0"/>
                </a:spcAft>
                <a:buClrTx/>
                <a:buSzTx/>
                <a:buFontTx/>
                <a:buNone/>
                <a:tabLst/>
                <a:defRPr/>
              </a:pPr>
              <a:t>34</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73213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xfrm>
            <a:off x="88900" y="741363"/>
            <a:ext cx="6619875" cy="3724275"/>
          </a:xfrm>
          <a:ln/>
        </p:spPr>
      </p:sp>
      <p:sp>
        <p:nvSpPr>
          <p:cNvPr id="46083" name="Rectangle 3"/>
          <p:cNvSpPr>
            <a:spLocks noGrp="1" noChangeArrowheads="1"/>
          </p:cNvSpPr>
          <p:nvPr>
            <p:ph type="body" idx="1"/>
          </p:nvPr>
        </p:nvSpPr>
        <p:spPr>
          <a:noFill/>
          <a:ln/>
        </p:spPr>
        <p:txBody>
          <a:bodyPr/>
          <a:lstStyle/>
          <a:p>
            <a:endParaRPr lang="nl-NL" dirty="0"/>
          </a:p>
        </p:txBody>
      </p:sp>
    </p:spTree>
    <p:extLst>
      <p:ext uri="{BB962C8B-B14F-4D97-AF65-F5344CB8AC3E}">
        <p14:creationId xmlns:p14="http://schemas.microsoft.com/office/powerpoint/2010/main" val="2191044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247DDDC5-6FC9-440B-A884-CB7AD2CAE3B7}" type="slidenum">
              <a:rPr lang="nl-NL" smtClean="0"/>
              <a:t>36</a:t>
            </a:fld>
            <a:endParaRPr lang="nl-NL"/>
          </a:p>
        </p:txBody>
      </p:sp>
    </p:spTree>
    <p:extLst>
      <p:ext uri="{BB962C8B-B14F-4D97-AF65-F5344CB8AC3E}">
        <p14:creationId xmlns:p14="http://schemas.microsoft.com/office/powerpoint/2010/main" val="3873213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247DDDC5-6FC9-440B-A884-CB7AD2CAE3B7}" type="slidenum">
              <a:rPr lang="nl-NL" smtClean="0"/>
              <a:t>3</a:t>
            </a:fld>
            <a:endParaRPr lang="nl-NL"/>
          </a:p>
        </p:txBody>
      </p:sp>
    </p:spTree>
    <p:extLst>
      <p:ext uri="{BB962C8B-B14F-4D97-AF65-F5344CB8AC3E}">
        <p14:creationId xmlns:p14="http://schemas.microsoft.com/office/powerpoint/2010/main" val="14818693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247DDDC5-6FC9-440B-A884-CB7AD2CAE3B7}" type="slidenum">
              <a:rPr lang="nl-NL" smtClean="0"/>
              <a:t>38</a:t>
            </a:fld>
            <a:endParaRPr lang="nl-NL"/>
          </a:p>
        </p:txBody>
      </p:sp>
    </p:spTree>
    <p:extLst>
      <p:ext uri="{BB962C8B-B14F-4D97-AF65-F5344CB8AC3E}">
        <p14:creationId xmlns:p14="http://schemas.microsoft.com/office/powerpoint/2010/main" val="24928200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247DDDC5-6FC9-440B-A884-CB7AD2CAE3B7}" type="slidenum">
              <a:rPr lang="nl-NL" smtClean="0">
                <a:solidFill>
                  <a:prstClr val="black"/>
                </a:solidFill>
              </a:rPr>
              <a:pPr/>
              <a:t>39</a:t>
            </a:fld>
            <a:endParaRPr lang="nl-NL">
              <a:solidFill>
                <a:prstClr val="black"/>
              </a:solidFill>
            </a:endParaRPr>
          </a:p>
        </p:txBody>
      </p:sp>
    </p:spTree>
    <p:extLst>
      <p:ext uri="{BB962C8B-B14F-4D97-AF65-F5344CB8AC3E}">
        <p14:creationId xmlns:p14="http://schemas.microsoft.com/office/powerpoint/2010/main" val="31061162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Slide aanpassen</a:t>
            </a:r>
          </a:p>
          <a:p>
            <a:r>
              <a:rPr lang="nl-NL" dirty="0">
                <a:cs typeface="Calibri"/>
              </a:rPr>
              <a:t>Is het mogelijk om de knooppunten van de BRI te benoemen en dat te linken</a:t>
            </a:r>
          </a:p>
          <a:p>
            <a:r>
              <a:rPr lang="nl-NL" dirty="0">
                <a:cs typeface="Calibri"/>
              </a:rPr>
              <a:t>Duisburg</a:t>
            </a:r>
          </a:p>
          <a:p>
            <a:r>
              <a:rPr lang="nl-NL" dirty="0">
                <a:cs typeface="Calibri"/>
              </a:rPr>
              <a:t>Venlo </a:t>
            </a:r>
          </a:p>
          <a:p>
            <a:r>
              <a:rPr lang="nl-NL" dirty="0" err="1">
                <a:cs typeface="Calibri"/>
              </a:rPr>
              <a:t>Etc</a:t>
            </a:r>
            <a:endParaRPr lang="nl-NL" dirty="0">
              <a:cs typeface="Calibri"/>
            </a:endParaRPr>
          </a:p>
          <a:p>
            <a:endParaRPr lang="nl-NL" dirty="0">
              <a:cs typeface="Calibri"/>
            </a:endParaRPr>
          </a:p>
          <a:p>
            <a:r>
              <a:rPr lang="nl-NL" dirty="0">
                <a:cs typeface="Calibri"/>
              </a:rPr>
              <a:t>Let op Nu lijkt het net een </a:t>
            </a:r>
            <a:r>
              <a:rPr lang="nl-NL" dirty="0" err="1">
                <a:cs typeface="Calibri"/>
              </a:rPr>
              <a:t>belgie</a:t>
            </a:r>
            <a:r>
              <a:rPr lang="nl-NL" dirty="0">
                <a:cs typeface="Calibri"/>
              </a:rPr>
              <a:t> slide</a:t>
            </a:r>
          </a:p>
        </p:txBody>
      </p:sp>
      <p:sp>
        <p:nvSpPr>
          <p:cNvPr id="4" name="Tijdelijke aanduiding voor dianummer 3"/>
          <p:cNvSpPr>
            <a:spLocks noGrp="1"/>
          </p:cNvSpPr>
          <p:nvPr>
            <p:ph type="sldNum" sz="quarter" idx="10"/>
          </p:nvPr>
        </p:nvSpPr>
        <p:spPr/>
        <p:txBody>
          <a:bodyPr/>
          <a:lstStyle/>
          <a:p>
            <a:fld id="{247DDDC5-6FC9-440B-A884-CB7AD2CAE3B7}" type="slidenum">
              <a:rPr lang="nl-NL" smtClean="0">
                <a:solidFill>
                  <a:prstClr val="black"/>
                </a:solidFill>
              </a:rPr>
              <a:pPr/>
              <a:t>41</a:t>
            </a:fld>
            <a:endParaRPr lang="nl-NL">
              <a:solidFill>
                <a:prstClr val="black"/>
              </a:solidFill>
            </a:endParaRPr>
          </a:p>
        </p:txBody>
      </p:sp>
    </p:spTree>
    <p:extLst>
      <p:ext uri="{BB962C8B-B14F-4D97-AF65-F5344CB8AC3E}">
        <p14:creationId xmlns:p14="http://schemas.microsoft.com/office/powerpoint/2010/main" val="15773690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140" rtl="0" eaLnBrk="1" fontAlgn="auto" latinLnBrk="0" hangingPunct="1">
              <a:lnSpc>
                <a:spcPct val="100000"/>
              </a:lnSpc>
              <a:spcBef>
                <a:spcPts val="0"/>
              </a:spcBef>
              <a:spcAft>
                <a:spcPts val="0"/>
              </a:spcAft>
              <a:buClrTx/>
              <a:buSzTx/>
              <a:buFontTx/>
              <a:buNone/>
              <a:tabLst/>
              <a:defRPr/>
            </a:pPr>
            <a:endParaRPr lang="en-GB" sz="1200" b="0" kern="1200" dirty="0">
              <a:solidFill>
                <a:schemeClr val="tx1"/>
              </a:solidFill>
              <a:effectLst/>
              <a:latin typeface="+mn-lt"/>
              <a:ea typeface="+mn-ea"/>
              <a:cs typeface="+mn-cs"/>
            </a:endParaRPr>
          </a:p>
        </p:txBody>
      </p:sp>
      <p:sp>
        <p:nvSpPr>
          <p:cNvPr id="4" name="Tijdelijke aanduiding voor dianummer 3"/>
          <p:cNvSpPr>
            <a:spLocks noGrp="1"/>
          </p:cNvSpPr>
          <p:nvPr>
            <p:ph type="sldNum" sz="quarter" idx="10"/>
          </p:nvPr>
        </p:nvSpPr>
        <p:spPr/>
        <p:txBody>
          <a:bodyPr/>
          <a:lstStyle/>
          <a:p>
            <a:fld id="{247DDDC5-6FC9-440B-A884-CB7AD2CAE3B7}" type="slidenum">
              <a:rPr lang="nl-NL" smtClean="0">
                <a:solidFill>
                  <a:prstClr val="black"/>
                </a:solidFill>
              </a:rPr>
              <a:pPr/>
              <a:t>43</a:t>
            </a:fld>
            <a:endParaRPr lang="nl-NL">
              <a:solidFill>
                <a:prstClr val="black"/>
              </a:solidFill>
            </a:endParaRPr>
          </a:p>
        </p:txBody>
      </p:sp>
    </p:spTree>
    <p:extLst>
      <p:ext uri="{BB962C8B-B14F-4D97-AF65-F5344CB8AC3E}">
        <p14:creationId xmlns:p14="http://schemas.microsoft.com/office/powerpoint/2010/main" val="877633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247DDDC5-6FC9-440B-A884-CB7AD2CAE3B7}" type="slidenum">
              <a:rPr lang="nl-NL" smtClean="0">
                <a:solidFill>
                  <a:prstClr val="black"/>
                </a:solidFill>
              </a:rPr>
              <a:pPr/>
              <a:t>44</a:t>
            </a:fld>
            <a:endParaRPr lang="nl-NL">
              <a:solidFill>
                <a:prstClr val="black"/>
              </a:solidFill>
            </a:endParaRPr>
          </a:p>
        </p:txBody>
      </p:sp>
    </p:spTree>
    <p:extLst>
      <p:ext uri="{BB962C8B-B14F-4D97-AF65-F5344CB8AC3E}">
        <p14:creationId xmlns:p14="http://schemas.microsoft.com/office/powerpoint/2010/main" val="10389014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247DDDC5-6FC9-440B-A884-CB7AD2CAE3B7}" type="slidenum">
              <a:rPr lang="nl-NL" smtClean="0"/>
              <a:t>46</a:t>
            </a:fld>
            <a:endParaRPr lang="nl-NL"/>
          </a:p>
        </p:txBody>
      </p:sp>
    </p:spTree>
    <p:extLst>
      <p:ext uri="{BB962C8B-B14F-4D97-AF65-F5344CB8AC3E}">
        <p14:creationId xmlns:p14="http://schemas.microsoft.com/office/powerpoint/2010/main" val="148303405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247DDDC5-6FC9-440B-A884-CB7AD2CAE3B7}" type="slidenum">
              <a:rPr lang="nl-NL" smtClean="0"/>
              <a:t>47</a:t>
            </a:fld>
            <a:endParaRPr lang="nl-NL"/>
          </a:p>
        </p:txBody>
      </p:sp>
    </p:spTree>
    <p:extLst>
      <p:ext uri="{BB962C8B-B14F-4D97-AF65-F5344CB8AC3E}">
        <p14:creationId xmlns:p14="http://schemas.microsoft.com/office/powerpoint/2010/main" val="6762348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1219352" rtl="0" eaLnBrk="1" fontAlgn="auto" latinLnBrk="0" hangingPunct="1">
              <a:lnSpc>
                <a:spcPct val="100000"/>
              </a:lnSpc>
              <a:spcBef>
                <a:spcPts val="0"/>
              </a:spcBef>
              <a:spcAft>
                <a:spcPts val="0"/>
              </a:spcAft>
              <a:buClrTx/>
              <a:buSzTx/>
              <a:buFontTx/>
              <a:buNone/>
              <a:tabLst/>
              <a:defRPr/>
            </a:pPr>
            <a:r>
              <a:rPr lang="en-US" dirty="0"/>
              <a:t>Not only is the port of Rotterdam the largest port in Europe, it is also market leader in dry bulk, liquid bulk and container handling. The port mainly owes this position to the economies of scale Rotterdam offers. Not a single port in the Hamburg – Le Havre area is able to receive the largest dry bulk, liquid bulk and container ships 24/7. </a:t>
            </a:r>
          </a:p>
          <a:p>
            <a:endParaRPr lang="nl-NL" dirty="0"/>
          </a:p>
        </p:txBody>
      </p:sp>
    </p:spTree>
    <p:extLst>
      <p:ext uri="{BB962C8B-B14F-4D97-AF65-F5344CB8AC3E}">
        <p14:creationId xmlns:p14="http://schemas.microsoft.com/office/powerpoint/2010/main" val="2366880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3223207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257108" indent="-257108">
              <a:buFont typeface="Arial" panose="020B0604020202020204" pitchFamily="34" charset="0"/>
              <a:buChar char="•"/>
            </a:pPr>
            <a:r>
              <a:rPr lang="nl-NL" dirty="0"/>
              <a:t>Rotterdam has the </a:t>
            </a:r>
            <a:r>
              <a:rPr lang="nl-NL" dirty="0" err="1"/>
              <a:t>highest</a:t>
            </a:r>
            <a:r>
              <a:rPr lang="nl-NL" dirty="0"/>
              <a:t> </a:t>
            </a:r>
            <a:r>
              <a:rPr lang="nl-NL" dirty="0" err="1"/>
              <a:t>amount</a:t>
            </a:r>
            <a:r>
              <a:rPr lang="nl-NL" dirty="0"/>
              <a:t> of </a:t>
            </a:r>
            <a:r>
              <a:rPr lang="nl-NL" dirty="0" err="1"/>
              <a:t>unique</a:t>
            </a:r>
            <a:r>
              <a:rPr lang="nl-NL" dirty="0"/>
              <a:t> containers services per week in Europe</a:t>
            </a:r>
            <a:endParaRPr lang="en-US" dirty="0"/>
          </a:p>
          <a:p>
            <a:pPr marL="257108" indent="-257108">
              <a:buFont typeface="Arial" panose="020B0604020202020204" pitchFamily="34" charset="0"/>
              <a:buChar char="•"/>
            </a:pPr>
            <a:r>
              <a:rPr lang="nl-NL" dirty="0"/>
              <a:t>Rotterdam </a:t>
            </a:r>
            <a:r>
              <a:rPr lang="nl-NL" dirty="0" err="1"/>
              <a:t>performs</a:t>
            </a:r>
            <a:r>
              <a:rPr lang="nl-NL" dirty="0"/>
              <a:t> </a:t>
            </a:r>
            <a:r>
              <a:rPr lang="nl-NL" dirty="0" err="1"/>
              <a:t>significantly</a:t>
            </a:r>
            <a:r>
              <a:rPr lang="nl-NL" dirty="0"/>
              <a:t> </a:t>
            </a:r>
            <a:r>
              <a:rPr lang="nl-NL" dirty="0" err="1"/>
              <a:t>better</a:t>
            </a:r>
            <a:r>
              <a:rPr lang="nl-NL" dirty="0"/>
              <a:t> than </a:t>
            </a:r>
            <a:r>
              <a:rPr lang="nl-NL" dirty="0" err="1"/>
              <a:t>competing</a:t>
            </a:r>
            <a:r>
              <a:rPr lang="nl-NL" dirty="0"/>
              <a:t> ports </a:t>
            </a:r>
            <a:r>
              <a:rPr lang="nl-NL" dirty="0" err="1"/>
              <a:t>if</a:t>
            </a:r>
            <a:r>
              <a:rPr lang="nl-NL" dirty="0"/>
              <a:t> </a:t>
            </a:r>
            <a:r>
              <a:rPr lang="nl-NL" dirty="0" err="1"/>
              <a:t>you</a:t>
            </a:r>
            <a:r>
              <a:rPr lang="nl-NL" dirty="0"/>
              <a:t> look at the </a:t>
            </a:r>
            <a:r>
              <a:rPr lang="nl-NL" dirty="0" err="1"/>
              <a:t>total</a:t>
            </a:r>
            <a:r>
              <a:rPr lang="nl-NL" dirty="0"/>
              <a:t> </a:t>
            </a:r>
            <a:r>
              <a:rPr lang="nl-NL" dirty="0" err="1"/>
              <a:t>network</a:t>
            </a:r>
            <a:r>
              <a:rPr lang="nl-NL" dirty="0"/>
              <a:t> </a:t>
            </a:r>
            <a:r>
              <a:rPr lang="nl-NL" dirty="0" err="1"/>
              <a:t>offered</a:t>
            </a:r>
            <a:r>
              <a:rPr lang="nl-NL" dirty="0"/>
              <a:t> </a:t>
            </a:r>
            <a:r>
              <a:rPr lang="nl-NL" dirty="0" err="1"/>
              <a:t>by</a:t>
            </a:r>
            <a:r>
              <a:rPr lang="nl-NL" dirty="0"/>
              <a:t> the </a:t>
            </a:r>
            <a:r>
              <a:rPr lang="nl-NL" dirty="0" err="1"/>
              <a:t>weekly</a:t>
            </a:r>
            <a:r>
              <a:rPr lang="nl-NL" dirty="0"/>
              <a:t> services.</a:t>
            </a:r>
          </a:p>
          <a:p>
            <a:pPr marL="257108" indent="-257108">
              <a:buFont typeface="Arial" panose="020B0604020202020204" pitchFamily="34" charset="0"/>
              <a:buChar char="•"/>
            </a:pPr>
            <a:endParaRPr lang="nl-NL" dirty="0"/>
          </a:p>
          <a:p>
            <a:endParaRPr lang="de-DE" dirty="0"/>
          </a:p>
        </p:txBody>
      </p:sp>
      <p:sp>
        <p:nvSpPr>
          <p:cNvPr id="4" name="Tijdelijke aanduiding voor dianummer 3"/>
          <p:cNvSpPr>
            <a:spLocks noGrp="1"/>
          </p:cNvSpPr>
          <p:nvPr>
            <p:ph type="sldNum" sz="quarter" idx="10"/>
          </p:nvPr>
        </p:nvSpPr>
        <p:spPr/>
        <p:txBody>
          <a:bodyPr/>
          <a:lstStyle/>
          <a:p>
            <a:pPr marL="0" marR="0" lvl="0" indent="0" algn="l" defTabSz="1219352" rtl="0" eaLnBrk="1" fontAlgn="auto" latinLnBrk="0" hangingPunct="1">
              <a:lnSpc>
                <a:spcPct val="100000"/>
              </a:lnSpc>
              <a:spcBef>
                <a:spcPts val="0"/>
              </a:spcBef>
              <a:spcAft>
                <a:spcPts val="0"/>
              </a:spcAft>
              <a:buClrTx/>
              <a:buSzTx/>
              <a:buFontTx/>
              <a:buNone/>
              <a:tabLst/>
              <a:defRPr/>
            </a:pPr>
            <a:fld id="{247DDDC5-6FC9-440B-A884-CB7AD2CAE3B7}" type="slidenum">
              <a:rPr kumimoji="0" sz="2400" b="0" i="0" u="none" strike="noStrike" kern="1200" cap="none" spc="0" normalizeH="0" baseline="0" noProof="0">
                <a:ln>
                  <a:noFill/>
                </a:ln>
                <a:solidFill>
                  <a:prstClr val="black"/>
                </a:solidFill>
                <a:effectLst/>
                <a:uLnTx/>
                <a:uFillTx/>
                <a:latin typeface="Calibri"/>
                <a:ea typeface="+mn-ea"/>
                <a:cs typeface="+mn-cs"/>
              </a:rPr>
              <a:pPr marL="0" marR="0" lvl="0" indent="0" algn="l" defTabSz="1219352" rtl="0" eaLnBrk="1" fontAlgn="auto" latinLnBrk="0" hangingPunct="1">
                <a:lnSpc>
                  <a:spcPct val="100000"/>
                </a:lnSpc>
                <a:spcBef>
                  <a:spcPts val="0"/>
                </a:spcBef>
                <a:spcAft>
                  <a:spcPts val="0"/>
                </a:spcAft>
                <a:buClrTx/>
                <a:buSzTx/>
                <a:buFontTx/>
                <a:buNone/>
                <a:tabLst/>
                <a:defRPr/>
              </a:pPr>
              <a:t>8</a:t>
            </a:fld>
            <a:endParaRPr kumimoji="0" lang="de-DE" sz="24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925697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423863" y="742950"/>
            <a:ext cx="5949950" cy="3346450"/>
          </a:xfrm>
        </p:spPr>
      </p:sp>
      <p:sp>
        <p:nvSpPr>
          <p:cNvPr id="3" name="Tijdelijke aanduiding voor notities 2"/>
          <p:cNvSpPr>
            <a:spLocks noGrp="1"/>
          </p:cNvSpPr>
          <p:nvPr>
            <p:ph type="body" idx="1"/>
          </p:nvPr>
        </p:nvSpPr>
        <p:spPr/>
        <p:txBody>
          <a:bodyPr/>
          <a:lstStyle/>
          <a:p>
            <a:endParaRPr lang="nl-NL" sz="1050" dirty="0"/>
          </a:p>
        </p:txBody>
      </p:sp>
      <p:sp>
        <p:nvSpPr>
          <p:cNvPr id="4" name="Tijdelijke aanduiding voor dianummer 3"/>
          <p:cNvSpPr>
            <a:spLocks noGrp="1"/>
          </p:cNvSpPr>
          <p:nvPr>
            <p:ph type="sldNum" sz="quarter" idx="5"/>
          </p:nvPr>
        </p:nvSpPr>
        <p:spPr/>
        <p:txBody>
          <a:bodyPr/>
          <a:lstStyle/>
          <a:p>
            <a:fld id="{247DDDC5-6FC9-440B-A884-CB7AD2CAE3B7}" type="slidenum">
              <a:rPr lang="nl-NL" smtClean="0"/>
              <a:t>9</a:t>
            </a:fld>
            <a:endParaRPr lang="nl-NL"/>
          </a:p>
        </p:txBody>
      </p:sp>
    </p:spTree>
    <p:extLst>
      <p:ext uri="{BB962C8B-B14F-4D97-AF65-F5344CB8AC3E}">
        <p14:creationId xmlns:p14="http://schemas.microsoft.com/office/powerpoint/2010/main" val="18775067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423863" y="742950"/>
            <a:ext cx="5949950" cy="3346450"/>
          </a:xfrm>
        </p:spPr>
      </p:sp>
      <p:sp>
        <p:nvSpPr>
          <p:cNvPr id="3" name="Tijdelijke aanduiding voor notities 2"/>
          <p:cNvSpPr>
            <a:spLocks noGrp="1"/>
          </p:cNvSpPr>
          <p:nvPr>
            <p:ph type="body" idx="1"/>
          </p:nvPr>
        </p:nvSpPr>
        <p:spPr/>
        <p:txBody>
          <a:bodyPr/>
          <a:lstStyle/>
          <a:p>
            <a:pPr marL="0" marR="0" lvl="0" indent="0" algn="l" defTabSz="1219352" rtl="0" eaLnBrk="1" fontAlgn="auto" latinLnBrk="0" hangingPunct="1">
              <a:lnSpc>
                <a:spcPct val="100000"/>
              </a:lnSpc>
              <a:spcBef>
                <a:spcPts val="0"/>
              </a:spcBef>
              <a:spcAft>
                <a:spcPts val="0"/>
              </a:spcAft>
              <a:buClrTx/>
              <a:buSzTx/>
              <a:buFontTx/>
              <a:buNone/>
              <a:tabLst/>
              <a:defRPr/>
            </a:pPr>
            <a:r>
              <a:rPr lang="nl-NL" dirty="0"/>
              <a:t>In absolute termen groeide Rotterdam in 2018 (</a:t>
            </a:r>
            <a:r>
              <a:rPr lang="nl-NL" sz="1050" kern="1200" dirty="0">
                <a:solidFill>
                  <a:schemeClr val="tx1"/>
                </a:solidFill>
                <a:effectLst/>
                <a:latin typeface="+mn-lt"/>
                <a:ea typeface="+mn-ea"/>
                <a:cs typeface="+mn-cs"/>
              </a:rPr>
              <a:t>780k+) méér dan Antwerpen (+/- 650k). Groei Antwerpen in </a:t>
            </a:r>
            <a:r>
              <a:rPr lang="en-US" sz="1050" kern="1200" dirty="0" err="1">
                <a:solidFill>
                  <a:schemeClr val="tx1"/>
                </a:solidFill>
                <a:effectLst/>
                <a:latin typeface="+mn-lt"/>
                <a:ea typeface="+mn-ea"/>
                <a:cs typeface="+mn-cs"/>
              </a:rPr>
              <a:t>tonnen</a:t>
            </a:r>
            <a:r>
              <a:rPr lang="en-US" sz="1050" kern="1200" dirty="0">
                <a:solidFill>
                  <a:schemeClr val="tx1"/>
                </a:solidFill>
                <a:effectLst/>
                <a:latin typeface="+mn-lt"/>
                <a:ea typeface="+mn-ea"/>
                <a:cs typeface="+mn-cs"/>
              </a:rPr>
              <a:t> (+6,4%) resp in TEU (+6,2% </a:t>
            </a:r>
            <a:r>
              <a:rPr lang="en-US" sz="1050" kern="1200" dirty="0" err="1">
                <a:solidFill>
                  <a:schemeClr val="tx1"/>
                </a:solidFill>
                <a:effectLst/>
                <a:latin typeface="+mn-lt"/>
                <a:ea typeface="+mn-ea"/>
                <a:cs typeface="+mn-cs"/>
              </a:rPr>
              <a:t>naar</a:t>
            </a:r>
            <a:r>
              <a:rPr lang="en-US" sz="1050" kern="1200" dirty="0">
                <a:solidFill>
                  <a:schemeClr val="tx1"/>
                </a:solidFill>
                <a:effectLst/>
                <a:latin typeface="+mn-lt"/>
                <a:ea typeface="+mn-ea"/>
                <a:cs typeface="+mn-cs"/>
              </a:rPr>
              <a:t> 11,1 </a:t>
            </a:r>
            <a:r>
              <a:rPr lang="en-US" sz="1050" kern="1200" dirty="0" err="1">
                <a:solidFill>
                  <a:schemeClr val="tx1"/>
                </a:solidFill>
                <a:effectLst/>
                <a:latin typeface="+mn-lt"/>
                <a:ea typeface="+mn-ea"/>
                <a:cs typeface="+mn-cs"/>
              </a:rPr>
              <a:t>miljoen</a:t>
            </a:r>
            <a:r>
              <a:rPr lang="en-US" sz="1050" kern="1200" dirty="0">
                <a:solidFill>
                  <a:schemeClr val="tx1"/>
                </a:solidFill>
                <a:effectLst/>
                <a:latin typeface="+mn-lt"/>
                <a:ea typeface="+mn-ea"/>
                <a:cs typeface="+mn-cs"/>
              </a:rPr>
              <a:t>).</a:t>
            </a:r>
          </a:p>
          <a:p>
            <a:endParaRPr lang="nl-NL" dirty="0"/>
          </a:p>
        </p:txBody>
      </p:sp>
      <p:sp>
        <p:nvSpPr>
          <p:cNvPr id="4" name="Tijdelijke aanduiding voor dianummer 3"/>
          <p:cNvSpPr>
            <a:spLocks noGrp="1"/>
          </p:cNvSpPr>
          <p:nvPr>
            <p:ph type="sldNum" sz="quarter" idx="5"/>
          </p:nvPr>
        </p:nvSpPr>
        <p:spPr/>
        <p:txBody>
          <a:bodyPr/>
          <a:lstStyle/>
          <a:p>
            <a:fld id="{247DDDC5-6FC9-440B-A884-CB7AD2CAE3B7}" type="slidenum">
              <a:rPr lang="nl-NL" smtClean="0"/>
              <a:t>10</a:t>
            </a:fld>
            <a:endParaRPr lang="nl-NL"/>
          </a:p>
        </p:txBody>
      </p:sp>
    </p:spTree>
    <p:extLst>
      <p:ext uri="{BB962C8B-B14F-4D97-AF65-F5344CB8AC3E}">
        <p14:creationId xmlns:p14="http://schemas.microsoft.com/office/powerpoint/2010/main" val="21563417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7350" y="782638"/>
            <a:ext cx="6022975" cy="3387725"/>
          </a:xfrm>
        </p:spPr>
      </p:sp>
      <p:sp>
        <p:nvSpPr>
          <p:cNvPr id="3" name="Tijdelijke aanduiding voor notities 2"/>
          <p:cNvSpPr>
            <a:spLocks noGrp="1"/>
          </p:cNvSpPr>
          <p:nvPr>
            <p:ph type="body" idx="1"/>
          </p:nvPr>
        </p:nvSpPr>
        <p:spPr/>
        <p:txBody>
          <a:bodyPr/>
          <a:lstStyle/>
          <a:p>
            <a:pPr marL="0" marR="0" lvl="0" indent="0" algn="l" defTabSz="1219352" rtl="0" eaLnBrk="1" fontAlgn="auto" latinLnBrk="0" hangingPunct="1">
              <a:lnSpc>
                <a:spcPct val="100000"/>
              </a:lnSpc>
              <a:spcBef>
                <a:spcPts val="0"/>
              </a:spcBef>
              <a:spcAft>
                <a:spcPts val="0"/>
              </a:spcAft>
              <a:buClrTx/>
              <a:buSzTx/>
              <a:buFontTx/>
              <a:buNone/>
              <a:tabLst/>
              <a:defRPr/>
            </a:pPr>
            <a:r>
              <a:rPr lang="en-US" sz="1050" b="0" i="0" u="none" strike="noStrike" kern="1200" dirty="0">
                <a:solidFill>
                  <a:schemeClr val="tx1"/>
                </a:solidFill>
                <a:effectLst/>
                <a:latin typeface="NLRTM" panose="00000500000000000000" pitchFamily="2" charset="0"/>
                <a:ea typeface="+mn-ea"/>
                <a:cs typeface="+mn-cs"/>
              </a:rPr>
              <a:t>Broadly speaking, the </a:t>
            </a:r>
            <a:r>
              <a:rPr lang="en-GB" sz="1050" b="0" i="0" u="none" strike="noStrike" kern="1200" noProof="0" dirty="0">
                <a:solidFill>
                  <a:schemeClr val="tx1"/>
                </a:solidFill>
                <a:effectLst/>
                <a:latin typeface="NLRTM" panose="00000500000000000000" pitchFamily="2" charset="0"/>
                <a:ea typeface="+mn-ea"/>
                <a:cs typeface="+mn-cs"/>
              </a:rPr>
              <a:t>digitisation</a:t>
            </a:r>
            <a:r>
              <a:rPr lang="en-US" sz="1050" b="0" i="0" u="none" strike="noStrike" kern="1200" dirty="0">
                <a:solidFill>
                  <a:schemeClr val="tx1"/>
                </a:solidFill>
                <a:effectLst/>
                <a:latin typeface="NLRTM" panose="00000500000000000000" pitchFamily="2" charset="0"/>
                <a:ea typeface="+mn-ea"/>
                <a:cs typeface="+mn-cs"/>
              </a:rPr>
              <a:t> initiatives of the Port of Rotterdam Authority move along two axes. Although the distribution is not entirely black and white, on the one hand, there are projects in which a </a:t>
            </a:r>
            <a:r>
              <a:rPr lang="en-US" sz="1050" b="0" i="1" u="none" strike="noStrike" kern="1200" dirty="0">
                <a:solidFill>
                  <a:schemeClr val="tx1"/>
                </a:solidFill>
                <a:effectLst/>
                <a:latin typeface="NLRTM" panose="00000500000000000000" pitchFamily="2" charset="0"/>
                <a:ea typeface="+mn-ea"/>
                <a:cs typeface="+mn-cs"/>
              </a:rPr>
              <a:t>better administration and management of the port and port infrastructure </a:t>
            </a:r>
            <a:r>
              <a:rPr lang="en-US" sz="1050" b="0" i="0" u="none" strike="noStrike" kern="1200" dirty="0">
                <a:solidFill>
                  <a:schemeClr val="tx1"/>
                </a:solidFill>
                <a:effectLst/>
                <a:latin typeface="NLRTM" panose="00000500000000000000" pitchFamily="2" charset="0"/>
                <a:ea typeface="+mn-ea"/>
                <a:cs typeface="+mn-cs"/>
              </a:rPr>
              <a:t>are paramount; the internal core processes, as it were. On the other hand, there are processes that mainly require </a:t>
            </a:r>
            <a:r>
              <a:rPr lang="en-US" sz="1050" b="0" i="1" u="none" strike="noStrike" kern="1200" dirty="0">
                <a:solidFill>
                  <a:schemeClr val="tx1"/>
                </a:solidFill>
                <a:effectLst/>
                <a:latin typeface="NLRTM" panose="00000500000000000000" pitchFamily="2" charset="0"/>
                <a:ea typeface="+mn-ea"/>
                <a:cs typeface="+mn-cs"/>
              </a:rPr>
              <a:t>better insight into or the efficiency of logistics processes</a:t>
            </a:r>
            <a:r>
              <a:rPr lang="en-US" sz="1050" b="0" i="0" u="none" strike="noStrike" kern="1200" dirty="0">
                <a:solidFill>
                  <a:schemeClr val="tx1"/>
                </a:solidFill>
                <a:effectLst/>
                <a:latin typeface="NLRTM" panose="00000500000000000000" pitchFamily="2" charset="0"/>
                <a:ea typeface="+mn-ea"/>
                <a:cs typeface="+mn-cs"/>
              </a:rPr>
              <a:t>. In these processes, the added value and competitive position of Rotterdam play a more prominent role. In both areas, the applications developed can lead to international applications, whether or not on a commercial basis. After all, digital services can be used in ports and logistics chains worldwide from the coast to the hinterland. This results in new revenue streams and revenue models for the Port of Rotterdam Authority (which are developed and operated under the name </a:t>
            </a:r>
            <a:r>
              <a:rPr lang="en-US" sz="1050" b="0" i="0" u="none" strike="noStrike" kern="1200" dirty="0" err="1">
                <a:solidFill>
                  <a:schemeClr val="tx1"/>
                </a:solidFill>
                <a:effectLst/>
                <a:latin typeface="NLRTM" panose="00000500000000000000" pitchFamily="2" charset="0"/>
                <a:ea typeface="+mn-ea"/>
                <a:cs typeface="+mn-cs"/>
              </a:rPr>
              <a:t>PortForward</a:t>
            </a:r>
            <a:r>
              <a:rPr lang="en-US" sz="1050" b="0" i="0" u="none" strike="noStrike" kern="1200" dirty="0">
                <a:solidFill>
                  <a:schemeClr val="tx1"/>
                </a:solidFill>
                <a:effectLst/>
                <a:latin typeface="NLRTM" panose="00000500000000000000" pitchFamily="2" charset="0"/>
                <a:ea typeface="+mn-ea"/>
                <a:cs typeface="+mn-cs"/>
              </a:rPr>
              <a:t>).</a:t>
            </a:r>
            <a:r>
              <a:rPr lang="en-US" sz="1050" b="0" i="0" kern="1200" dirty="0">
                <a:solidFill>
                  <a:schemeClr val="tx1"/>
                </a:solidFill>
                <a:effectLst/>
                <a:latin typeface="NLRTM" panose="00000500000000000000" pitchFamily="2" charset="0"/>
                <a:ea typeface="+mn-ea"/>
                <a:cs typeface="+mn-cs"/>
              </a:rPr>
              <a:t>​</a:t>
            </a:r>
            <a:endParaRPr lang="nl-NL" dirty="0"/>
          </a:p>
          <a:p>
            <a:endParaRPr lang="nl-NL" dirty="0"/>
          </a:p>
        </p:txBody>
      </p:sp>
    </p:spTree>
    <p:extLst>
      <p:ext uri="{BB962C8B-B14F-4D97-AF65-F5344CB8AC3E}">
        <p14:creationId xmlns:p14="http://schemas.microsoft.com/office/powerpoint/2010/main" val="22374758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3.png"/><Relationship Id="rId7" Type="http://schemas.openxmlformats.org/officeDocument/2006/relationships/diagramLayout" Target="../diagrams/layout1.xml"/><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diagramData" Target="../diagrams/data1.xml"/><Relationship Id="rId11" Type="http://schemas.openxmlformats.org/officeDocument/2006/relationships/image" Target="../media/image9.png"/><Relationship Id="rId5" Type="http://schemas.openxmlformats.org/officeDocument/2006/relationships/hyperlink" Target="LogoHbRPosPOS.png" TargetMode="External"/><Relationship Id="rId10" Type="http://schemas.microsoft.com/office/2007/relationships/diagramDrawing" Target="../diagrams/drawing1.xml"/><Relationship Id="rId4" Type="http://schemas.openxmlformats.org/officeDocument/2006/relationships/image" Target="../media/image4.png"/><Relationship Id="rId9" Type="http://schemas.openxmlformats.org/officeDocument/2006/relationships/diagramColors" Target="../diagrams/colors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3.png"/><Relationship Id="rId7" Type="http://schemas.openxmlformats.org/officeDocument/2006/relationships/image" Target="../media/image1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3.png"/><Relationship Id="rId7" Type="http://schemas.openxmlformats.org/officeDocument/2006/relationships/image" Target="../media/image1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4.pn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3.png"/><Relationship Id="rId7" Type="http://schemas.openxmlformats.org/officeDocument/2006/relationships/image" Target="../media/image1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3.png"/><Relationship Id="rId7" Type="http://schemas.openxmlformats.org/officeDocument/2006/relationships/image" Target="../media/image1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3.png"/><Relationship Id="rId7" Type="http://schemas.openxmlformats.org/officeDocument/2006/relationships/image" Target="../media/image1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2.png"/><Relationship Id="rId4" Type="http://schemas.openxmlformats.org/officeDocument/2006/relationships/image" Target="../media/image4.png"/></Relationships>
</file>

<file path=ppt/slideLayouts/_rels/slideLayout42.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image" Target="../media/image3.png"/><Relationship Id="rId7" Type="http://schemas.openxmlformats.org/officeDocument/2006/relationships/diagramLayout" Target="../diagrams/layout2.xml"/><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diagramData" Target="../diagrams/data2.xml"/><Relationship Id="rId5" Type="http://schemas.openxmlformats.org/officeDocument/2006/relationships/hyperlink" Target="LogoHbRPosPOS.png" TargetMode="External"/><Relationship Id="rId10" Type="http://schemas.microsoft.com/office/2007/relationships/diagramDrawing" Target="../diagrams/drawing2.xml"/><Relationship Id="rId4" Type="http://schemas.openxmlformats.org/officeDocument/2006/relationships/image" Target="../media/image4.png"/><Relationship Id="rId9" Type="http://schemas.openxmlformats.org/officeDocument/2006/relationships/diagramColors" Target="../diagrams/colors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4.png"/></Relationships>
</file>

<file path=ppt/slideLayouts/_rels/slideLayout44.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image" Target="../media/image3.png"/><Relationship Id="rId7" Type="http://schemas.openxmlformats.org/officeDocument/2006/relationships/diagramLayout" Target="../diagrams/layout3.xml"/><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diagramData" Target="../diagrams/data3.xml"/><Relationship Id="rId5" Type="http://schemas.openxmlformats.org/officeDocument/2006/relationships/hyperlink" Target="LogoHbRPosPOS.png" TargetMode="External"/><Relationship Id="rId10" Type="http://schemas.microsoft.com/office/2007/relationships/diagramDrawing" Target="../diagrams/drawing3.xml"/><Relationship Id="rId4" Type="http://schemas.openxmlformats.org/officeDocument/2006/relationships/image" Target="../media/image4.png"/><Relationship Id="rId9" Type="http://schemas.openxmlformats.org/officeDocument/2006/relationships/diagramColors" Target="../diagrams/colors3.xml"/></Relationships>
</file>

<file path=ppt/slideLayouts/_rels/slideLayout45.xml.rels><?xml version="1.0" encoding="UTF-8" standalone="yes"?>
<Relationships xmlns="http://schemas.openxmlformats.org/package/2006/relationships"><Relationship Id="rId8" Type="http://schemas.openxmlformats.org/officeDocument/2006/relationships/diagramQuickStyle" Target="../diagrams/quickStyle4.xml"/><Relationship Id="rId3" Type="http://schemas.openxmlformats.org/officeDocument/2006/relationships/image" Target="../media/image3.png"/><Relationship Id="rId7" Type="http://schemas.openxmlformats.org/officeDocument/2006/relationships/diagramLayout" Target="../diagrams/layout4.xml"/><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diagramData" Target="../diagrams/data4.xml"/><Relationship Id="rId5" Type="http://schemas.openxmlformats.org/officeDocument/2006/relationships/hyperlink" Target="LogoHbRPosPOS.png" TargetMode="External"/><Relationship Id="rId10" Type="http://schemas.microsoft.com/office/2007/relationships/diagramDrawing" Target="../diagrams/drawing4.xml"/><Relationship Id="rId4" Type="http://schemas.openxmlformats.org/officeDocument/2006/relationships/image" Target="../media/image4.png"/><Relationship Id="rId9" Type="http://schemas.openxmlformats.org/officeDocument/2006/relationships/diagramColors" Target="../diagrams/colors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8.pn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8.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8.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8.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8.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7.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slide (variabel)">
    <p:spTree>
      <p:nvGrpSpPr>
        <p:cNvPr id="1" name=""/>
        <p:cNvGrpSpPr/>
        <p:nvPr/>
      </p:nvGrpSpPr>
      <p:grpSpPr>
        <a:xfrm>
          <a:off x="0" y="0"/>
          <a:ext cx="0" cy="0"/>
          <a:chOff x="0" y="0"/>
          <a:chExt cx="0" cy="0"/>
        </a:xfrm>
      </p:grpSpPr>
      <p:sp>
        <p:nvSpPr>
          <p:cNvPr id="13" name="GRIJS"/>
          <p:cNvSpPr/>
          <p:nvPr userDrawn="1"/>
        </p:nvSpPr>
        <p:spPr>
          <a:xfrm>
            <a:off x="0" y="0"/>
            <a:ext cx="12195175" cy="5982054"/>
          </a:xfrm>
          <a:prstGeom prst="round2SameRect">
            <a:avLst>
              <a:gd name="adj1" fmla="val 1089"/>
              <a:gd name="adj2" fmla="val 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12" name="Tijdelijke aanduiding voor afbeelding 2"/>
          <p:cNvSpPr>
            <a:spLocks noGrp="1"/>
          </p:cNvSpPr>
          <p:nvPr>
            <p:ph type="pic" idx="20"/>
          </p:nvPr>
        </p:nvSpPr>
        <p:spPr>
          <a:xfrm>
            <a:off x="-2557" y="0"/>
            <a:ext cx="12195175" cy="5982054"/>
          </a:xfrm>
          <a:prstGeom prst="round2SameRect">
            <a:avLst>
              <a:gd name="adj1" fmla="val 1166"/>
              <a:gd name="adj2" fmla="val 0"/>
            </a:avLst>
          </a:prstGeo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14" name="Tijdelijke aanduiding voor tekst 15"/>
          <p:cNvSpPr>
            <a:spLocks noGrp="1"/>
          </p:cNvSpPr>
          <p:nvPr>
            <p:ph type="body" sz="quarter" idx="19" hasCustomPrompt="1"/>
          </p:nvPr>
        </p:nvSpPr>
        <p:spPr>
          <a:xfrm>
            <a:off x="469509" y="6401198"/>
            <a:ext cx="8691694" cy="268237"/>
          </a:xfrm>
          <a:prstGeom prst="rect">
            <a:avLst/>
          </a:prstGeom>
        </p:spPr>
        <p:txBody>
          <a:bodyPr tIns="0" bIns="0" anchor="ctr" anchorCtr="0">
            <a:noAutofit/>
          </a:bodyPr>
          <a:lstStyle>
            <a:lvl1pPr marL="0" marR="0" indent="0" algn="l" defTabSz="914400" rtl="0" eaLnBrk="1" fontAlgn="auto" latinLnBrk="0" hangingPunct="1">
              <a:lnSpc>
                <a:spcPct val="90000"/>
              </a:lnSpc>
              <a:spcBef>
                <a:spcPts val="700"/>
              </a:spcBef>
              <a:spcAft>
                <a:spcPts val="700"/>
              </a:spcAft>
              <a:buClrTx/>
              <a:buSzTx/>
              <a:buFont typeface="Arial" panose="020B0604020202020204" pitchFamily="34" charset="0"/>
              <a:buNone/>
              <a:tabLst/>
              <a:defRPr sz="1600" b="0" cap="none" baseline="0">
                <a:solidFill>
                  <a:schemeClr val="tx2"/>
                </a:solidFill>
                <a:latin typeface="+mn-lt"/>
              </a:defRPr>
            </a:lvl1pPr>
            <a:lvl2pPr marL="241294" indent="0">
              <a:buNone/>
              <a:defRPr/>
            </a:lvl2pPr>
            <a:lvl3pPr marL="482588" indent="0">
              <a:buNone/>
              <a:defRPr/>
            </a:lvl3pPr>
            <a:lvl4pPr marL="723882" indent="0">
              <a:buNone/>
              <a:defRPr/>
            </a:lvl4pPr>
            <a:lvl5pPr marL="952476" indent="0">
              <a:buNone/>
              <a:defRPr/>
            </a:lvl5pPr>
          </a:lstStyle>
          <a:p>
            <a:pPr marL="0" marR="0" lvl="0" indent="0" algn="l" defTabSz="914400" rtl="0" eaLnBrk="1" fontAlgn="auto" latinLnBrk="0" hangingPunct="1">
              <a:lnSpc>
                <a:spcPct val="90000"/>
              </a:lnSpc>
              <a:spcBef>
                <a:spcPts val="700"/>
              </a:spcBef>
              <a:spcAft>
                <a:spcPts val="700"/>
              </a:spcAft>
              <a:buClrTx/>
              <a:buSzTx/>
              <a:buFont typeface="Arial" panose="020B0604020202020204" pitchFamily="34" charset="0"/>
              <a:buNone/>
              <a:tabLst/>
              <a:defRPr/>
            </a:pPr>
            <a:r>
              <a:rPr lang="nl-NL" dirty="0"/>
              <a:t>Ondertitel Optioneel  |  Sub</a:t>
            </a:r>
          </a:p>
        </p:txBody>
      </p:sp>
      <p:sp>
        <p:nvSpPr>
          <p:cNvPr id="15" name="Tijdelijke aanduiding voor tekst 17"/>
          <p:cNvSpPr>
            <a:spLocks noGrp="1"/>
          </p:cNvSpPr>
          <p:nvPr>
            <p:ph type="body" sz="quarter" idx="16" hasCustomPrompt="1"/>
          </p:nvPr>
        </p:nvSpPr>
        <p:spPr>
          <a:xfrm>
            <a:off x="469512" y="6143236"/>
            <a:ext cx="8691691" cy="243852"/>
          </a:xfrm>
          <a:prstGeom prst="rect">
            <a:avLst/>
          </a:prstGeom>
        </p:spPr>
        <p:txBody>
          <a:bodyPr tIns="0" bIns="0" anchor="ctr" anchorCtr="0">
            <a:noAutofit/>
          </a:bodyPr>
          <a:lstStyle>
            <a:lvl1pPr marL="0" indent="0">
              <a:buNone/>
              <a:defRPr sz="1867" b="0" cap="none" baseline="0">
                <a:solidFill>
                  <a:schemeClr val="tx2"/>
                </a:solidFill>
                <a:latin typeface="+mj-lt"/>
              </a:defRPr>
            </a:lvl1pPr>
          </a:lstStyle>
          <a:p>
            <a:pPr lvl="0"/>
            <a:r>
              <a:rPr lang="nl-NL" dirty="0"/>
              <a:t>Name</a:t>
            </a:r>
          </a:p>
        </p:txBody>
      </p:sp>
      <p:sp>
        <p:nvSpPr>
          <p:cNvPr id="2" name="Titel 1"/>
          <p:cNvSpPr>
            <a:spLocks noGrp="1"/>
          </p:cNvSpPr>
          <p:nvPr>
            <p:ph type="ctrTitle" hasCustomPrompt="1"/>
          </p:nvPr>
        </p:nvSpPr>
        <p:spPr>
          <a:xfrm>
            <a:off x="455862" y="688480"/>
            <a:ext cx="11304339" cy="1531016"/>
          </a:xfrm>
          <a:effectLst/>
        </p:spPr>
        <p:txBody>
          <a:bodyPr tIns="0" bIns="0" anchor="b" anchorCtr="0">
            <a:noAutofit/>
          </a:bodyPr>
          <a:lstStyle>
            <a:lvl1pPr>
              <a:lnSpc>
                <a:spcPct val="80000"/>
              </a:lnSpc>
              <a:defRPr lang="nl-NL" sz="5400" b="0" cap="all" spc="0" baseline="0">
                <a:solidFill>
                  <a:schemeClr val="bg1"/>
                </a:solidFill>
                <a:effectLst/>
                <a:latin typeface="NLRTM ExtraBold" panose="00000900000000000000" pitchFamily="2" charset="0"/>
              </a:defRPr>
            </a:lvl1pPr>
          </a:lstStyle>
          <a:p>
            <a:pPr marL="0" lvl="0"/>
            <a:r>
              <a:rPr lang="nl-NL" dirty="0"/>
              <a:t>Titel regel 1.</a:t>
            </a:r>
            <a:br>
              <a:rPr lang="nl-NL" dirty="0"/>
            </a:br>
            <a:r>
              <a:rPr lang="nl-NL" dirty="0"/>
              <a:t>titel regel 2.</a:t>
            </a:r>
          </a:p>
        </p:txBody>
      </p:sp>
      <p:sp>
        <p:nvSpPr>
          <p:cNvPr id="6" name="Tekstvak 5"/>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Titel slide (variabel)</a:t>
            </a:r>
          </a:p>
        </p:txBody>
      </p:sp>
      <p:sp>
        <p:nvSpPr>
          <p:cNvPr id="8" name="Tijdelijke aanduiding voor tekst 8"/>
          <p:cNvSpPr>
            <a:spLocks noGrp="1"/>
          </p:cNvSpPr>
          <p:nvPr>
            <p:ph type="body" sz="quarter" idx="13" hasCustomPrompt="1"/>
          </p:nvPr>
        </p:nvSpPr>
        <p:spPr>
          <a:xfrm>
            <a:off x="542260" y="2509170"/>
            <a:ext cx="11700000" cy="72000"/>
          </a:xfrm>
          <a:solidFill>
            <a:schemeClr val="bg2"/>
          </a:solidFill>
        </p:spPr>
        <p:txBody>
          <a:bodyPr anchor="ctr"/>
          <a:lstStyle>
            <a:lvl1pPr algn="ctr">
              <a:defRPr sz="700"/>
            </a:lvl1pPr>
          </a:lstStyle>
          <a:p>
            <a:pPr lvl="0"/>
            <a:r>
              <a:rPr lang="nl-NL" noProof="0" dirty="0"/>
              <a:t>Vormgeving (niet verwijderen!)</a:t>
            </a:r>
          </a:p>
        </p:txBody>
      </p:sp>
      <p:grpSp>
        <p:nvGrpSpPr>
          <p:cNvPr id="34" name="Groep 33">
            <a:extLst>
              <a:ext uri="{FF2B5EF4-FFF2-40B4-BE49-F238E27FC236}">
                <a16:creationId xmlns:a16="http://schemas.microsoft.com/office/drawing/2014/main" id="{0E05EBD2-7F37-4762-B2CF-02475EA16D4B}"/>
              </a:ext>
            </a:extLst>
          </p:cNvPr>
          <p:cNvGrpSpPr/>
          <p:nvPr userDrawn="1"/>
        </p:nvGrpSpPr>
        <p:grpSpPr>
          <a:xfrm>
            <a:off x="12363871" y="-26002"/>
            <a:ext cx="3064812" cy="4530930"/>
            <a:chOff x="15419739" y="-26002"/>
            <a:chExt cx="3064812" cy="4530930"/>
          </a:xfrm>
        </p:grpSpPr>
        <p:sp>
          <p:nvSpPr>
            <p:cNvPr id="35" name="Tekstvak 33">
              <a:extLst>
                <a:ext uri="{FF2B5EF4-FFF2-40B4-BE49-F238E27FC236}">
                  <a16:creationId xmlns:a16="http://schemas.microsoft.com/office/drawing/2014/main" id="{B266FA32-F11E-4B33-88E3-C4D51BBD9F3D}"/>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36" name="Tekstvak 33">
              <a:extLst>
                <a:ext uri="{FF2B5EF4-FFF2-40B4-BE49-F238E27FC236}">
                  <a16:creationId xmlns:a16="http://schemas.microsoft.com/office/drawing/2014/main" id="{3C49FF3D-BD0E-4E67-AC35-DDC26431B487}"/>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37" name="Ovaal 36">
              <a:extLst>
                <a:ext uri="{FF2B5EF4-FFF2-40B4-BE49-F238E27FC236}">
                  <a16:creationId xmlns:a16="http://schemas.microsoft.com/office/drawing/2014/main" id="{8FD66F62-0719-488B-9945-C467949A6815}"/>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38" name="Ovaal 37">
              <a:extLst>
                <a:ext uri="{FF2B5EF4-FFF2-40B4-BE49-F238E27FC236}">
                  <a16:creationId xmlns:a16="http://schemas.microsoft.com/office/drawing/2014/main" id="{3D2370F5-E42C-46D3-BF97-6E8F94692923}"/>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39" name="Picture 3">
              <a:extLst>
                <a:ext uri="{FF2B5EF4-FFF2-40B4-BE49-F238E27FC236}">
                  <a16:creationId xmlns:a16="http://schemas.microsoft.com/office/drawing/2014/main" id="{207E0FA3-AE44-4D99-B968-C0C06A48EE25}"/>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40" name="Picture 3">
              <a:extLst>
                <a:ext uri="{FF2B5EF4-FFF2-40B4-BE49-F238E27FC236}">
                  <a16:creationId xmlns:a16="http://schemas.microsoft.com/office/drawing/2014/main" id="{8D46E55E-3161-482C-AB8C-273DCAD2ECF4}"/>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41" name="Tekstvak 40">
              <a:extLst>
                <a:ext uri="{FF2B5EF4-FFF2-40B4-BE49-F238E27FC236}">
                  <a16:creationId xmlns:a16="http://schemas.microsoft.com/office/drawing/2014/main" id="{5F1A9006-B614-46D6-9325-CEA69D130EAA}"/>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42" name="Rechthoek 41">
              <a:extLst>
                <a:ext uri="{FF2B5EF4-FFF2-40B4-BE49-F238E27FC236}">
                  <a16:creationId xmlns:a16="http://schemas.microsoft.com/office/drawing/2014/main" id="{C0469EB7-8ABC-412B-B551-F177921C8A2C}"/>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43" name="Groep 42">
              <a:extLst>
                <a:ext uri="{FF2B5EF4-FFF2-40B4-BE49-F238E27FC236}">
                  <a16:creationId xmlns:a16="http://schemas.microsoft.com/office/drawing/2014/main" id="{557E8C88-71CE-4DA1-B36E-5639DE1F9268}"/>
                </a:ext>
              </a:extLst>
            </p:cNvPr>
            <p:cNvGrpSpPr/>
            <p:nvPr userDrawn="1"/>
          </p:nvGrpSpPr>
          <p:grpSpPr>
            <a:xfrm>
              <a:off x="15563079" y="358984"/>
              <a:ext cx="2489424" cy="4145944"/>
              <a:chOff x="15563079" y="358984"/>
              <a:chExt cx="2315772" cy="4145944"/>
            </a:xfrm>
          </p:grpSpPr>
          <p:cxnSp>
            <p:nvCxnSpPr>
              <p:cNvPr id="45" name="Rechte verbindingslijn 44">
                <a:extLst>
                  <a:ext uri="{FF2B5EF4-FFF2-40B4-BE49-F238E27FC236}">
                    <a16:creationId xmlns:a16="http://schemas.microsoft.com/office/drawing/2014/main" id="{E8DE3313-E197-40D3-8660-EBFF5CDA316A}"/>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6" name="Rechte verbindingslijn 45">
                <a:extLst>
                  <a:ext uri="{FF2B5EF4-FFF2-40B4-BE49-F238E27FC236}">
                    <a16:creationId xmlns:a16="http://schemas.microsoft.com/office/drawing/2014/main" id="{F14D07E0-7613-407A-BC69-607FF99ECC4E}"/>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 name="Rechte verbindingslijn 46">
                <a:extLst>
                  <a:ext uri="{FF2B5EF4-FFF2-40B4-BE49-F238E27FC236}">
                    <a16:creationId xmlns:a16="http://schemas.microsoft.com/office/drawing/2014/main" id="{5D28F130-9BFB-47F6-B161-0859834D62B7}"/>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44" name="Afbeelding 43">
              <a:extLst>
                <a:ext uri="{FF2B5EF4-FFF2-40B4-BE49-F238E27FC236}">
                  <a16:creationId xmlns:a16="http://schemas.microsoft.com/office/drawing/2014/main" id="{BC60E9C0-1002-4CCA-ABA2-5083E9A4A01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2197182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Links + Object (S)">
    <p:spTree>
      <p:nvGrpSpPr>
        <p:cNvPr id="1" name=""/>
        <p:cNvGrpSpPr/>
        <p:nvPr/>
      </p:nvGrpSpPr>
      <p:grpSpPr>
        <a:xfrm>
          <a:off x="0" y="0"/>
          <a:ext cx="0" cy="0"/>
          <a:chOff x="0" y="0"/>
          <a:chExt cx="0" cy="0"/>
        </a:xfrm>
      </p:grpSpPr>
      <p:sp>
        <p:nvSpPr>
          <p:cNvPr id="168" name="Rechthoek 167"/>
          <p:cNvSpPr/>
          <p:nvPr userDrawn="1"/>
        </p:nvSpPr>
        <p:spPr>
          <a:xfrm>
            <a:off x="7435970" y="1422382"/>
            <a:ext cx="4759205" cy="455693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tel 1"/>
          <p:cNvSpPr>
            <a:spLocks noGrp="1"/>
          </p:cNvSpPr>
          <p:nvPr>
            <p:ph type="title"/>
          </p:nvPr>
        </p:nvSpPr>
        <p:spPr/>
        <p:txBody>
          <a:bodyPr/>
          <a:lstStyle/>
          <a:p>
            <a:r>
              <a:rPr lang="nl-NL"/>
              <a:t>Klik om stijl te bewerken</a:t>
            </a:r>
            <a:endParaRPr lang="en-GB" dirty="0"/>
          </a:p>
        </p:txBody>
      </p:sp>
      <p:sp>
        <p:nvSpPr>
          <p:cNvPr id="3" name="Tijdelijke aanduiding voor verticale tekst 2"/>
          <p:cNvSpPr>
            <a:spLocks noGrp="1"/>
          </p:cNvSpPr>
          <p:nvPr>
            <p:ph type="body" orient="vert" idx="1"/>
          </p:nvPr>
        </p:nvSpPr>
        <p:spPr>
          <a:xfrm>
            <a:off x="472587" y="1420099"/>
            <a:ext cx="6962189" cy="4556925"/>
          </a:xfrm>
        </p:spPr>
        <p:txBody>
          <a:bodyPr vert="horz"/>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10"/>
          </p:nvPr>
        </p:nvSpPr>
        <p:spPr/>
        <p:txBody>
          <a:bodyPr/>
          <a:lstStyle/>
          <a:p>
            <a:fld id="{B69244A6-AD79-42E3-9C89-06CAE402AAE7}"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9" name="Tijdelijke aanduiding voor inhoud 2"/>
          <p:cNvSpPr>
            <a:spLocks noGrp="1"/>
          </p:cNvSpPr>
          <p:nvPr>
            <p:ph idx="13"/>
          </p:nvPr>
        </p:nvSpPr>
        <p:spPr>
          <a:xfrm>
            <a:off x="7836512" y="1641026"/>
            <a:ext cx="3956928" cy="3586068"/>
          </a:xfrm>
          <a:noFill/>
        </p:spPr>
        <p:txBody>
          <a:bodyPr anchor="ctr"/>
          <a:lstStyle>
            <a:lvl1pPr algn="ctr">
              <a:defRPr sz="1200"/>
            </a:lvl1pPr>
          </a:lstStyle>
          <a:p>
            <a:pPr lvl="0"/>
            <a:r>
              <a:rPr lang="nl-NL"/>
              <a:t>Klikken om de tekststijl van het model te bewerken</a:t>
            </a:r>
          </a:p>
        </p:txBody>
      </p:sp>
      <p:sp>
        <p:nvSpPr>
          <p:cNvPr id="11" name="Tekstvak 10"/>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Tekst Links + Object (S) + onderschrift</a:t>
            </a:r>
          </a:p>
        </p:txBody>
      </p:sp>
      <p:sp>
        <p:nvSpPr>
          <p:cNvPr id="12" name="Tijdelijke aanduiding voor verticale tekst 2"/>
          <p:cNvSpPr>
            <a:spLocks noGrp="1"/>
          </p:cNvSpPr>
          <p:nvPr>
            <p:ph type="body" orient="vert" idx="14" hasCustomPrompt="1"/>
          </p:nvPr>
        </p:nvSpPr>
        <p:spPr>
          <a:xfrm>
            <a:off x="7434776" y="5475315"/>
            <a:ext cx="4759205" cy="504000"/>
          </a:xfrm>
          <a:solidFill>
            <a:schemeClr val="accent2"/>
          </a:solidFill>
        </p:spPr>
        <p:txBody>
          <a:bodyPr vert="horz" lIns="360000" tIns="36000" rIns="216000" bIns="0" anchor="ctr"/>
          <a:lstStyle>
            <a:lvl1pPr algn="l">
              <a:defRPr sz="1800" b="0">
                <a:solidFill>
                  <a:schemeClr val="tx2"/>
                </a:solidFill>
              </a:defRPr>
            </a:lvl1pPr>
          </a:lstStyle>
          <a:p>
            <a:pPr lvl="0"/>
            <a:r>
              <a:rPr lang="nl-NL" dirty="0"/>
              <a:t>Onderschrift</a:t>
            </a:r>
          </a:p>
        </p:txBody>
      </p:sp>
      <p:grpSp>
        <p:nvGrpSpPr>
          <p:cNvPr id="7" name="Groep 6"/>
          <p:cNvGrpSpPr/>
          <p:nvPr userDrawn="1"/>
        </p:nvGrpSpPr>
        <p:grpSpPr>
          <a:xfrm>
            <a:off x="12363871" y="-26002"/>
            <a:ext cx="3064812" cy="6864697"/>
            <a:chOff x="12363871" y="-26002"/>
            <a:chExt cx="3064812" cy="6864697"/>
          </a:xfrm>
        </p:grpSpPr>
        <p:sp>
          <p:nvSpPr>
            <p:cNvPr id="14" name="Tekstvak 33"/>
            <p:cNvSpPr txBox="1"/>
            <p:nvPr userDrawn="1"/>
          </p:nvSpPr>
          <p:spPr>
            <a:xfrm>
              <a:off x="12537681" y="1001584"/>
              <a:ext cx="2285302" cy="430887"/>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 om een grafiek in te voegen</a:t>
              </a:r>
            </a:p>
          </p:txBody>
        </p:sp>
        <p:sp>
          <p:nvSpPr>
            <p:cNvPr id="15" name="Tekstvak 33"/>
            <p:cNvSpPr txBox="1"/>
            <p:nvPr userDrawn="1"/>
          </p:nvSpPr>
          <p:spPr>
            <a:xfrm>
              <a:off x="12537681"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Selecteer de grafiek die u wilt invoegen en klik op </a:t>
              </a:r>
              <a:r>
                <a:rPr kumimoji="0" lang="nl-NL" sz="1400" b="1"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p>
          </p:txBody>
        </p:sp>
        <p:sp>
          <p:nvSpPr>
            <p:cNvPr id="16" name="Ovaal 15"/>
            <p:cNvSpPr/>
            <p:nvPr userDrawn="1"/>
          </p:nvSpPr>
          <p:spPr>
            <a:xfrm>
              <a:off x="12494665"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17" name="Ovaal 16"/>
            <p:cNvSpPr/>
            <p:nvPr userDrawn="1"/>
          </p:nvSpPr>
          <p:spPr>
            <a:xfrm>
              <a:off x="12494665"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18"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2535130"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19"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2604588"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0" name="Tekstvak 19"/>
            <p:cNvSpPr txBox="1"/>
            <p:nvPr userDrawn="1"/>
          </p:nvSpPr>
          <p:spPr>
            <a:xfrm>
              <a:off x="12560359" y="4020160"/>
              <a:ext cx="88636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outerShdw blurRad="25400" algn="ctr" rotWithShape="0">
                      <a:prstClr val="white"/>
                    </a:outerShdw>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outerShdw blurRad="25400" algn="ctr" rotWithShape="0">
                    <a:prstClr val="white"/>
                  </a:outerShdw>
                </a:effectLst>
                <a:uLnTx/>
                <a:uFillTx/>
                <a:latin typeface="+mj-lt"/>
              </a:endParaRPr>
            </a:p>
          </p:txBody>
        </p:sp>
        <p:sp>
          <p:nvSpPr>
            <p:cNvPr id="21" name="Rechthoek 20"/>
            <p:cNvSpPr/>
            <p:nvPr userDrawn="1"/>
          </p:nvSpPr>
          <p:spPr>
            <a:xfrm>
              <a:off x="12363871"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GRAFIEK INVOEGEN</a:t>
              </a:r>
            </a:p>
          </p:txBody>
        </p:sp>
        <p:cxnSp>
          <p:nvCxnSpPr>
            <p:cNvPr id="24" name="Rechte verbindingslijn 23"/>
            <p:cNvCxnSpPr/>
            <p:nvPr userDrawn="1"/>
          </p:nvCxnSpPr>
          <p:spPr>
            <a:xfrm>
              <a:off x="12507575" y="33168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userDrawn="1"/>
          </p:nvCxnSpPr>
          <p:spPr>
            <a:xfrm>
              <a:off x="12507211" y="253760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p:cNvCxnSpPr/>
            <p:nvPr userDrawn="1"/>
          </p:nvCxnSpPr>
          <p:spPr>
            <a:xfrm>
              <a:off x="12507575" y="4423040"/>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6" name="Rechte verbindingslijn 95"/>
            <p:cNvCxnSpPr/>
            <p:nvPr userDrawn="1"/>
          </p:nvCxnSpPr>
          <p:spPr>
            <a:xfrm>
              <a:off x="12507575" y="6838695"/>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Rechte verbindingslijn 94"/>
            <p:cNvCxnSpPr/>
            <p:nvPr userDrawn="1"/>
          </p:nvCxnSpPr>
          <p:spPr>
            <a:xfrm>
              <a:off x="12507211" y="4898666"/>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8" name="Groep 27"/>
            <p:cNvGrpSpPr/>
            <p:nvPr userDrawn="1"/>
          </p:nvGrpSpPr>
          <p:grpSpPr>
            <a:xfrm>
              <a:off x="12436353" y="1728359"/>
              <a:ext cx="689983" cy="573048"/>
              <a:chOff x="15171969" y="1587338"/>
              <a:chExt cx="755407" cy="627385"/>
            </a:xfrm>
          </p:grpSpPr>
          <p:sp>
            <p:nvSpPr>
              <p:cNvPr id="82" name="Rechthoek 962"/>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83" name="Groep 82"/>
              <p:cNvGrpSpPr/>
              <p:nvPr userDrawn="1"/>
            </p:nvGrpSpPr>
            <p:grpSpPr>
              <a:xfrm>
                <a:off x="15281106" y="1587338"/>
                <a:ext cx="511775" cy="560304"/>
                <a:chOff x="10604642" y="969717"/>
                <a:chExt cx="1290643" cy="1427163"/>
              </a:xfrm>
            </p:grpSpPr>
            <p:grpSp>
              <p:nvGrpSpPr>
                <p:cNvPr id="84" name="Group 879"/>
                <p:cNvGrpSpPr>
                  <a:grpSpLocks noChangeAspect="1"/>
                </p:cNvGrpSpPr>
                <p:nvPr userDrawn="1"/>
              </p:nvGrpSpPr>
              <p:grpSpPr bwMode="auto">
                <a:xfrm>
                  <a:off x="10604642" y="969717"/>
                  <a:ext cx="1290643" cy="1427163"/>
                  <a:chOff x="4798" y="1515"/>
                  <a:chExt cx="813" cy="899"/>
                </a:xfrm>
              </p:grpSpPr>
              <p:sp>
                <p:nvSpPr>
                  <p:cNvPr id="86" name="Freeform 886"/>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87" name="Rectangle 880"/>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88" name="Rectangle 881"/>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89" name="Freeform 882"/>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90" name="Freeform 883"/>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91" name="Freeform 884"/>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92" name="Rectangle 885"/>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93" name="Rectangle 887"/>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94" name="Freeform 888"/>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85" name="Vrije vorm 84"/>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29" name="Groep 28"/>
            <p:cNvGrpSpPr/>
            <p:nvPr userDrawn="1"/>
          </p:nvGrpSpPr>
          <p:grpSpPr>
            <a:xfrm>
              <a:off x="12548778" y="6003628"/>
              <a:ext cx="1980859" cy="542924"/>
              <a:chOff x="12390702" y="6054428"/>
              <a:chExt cx="1980859" cy="542924"/>
            </a:xfrm>
          </p:grpSpPr>
          <p:sp>
            <p:nvSpPr>
              <p:cNvPr id="48" name="Rechthoek 47"/>
              <p:cNvSpPr/>
              <p:nvPr/>
            </p:nvSpPr>
            <p:spPr>
              <a:xfrm>
                <a:off x="12402284" y="6054428"/>
                <a:ext cx="1969277" cy="542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49" name="Rechthoek 48"/>
              <p:cNvSpPr/>
              <p:nvPr/>
            </p:nvSpPr>
            <p:spPr>
              <a:xfrm>
                <a:off x="12662053" y="6062530"/>
                <a:ext cx="1452642" cy="261610"/>
              </a:xfrm>
              <a:prstGeom prst="rect">
                <a:avLst/>
              </a:prstGeom>
            </p:spPr>
            <p:txBody>
              <a:bodyPr wrap="none">
                <a:spAutoFit/>
              </a:bodyPr>
              <a:lstStyle/>
              <a:p>
                <a:r>
                  <a:rPr lang="en-US" sz="1100" dirty="0">
                    <a:latin typeface="+mn-lt"/>
                    <a:ea typeface="Adobe Heiti Std R" panose="020B0400000000000000" pitchFamily="34" charset="-128"/>
                    <a:cs typeface="Segoe UI Light" panose="020B0502040204020203" pitchFamily="34" charset="0"/>
                  </a:rPr>
                  <a:t>Ander </a:t>
                </a:r>
                <a:r>
                  <a:rPr lang="en-US" sz="1100" dirty="0" err="1">
                    <a:latin typeface="+mn-lt"/>
                    <a:ea typeface="Adobe Heiti Std R" panose="020B0400000000000000" pitchFamily="34" charset="-128"/>
                    <a:cs typeface="Segoe UI Light" panose="020B0502040204020203" pitchFamily="34" charset="0"/>
                  </a:rPr>
                  <a:t>grafiektype</a:t>
                </a:r>
                <a:r>
                  <a:rPr lang="en-US" sz="1100" dirty="0">
                    <a:latin typeface="+mn-lt"/>
                    <a:ea typeface="Adobe Heiti Std R" panose="020B0400000000000000" pitchFamily="34" charset="-128"/>
                    <a:cs typeface="Segoe UI Light" panose="020B0502040204020203" pitchFamily="34" charset="0"/>
                  </a:rPr>
                  <a:t>…</a:t>
                </a:r>
              </a:p>
            </p:txBody>
          </p:sp>
          <p:sp>
            <p:nvSpPr>
              <p:cNvPr id="50" name="Gelijkbenige driehoek 49"/>
              <p:cNvSpPr/>
              <p:nvPr/>
            </p:nvSpPr>
            <p:spPr>
              <a:xfrm rot="5400000">
                <a:off x="14210471" y="6150144"/>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n-lt"/>
                  <a:ea typeface="Adobe Heiti Std R" panose="020B0400000000000000" pitchFamily="34" charset="-128"/>
                  <a:cs typeface="Segoe UI Light" panose="020B0502040204020203" pitchFamily="34" charset="0"/>
                </a:endParaRPr>
              </a:p>
            </p:txBody>
          </p:sp>
          <p:sp>
            <p:nvSpPr>
              <p:cNvPr id="51" name="Afgeronde rechthoek 50"/>
              <p:cNvSpPr/>
              <p:nvPr/>
            </p:nvSpPr>
            <p:spPr>
              <a:xfrm>
                <a:off x="12390702" y="6322741"/>
                <a:ext cx="1973675" cy="268314"/>
              </a:xfrm>
              <a:prstGeom prst="roundRect">
                <a:avLst/>
              </a:prstGeom>
              <a:gradFill>
                <a:gsLst>
                  <a:gs pos="0">
                    <a:srgbClr val="FFF2BD"/>
                  </a:gs>
                  <a:gs pos="34000">
                    <a:srgbClr val="FFE98B"/>
                  </a:gs>
                  <a:gs pos="78000">
                    <a:srgbClr val="FFF5C9"/>
                  </a:gs>
                  <a:gs pos="59000">
                    <a:srgbClr val="FFE98B"/>
                  </a:gs>
                </a:gsLst>
                <a:lin ang="5400000" scaled="0"/>
              </a:gra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1200" dirty="0" err="1">
                    <a:solidFill>
                      <a:schemeClr val="tx1"/>
                    </a:solidFill>
                    <a:latin typeface="+mn-lt"/>
                    <a:ea typeface="Adobe Heiti Std R" panose="020B0400000000000000" pitchFamily="34" charset="-128"/>
                    <a:cs typeface="Segoe UI Light" panose="020B0502040204020203" pitchFamily="34" charset="0"/>
                  </a:rPr>
                  <a:t>Gegevens</a:t>
                </a:r>
                <a:r>
                  <a:rPr lang="en-US" sz="1200" dirty="0">
                    <a:solidFill>
                      <a:schemeClr val="tx1"/>
                    </a:solidFill>
                    <a:latin typeface="+mn-lt"/>
                    <a:ea typeface="Adobe Heiti Std R" panose="020B0400000000000000" pitchFamily="34" charset="-128"/>
                    <a:cs typeface="Segoe UI Light" panose="020B0502040204020203" pitchFamily="34" charset="0"/>
                  </a:rPr>
                  <a:t> </a:t>
                </a:r>
                <a:r>
                  <a:rPr lang="en-US" sz="1200" dirty="0" err="1">
                    <a:solidFill>
                      <a:schemeClr val="tx1"/>
                    </a:solidFill>
                    <a:latin typeface="+mn-lt"/>
                    <a:ea typeface="Adobe Heiti Std R" panose="020B0400000000000000" pitchFamily="34" charset="-128"/>
                    <a:cs typeface="Segoe UI Light" panose="020B0502040204020203" pitchFamily="34" charset="0"/>
                  </a:rPr>
                  <a:t>bewerken</a:t>
                </a:r>
                <a:r>
                  <a:rPr lang="en-US" sz="1200" dirty="0">
                    <a:solidFill>
                      <a:schemeClr val="tx1"/>
                    </a:solidFill>
                    <a:latin typeface="+mn-lt"/>
                    <a:ea typeface="Adobe Heiti Std R" panose="020B0400000000000000" pitchFamily="34" charset="-128"/>
                    <a:cs typeface="Segoe UI Light" panose="020B0502040204020203" pitchFamily="34" charset="0"/>
                  </a:rPr>
                  <a:t>…</a:t>
                </a:r>
              </a:p>
            </p:txBody>
          </p:sp>
          <p:grpSp>
            <p:nvGrpSpPr>
              <p:cNvPr id="52" name="Groep 51"/>
              <p:cNvGrpSpPr/>
              <p:nvPr/>
            </p:nvGrpSpPr>
            <p:grpSpPr>
              <a:xfrm>
                <a:off x="12461788" y="6100223"/>
                <a:ext cx="204691" cy="170000"/>
                <a:chOff x="15171969" y="1587338"/>
                <a:chExt cx="755407" cy="627385"/>
              </a:xfrm>
            </p:grpSpPr>
            <p:sp>
              <p:nvSpPr>
                <p:cNvPr id="69" name="Rechthoek 962"/>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70" name="Groep 69"/>
                <p:cNvGrpSpPr/>
                <p:nvPr userDrawn="1"/>
              </p:nvGrpSpPr>
              <p:grpSpPr>
                <a:xfrm>
                  <a:off x="15281106" y="1587338"/>
                  <a:ext cx="511775" cy="560304"/>
                  <a:chOff x="10604642" y="969717"/>
                  <a:chExt cx="1290643" cy="1427163"/>
                </a:xfrm>
              </p:grpSpPr>
              <p:grpSp>
                <p:nvGrpSpPr>
                  <p:cNvPr id="71" name="Group 879"/>
                  <p:cNvGrpSpPr>
                    <a:grpSpLocks noChangeAspect="1"/>
                  </p:cNvGrpSpPr>
                  <p:nvPr userDrawn="1"/>
                </p:nvGrpSpPr>
                <p:grpSpPr bwMode="auto">
                  <a:xfrm>
                    <a:off x="10604642" y="969717"/>
                    <a:ext cx="1290643" cy="1427163"/>
                    <a:chOff x="4798" y="1515"/>
                    <a:chExt cx="813" cy="899"/>
                  </a:xfrm>
                </p:grpSpPr>
                <p:sp>
                  <p:nvSpPr>
                    <p:cNvPr id="73" name="Freeform 886"/>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74" name="Rectangle 880"/>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75" name="Rectangle 881"/>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76" name="Freeform 882"/>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77" name="Freeform 883"/>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78" name="Freeform 884"/>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79" name="Rectangle 885"/>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80" name="Rectangle 887"/>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81" name="Freeform 888"/>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72" name="Vrije vorm 71"/>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53" name="Groep 52"/>
              <p:cNvGrpSpPr/>
              <p:nvPr/>
            </p:nvGrpSpPr>
            <p:grpSpPr>
              <a:xfrm>
                <a:off x="12468521" y="6356844"/>
                <a:ext cx="133446" cy="114786"/>
                <a:chOff x="14587469" y="6356844"/>
                <a:chExt cx="133446" cy="114786"/>
              </a:xfrm>
            </p:grpSpPr>
            <p:sp>
              <p:nvSpPr>
                <p:cNvPr id="59" name="Rectangle 6"/>
                <p:cNvSpPr>
                  <a:spLocks noChangeArrowheads="1"/>
                </p:cNvSpPr>
                <p:nvPr userDrawn="1"/>
              </p:nvSpPr>
              <p:spPr bwMode="auto">
                <a:xfrm>
                  <a:off x="14588703" y="6379233"/>
                  <a:ext cx="130780" cy="91699"/>
                </a:xfrm>
                <a:prstGeom prst="rect">
                  <a:avLst/>
                </a:prstGeom>
                <a:solidFill>
                  <a:srgbClr val="F2FAFF"/>
                </a:solidFill>
                <a:ln w="0">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60" name="Rectangle 15"/>
                <p:cNvSpPr>
                  <a:spLocks noChangeArrowheads="1"/>
                </p:cNvSpPr>
                <p:nvPr userDrawn="1"/>
              </p:nvSpPr>
              <p:spPr bwMode="auto">
                <a:xfrm>
                  <a:off x="14587469" y="6423761"/>
                  <a:ext cx="131076" cy="1446"/>
                </a:xfrm>
                <a:prstGeom prst="rect">
                  <a:avLst/>
                </a:prstGeom>
                <a:gradFill flip="none" rotWithShape="1">
                  <a:gsLst>
                    <a:gs pos="20000">
                      <a:srgbClr val="0039AC"/>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61" name="Freeform 14"/>
                <p:cNvSpPr>
                  <a:spLocks noEditPoints="1"/>
                </p:cNvSpPr>
                <p:nvPr userDrawn="1"/>
              </p:nvSpPr>
              <p:spPr bwMode="auto">
                <a:xfrm>
                  <a:off x="14588901" y="6356844"/>
                  <a:ext cx="132014" cy="114786"/>
                </a:xfrm>
                <a:custGeom>
                  <a:avLst/>
                  <a:gdLst>
                    <a:gd name="T0" fmla="*/ 48 w 5347"/>
                    <a:gd name="T1" fmla="*/ 48 h 4605"/>
                    <a:gd name="T2" fmla="*/ 48 w 5347"/>
                    <a:gd name="T3" fmla="*/ 4557 h 4605"/>
                    <a:gd name="T4" fmla="*/ 5299 w 5347"/>
                    <a:gd name="T5" fmla="*/ 4557 h 4605"/>
                    <a:gd name="T6" fmla="*/ 5299 w 5347"/>
                    <a:gd name="T7" fmla="*/ 48 h 4605"/>
                    <a:gd name="T8" fmla="*/ 48 w 5347"/>
                    <a:gd name="T9" fmla="*/ 48 h 4605"/>
                    <a:gd name="T10" fmla="*/ 0 w 5347"/>
                    <a:gd name="T11" fmla="*/ 0 h 4605"/>
                    <a:gd name="T12" fmla="*/ 5347 w 5347"/>
                    <a:gd name="T13" fmla="*/ 0 h 4605"/>
                    <a:gd name="T14" fmla="*/ 5347 w 5347"/>
                    <a:gd name="T15" fmla="*/ 4605 h 4605"/>
                    <a:gd name="T16" fmla="*/ 0 w 5347"/>
                    <a:gd name="T17" fmla="*/ 4605 h 4605"/>
                    <a:gd name="T18" fmla="*/ 0 w 5347"/>
                    <a:gd name="T19" fmla="*/ 0 h 4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7" h="4605">
                      <a:moveTo>
                        <a:pt x="48" y="48"/>
                      </a:moveTo>
                      <a:lnTo>
                        <a:pt x="48" y="4557"/>
                      </a:lnTo>
                      <a:lnTo>
                        <a:pt x="5299" y="4557"/>
                      </a:lnTo>
                      <a:lnTo>
                        <a:pt x="5299" y="48"/>
                      </a:lnTo>
                      <a:lnTo>
                        <a:pt x="48" y="48"/>
                      </a:lnTo>
                      <a:close/>
                      <a:moveTo>
                        <a:pt x="0" y="0"/>
                      </a:moveTo>
                      <a:lnTo>
                        <a:pt x="5347" y="0"/>
                      </a:lnTo>
                      <a:lnTo>
                        <a:pt x="5347" y="4605"/>
                      </a:lnTo>
                      <a:lnTo>
                        <a:pt x="0" y="4605"/>
                      </a:lnTo>
                      <a:lnTo>
                        <a:pt x="0" y="0"/>
                      </a:lnTo>
                      <a:close/>
                    </a:path>
                  </a:pathLst>
                </a:custGeom>
                <a:solidFill>
                  <a:srgbClr val="2E5D8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cxnSp>
              <p:nvCxnSpPr>
                <p:cNvPr id="62" name="Rechte verbindingslijn 61"/>
                <p:cNvCxnSpPr/>
                <p:nvPr userDrawn="1"/>
              </p:nvCxnSpPr>
              <p:spPr>
                <a:xfrm flipH="1">
                  <a:off x="14654334" y="6382168"/>
                  <a:ext cx="162"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3" name="Rechte verbindingslijn 62"/>
                <p:cNvCxnSpPr/>
                <p:nvPr userDrawn="1"/>
              </p:nvCxnSpPr>
              <p:spPr>
                <a:xfrm>
                  <a:off x="14689188" y="6382168"/>
                  <a:ext cx="0"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4" name="Rechte verbindingslijn 63"/>
                <p:cNvCxnSpPr/>
                <p:nvPr userDrawn="1"/>
              </p:nvCxnSpPr>
              <p:spPr>
                <a:xfrm>
                  <a:off x="14619892" y="6382040"/>
                  <a:ext cx="0" cy="8577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5" name="Rechte verbindingslijn 64"/>
                <p:cNvCxnSpPr/>
                <p:nvPr userDrawn="1"/>
              </p:nvCxnSpPr>
              <p:spPr>
                <a:xfrm flipH="1">
                  <a:off x="14593115" y="6400164"/>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6" name="Rechte verbindingslijn 65"/>
                <p:cNvCxnSpPr/>
                <p:nvPr userDrawn="1"/>
              </p:nvCxnSpPr>
              <p:spPr>
                <a:xfrm flipH="1">
                  <a:off x="14593115" y="6423860"/>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7" name="Rechte verbindingslijn 66"/>
                <p:cNvCxnSpPr/>
                <p:nvPr userDrawn="1"/>
              </p:nvCxnSpPr>
              <p:spPr>
                <a:xfrm flipH="1">
                  <a:off x="14593115" y="6447556"/>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8" name="Rectangle 13"/>
                <p:cNvSpPr>
                  <a:spLocks noChangeArrowheads="1"/>
                </p:cNvSpPr>
                <p:nvPr userDrawn="1"/>
              </p:nvSpPr>
              <p:spPr bwMode="auto">
                <a:xfrm>
                  <a:off x="14590283" y="6359138"/>
                  <a:ext cx="128657" cy="19347"/>
                </a:xfrm>
                <a:prstGeom prst="rect">
                  <a:avLst/>
                </a:prstGeom>
                <a:gradFill flip="none" rotWithShape="1">
                  <a:gsLst>
                    <a:gs pos="0">
                      <a:srgbClr val="1929FF"/>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grpSp>
          <p:grpSp>
            <p:nvGrpSpPr>
              <p:cNvPr id="54" name="Groep 53"/>
              <p:cNvGrpSpPr/>
              <p:nvPr/>
            </p:nvGrpSpPr>
            <p:grpSpPr>
              <a:xfrm>
                <a:off x="12529899" y="6421402"/>
                <a:ext cx="97399" cy="97399"/>
                <a:chOff x="14546483" y="5323041"/>
                <a:chExt cx="242460" cy="242460"/>
              </a:xfrm>
            </p:grpSpPr>
            <p:sp>
              <p:nvSpPr>
                <p:cNvPr id="55" name="Rechthoek 54"/>
                <p:cNvSpPr/>
                <p:nvPr userDrawn="1"/>
              </p:nvSpPr>
              <p:spPr>
                <a:xfrm>
                  <a:off x="14546483" y="5323041"/>
                  <a:ext cx="242460" cy="242460"/>
                </a:xfrm>
                <a:prstGeom prst="rect">
                  <a:avLst/>
                </a:prstGeom>
                <a:solidFill>
                  <a:schemeClr val="bg1"/>
                </a:solidFill>
                <a:ln w="6350">
                  <a:solidFill>
                    <a:srgbClr val="00A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nvGrpSpPr>
                <p:cNvPr id="56" name="Groep 55"/>
                <p:cNvGrpSpPr/>
                <p:nvPr/>
              </p:nvGrpSpPr>
              <p:grpSpPr>
                <a:xfrm>
                  <a:off x="14568035" y="5357818"/>
                  <a:ext cx="199836" cy="175226"/>
                  <a:chOff x="14559757" y="5349611"/>
                  <a:chExt cx="216392" cy="191641"/>
                </a:xfrm>
              </p:grpSpPr>
              <p:sp>
                <p:nvSpPr>
                  <p:cNvPr id="57" name="Parallellogram 56"/>
                  <p:cNvSpPr/>
                  <p:nvPr/>
                </p:nvSpPr>
                <p:spPr>
                  <a:xfrm>
                    <a:off x="14559757" y="5369222"/>
                    <a:ext cx="214316" cy="147762"/>
                  </a:xfrm>
                  <a:prstGeom prst="parallelogram">
                    <a:avLst>
                      <a:gd name="adj" fmla="val 93909"/>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58" name="Parallellogram 57"/>
                  <p:cNvSpPr/>
                  <p:nvPr/>
                </p:nvSpPr>
                <p:spPr>
                  <a:xfrm flipH="1">
                    <a:off x="14561833" y="5349611"/>
                    <a:ext cx="214316" cy="191641"/>
                  </a:xfrm>
                  <a:prstGeom prst="parallelogram">
                    <a:avLst>
                      <a:gd name="adj" fmla="val 68946"/>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grpSp>
        </p:grpSp>
        <p:sp>
          <p:nvSpPr>
            <p:cNvPr id="38" name="Tekstvak 33"/>
            <p:cNvSpPr txBox="1"/>
            <p:nvPr userDrawn="1"/>
          </p:nvSpPr>
          <p:spPr>
            <a:xfrm>
              <a:off x="12537681" y="5123358"/>
              <a:ext cx="2588841" cy="646331"/>
            </a:xfrm>
            <a:prstGeom prst="rect">
              <a:avLst/>
            </a:prstGeom>
            <a:noFill/>
          </p:spPr>
          <p:txBody>
            <a:bodyPr wrap="square" lIns="0" tIns="0" rIns="0" bIns="0" rtlCol="0" anchor="t">
              <a:spAutoFit/>
            </a:bodyPr>
            <a:lstStyle>
              <a:defPPr>
                <a:defRPr lang="nl-NL"/>
              </a:defPPr>
              <a:lvl1pPr marR="0" lvl="0" indent="0" defTabSz="914400" fontAlgn="auto">
                <a:lnSpc>
                  <a:spcPct val="100000"/>
                </a:lnSpc>
                <a:spcBef>
                  <a:spcPts val="0"/>
                </a:spcBef>
                <a:spcAft>
                  <a:spcPts val="0"/>
                </a:spcAft>
                <a:buClrTx/>
                <a:buSzTx/>
                <a:buFontTx/>
                <a:buNone/>
                <a:tabLst/>
                <a:defRPr kumimoji="0" sz="1400" b="0" i="0" u="none" strike="noStrike" kern="0" cap="none" spc="0" normalizeH="0" baseline="0">
                  <a:ln>
                    <a:noFill/>
                  </a:ln>
                  <a:effectLst/>
                  <a:uLnTx/>
                  <a:uFillTx/>
                  <a:latin typeface="Calibri"/>
                  <a:ea typeface="Tahoma" pitchFamily="34" charset="0"/>
                  <a:cs typeface="Arial" pitchFamily="34" charset="0"/>
                </a:defRPr>
              </a:lvl1pPr>
            </a:lstStyle>
            <a:p>
              <a:pPr lvl="0"/>
              <a:r>
                <a:rPr lang="nl-NL" dirty="0">
                  <a:solidFill>
                    <a:schemeClr val="tx2"/>
                  </a:solidFill>
                  <a:latin typeface="+mn-lt"/>
                </a:rPr>
                <a:t>Selecteer de grafiek, klik op de rechter muisknop en kies </a:t>
              </a:r>
              <a:r>
                <a:rPr lang="nl-NL" b="0" dirty="0">
                  <a:solidFill>
                    <a:schemeClr val="tx2"/>
                  </a:solidFill>
                  <a:latin typeface="+mj-lt"/>
                </a:rPr>
                <a:t>‘Gegevens bewerken’</a:t>
              </a:r>
            </a:p>
          </p:txBody>
        </p:sp>
        <p:sp>
          <p:nvSpPr>
            <p:cNvPr id="41" name="Rechthoek 40"/>
            <p:cNvSpPr/>
            <p:nvPr userDrawn="1"/>
          </p:nvSpPr>
          <p:spPr>
            <a:xfrm>
              <a:off x="12363871" y="4529047"/>
              <a:ext cx="2584447" cy="3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lvl="0"/>
              <a:r>
                <a:rPr lang="nl-NL" sz="1600" b="0" dirty="0">
                  <a:solidFill>
                    <a:schemeClr val="tx2"/>
                  </a:solidFill>
                  <a:latin typeface="+mj-lt"/>
                </a:rPr>
                <a:t>GRAFIEK BEWERKEN</a:t>
              </a:r>
            </a:p>
          </p:txBody>
        </p:sp>
        <p:pic>
          <p:nvPicPr>
            <p:cNvPr id="43" name="Picture 3"/>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4262557" y="6394752"/>
              <a:ext cx="158644" cy="256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36" name="Groep 235">
            <a:extLst>
              <a:ext uri="{FF2B5EF4-FFF2-40B4-BE49-F238E27FC236}">
                <a16:creationId xmlns:a16="http://schemas.microsoft.com/office/drawing/2014/main" id="{72315E2B-8F75-4BD4-B7CB-7A65A22DA394}"/>
              </a:ext>
            </a:extLst>
          </p:cNvPr>
          <p:cNvGrpSpPr/>
          <p:nvPr userDrawn="1"/>
        </p:nvGrpSpPr>
        <p:grpSpPr>
          <a:xfrm>
            <a:off x="-2973833" y="0"/>
            <a:ext cx="2808312" cy="5805264"/>
            <a:chOff x="-2973833" y="0"/>
            <a:chExt cx="2808312" cy="5805264"/>
          </a:xfrm>
        </p:grpSpPr>
        <p:sp>
          <p:nvSpPr>
            <p:cNvPr id="237" name="Rechthoek 236">
              <a:extLst>
                <a:ext uri="{FF2B5EF4-FFF2-40B4-BE49-F238E27FC236}">
                  <a16:creationId xmlns:a16="http://schemas.microsoft.com/office/drawing/2014/main" id="{1B789640-7F94-43AF-A6C0-111AF19D3E88}"/>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238" name="Textfield placeholder">
              <a:extLst>
                <a:ext uri="{FF2B5EF4-FFF2-40B4-BE49-F238E27FC236}">
                  <a16:creationId xmlns:a16="http://schemas.microsoft.com/office/drawing/2014/main" id="{422A3A04-BC44-456B-8802-24040335F08D}"/>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239" name="Ovaal 238">
              <a:extLst>
                <a:ext uri="{FF2B5EF4-FFF2-40B4-BE49-F238E27FC236}">
                  <a16:creationId xmlns:a16="http://schemas.microsoft.com/office/drawing/2014/main" id="{572DDB19-16CD-4EA4-AB73-E28F73D81205}"/>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240" name="Ovaal 239">
              <a:extLst>
                <a:ext uri="{FF2B5EF4-FFF2-40B4-BE49-F238E27FC236}">
                  <a16:creationId xmlns:a16="http://schemas.microsoft.com/office/drawing/2014/main" id="{7BB82505-4F3C-4D8F-A36C-4F9B21CA7908}"/>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241" name="Ovaal 240">
              <a:extLst>
                <a:ext uri="{FF2B5EF4-FFF2-40B4-BE49-F238E27FC236}">
                  <a16:creationId xmlns:a16="http://schemas.microsoft.com/office/drawing/2014/main" id="{618FBED9-6446-4CFD-92C3-92C5A5AC0B92}"/>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242" name="Ovaal 241">
              <a:extLst>
                <a:ext uri="{FF2B5EF4-FFF2-40B4-BE49-F238E27FC236}">
                  <a16:creationId xmlns:a16="http://schemas.microsoft.com/office/drawing/2014/main" id="{DE7B026C-B342-45FE-A23E-3B41264E6B69}"/>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243" name="Textfield placeholder">
              <a:extLst>
                <a:ext uri="{FF2B5EF4-FFF2-40B4-BE49-F238E27FC236}">
                  <a16:creationId xmlns:a16="http://schemas.microsoft.com/office/drawing/2014/main" id="{8A28E4A2-BB06-4AAC-BD0D-3E21FC4997F3}"/>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244" name="Textfield placeholder">
              <a:extLst>
                <a:ext uri="{FF2B5EF4-FFF2-40B4-BE49-F238E27FC236}">
                  <a16:creationId xmlns:a16="http://schemas.microsoft.com/office/drawing/2014/main" id="{75CF47F1-DC3C-47A3-AE3E-5E13DA05BB6D}"/>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245" name="Textfield placeholder">
              <a:extLst>
                <a:ext uri="{FF2B5EF4-FFF2-40B4-BE49-F238E27FC236}">
                  <a16:creationId xmlns:a16="http://schemas.microsoft.com/office/drawing/2014/main" id="{5A91D583-D1FD-4366-BE39-7EFA5BBE21B5}"/>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246" name="Rechte verbindingslijn 245">
              <a:extLst>
                <a:ext uri="{FF2B5EF4-FFF2-40B4-BE49-F238E27FC236}">
                  <a16:creationId xmlns:a16="http://schemas.microsoft.com/office/drawing/2014/main" id="{CC9EE25D-11CA-4858-8C70-D3A00AD19F77}"/>
                </a:ext>
              </a:extLst>
            </p:cNvPr>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7" name="Rechte verbindingslijn 246">
              <a:extLst>
                <a:ext uri="{FF2B5EF4-FFF2-40B4-BE49-F238E27FC236}">
                  <a16:creationId xmlns:a16="http://schemas.microsoft.com/office/drawing/2014/main" id="{27AA94E1-1C06-4ECA-9EF6-F9DC91B46AB8}"/>
                </a:ext>
              </a:extLst>
            </p:cNvPr>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8" name="Rechte verbindingslijn 247">
              <a:extLst>
                <a:ext uri="{FF2B5EF4-FFF2-40B4-BE49-F238E27FC236}">
                  <a16:creationId xmlns:a16="http://schemas.microsoft.com/office/drawing/2014/main" id="{C7F8EC8A-3F55-424E-A62B-373B4BDD0DD5}"/>
                </a:ext>
              </a:extLst>
            </p:cNvPr>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249" name="Picture 3">
              <a:extLst>
                <a:ext uri="{FF2B5EF4-FFF2-40B4-BE49-F238E27FC236}">
                  <a16:creationId xmlns:a16="http://schemas.microsoft.com/office/drawing/2014/main" id="{3FBF5F49-02CD-4755-B6FF-700984E59C60}"/>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0" name="Picture 4">
              <a:extLst>
                <a:ext uri="{FF2B5EF4-FFF2-40B4-BE49-F238E27FC236}">
                  <a16:creationId xmlns:a16="http://schemas.microsoft.com/office/drawing/2014/main" id="{84649DAE-1784-47C5-9E80-AF569F91E2E6}"/>
                </a:ext>
              </a:extLst>
            </p:cNvPr>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51" name="Groep 250">
              <a:extLst>
                <a:ext uri="{FF2B5EF4-FFF2-40B4-BE49-F238E27FC236}">
                  <a16:creationId xmlns:a16="http://schemas.microsoft.com/office/drawing/2014/main" id="{664646F1-2B2D-4341-81D7-49A09A6AFC5C}"/>
                </a:ext>
              </a:extLst>
            </p:cNvPr>
            <p:cNvGrpSpPr/>
            <p:nvPr userDrawn="1"/>
          </p:nvGrpSpPr>
          <p:grpSpPr>
            <a:xfrm>
              <a:off x="-2098870" y="523279"/>
              <a:ext cx="435437" cy="427699"/>
              <a:chOff x="-1085063" y="758027"/>
              <a:chExt cx="633800" cy="622540"/>
            </a:xfrm>
          </p:grpSpPr>
          <p:sp>
            <p:nvSpPr>
              <p:cNvPr id="292" name="Afgeronde rechthoek 133">
                <a:extLst>
                  <a:ext uri="{FF2B5EF4-FFF2-40B4-BE49-F238E27FC236}">
                    <a16:creationId xmlns:a16="http://schemas.microsoft.com/office/drawing/2014/main" id="{79AE3D20-B0E2-4E41-B9C5-86D02697494E}"/>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293" name="Groep 292">
                <a:extLst>
                  <a:ext uri="{FF2B5EF4-FFF2-40B4-BE49-F238E27FC236}">
                    <a16:creationId xmlns:a16="http://schemas.microsoft.com/office/drawing/2014/main" id="{BA26CFFB-8BC8-489E-9FDE-ECCA53DFA5AE}"/>
                  </a:ext>
                </a:extLst>
              </p:cNvPr>
              <p:cNvGrpSpPr/>
              <p:nvPr userDrawn="1"/>
            </p:nvGrpSpPr>
            <p:grpSpPr>
              <a:xfrm>
                <a:off x="-977746" y="864082"/>
                <a:ext cx="419166" cy="410430"/>
                <a:chOff x="6366933" y="309013"/>
                <a:chExt cx="1901295" cy="1861668"/>
              </a:xfrm>
              <a:solidFill>
                <a:schemeClr val="tx1"/>
              </a:solidFill>
            </p:grpSpPr>
            <p:sp>
              <p:nvSpPr>
                <p:cNvPr id="294" name="Rechthoek 293">
                  <a:extLst>
                    <a:ext uri="{FF2B5EF4-FFF2-40B4-BE49-F238E27FC236}">
                      <a16:creationId xmlns:a16="http://schemas.microsoft.com/office/drawing/2014/main" id="{118C7C45-AEC6-450D-8E08-9B54AF66C140}"/>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95" name="Rechthoek 294">
                  <a:extLst>
                    <a:ext uri="{FF2B5EF4-FFF2-40B4-BE49-F238E27FC236}">
                      <a16:creationId xmlns:a16="http://schemas.microsoft.com/office/drawing/2014/main" id="{25027059-B3FD-4B93-9D60-7F66BFCAC387}"/>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96" name="Rechthoek 295">
                  <a:extLst>
                    <a:ext uri="{FF2B5EF4-FFF2-40B4-BE49-F238E27FC236}">
                      <a16:creationId xmlns:a16="http://schemas.microsoft.com/office/drawing/2014/main" id="{B61C4E55-E8F2-495F-AD3B-EAE03CE59133}"/>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97" name="Rechthoek 296">
                  <a:extLst>
                    <a:ext uri="{FF2B5EF4-FFF2-40B4-BE49-F238E27FC236}">
                      <a16:creationId xmlns:a16="http://schemas.microsoft.com/office/drawing/2014/main" id="{5438FF58-9768-4637-996A-E355C67938FE}"/>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98" name="Rechthoek 297">
                  <a:extLst>
                    <a:ext uri="{FF2B5EF4-FFF2-40B4-BE49-F238E27FC236}">
                      <a16:creationId xmlns:a16="http://schemas.microsoft.com/office/drawing/2014/main" id="{B712C67A-9C07-420D-B911-D5AD04F33AA1}"/>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99" name="Rechthoek 298">
                  <a:extLst>
                    <a:ext uri="{FF2B5EF4-FFF2-40B4-BE49-F238E27FC236}">
                      <a16:creationId xmlns:a16="http://schemas.microsoft.com/office/drawing/2014/main" id="{F46CB821-B12C-4622-BACC-991E67D7B2D0}"/>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00" name="Rechthoek 299">
                  <a:extLst>
                    <a:ext uri="{FF2B5EF4-FFF2-40B4-BE49-F238E27FC236}">
                      <a16:creationId xmlns:a16="http://schemas.microsoft.com/office/drawing/2014/main" id="{13E33F94-3A32-4DC1-AAC2-E3FE4CB3AD99}"/>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01" name="Rechthoek 300">
                  <a:extLst>
                    <a:ext uri="{FF2B5EF4-FFF2-40B4-BE49-F238E27FC236}">
                      <a16:creationId xmlns:a16="http://schemas.microsoft.com/office/drawing/2014/main" id="{98905583-49E8-47FE-AD01-72E2AA92C042}"/>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02" name="Rechthoek 301">
                  <a:extLst>
                    <a:ext uri="{FF2B5EF4-FFF2-40B4-BE49-F238E27FC236}">
                      <a16:creationId xmlns:a16="http://schemas.microsoft.com/office/drawing/2014/main" id="{629B6BBA-1ACC-464D-8A28-0018DA968B5D}"/>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03" name="Rechthoek 302">
                  <a:extLst>
                    <a:ext uri="{FF2B5EF4-FFF2-40B4-BE49-F238E27FC236}">
                      <a16:creationId xmlns:a16="http://schemas.microsoft.com/office/drawing/2014/main" id="{BA469734-76DD-4089-9D8E-308DFC2FC296}"/>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04" name="Vrije vorm 145">
                  <a:extLst>
                    <a:ext uri="{FF2B5EF4-FFF2-40B4-BE49-F238E27FC236}">
                      <a16:creationId xmlns:a16="http://schemas.microsoft.com/office/drawing/2014/main" id="{75F3371E-1F02-4499-9859-21C2EFDAD663}"/>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252" name="Groep 251">
              <a:extLst>
                <a:ext uri="{FF2B5EF4-FFF2-40B4-BE49-F238E27FC236}">
                  <a16:creationId xmlns:a16="http://schemas.microsoft.com/office/drawing/2014/main" id="{90DA4962-8BED-4026-A44C-068EE1C549AE}"/>
                </a:ext>
              </a:extLst>
            </p:cNvPr>
            <p:cNvGrpSpPr/>
            <p:nvPr userDrawn="1"/>
          </p:nvGrpSpPr>
          <p:grpSpPr>
            <a:xfrm>
              <a:off x="-2095303" y="1071657"/>
              <a:ext cx="435437" cy="427699"/>
              <a:chOff x="-1845083" y="758027"/>
              <a:chExt cx="633800" cy="622540"/>
            </a:xfrm>
          </p:grpSpPr>
          <p:sp>
            <p:nvSpPr>
              <p:cNvPr id="279" name="Afgeronde rechthoek 120">
                <a:extLst>
                  <a:ext uri="{FF2B5EF4-FFF2-40B4-BE49-F238E27FC236}">
                    <a16:creationId xmlns:a16="http://schemas.microsoft.com/office/drawing/2014/main" id="{19CDE869-8257-45FB-AB9E-D2B08D09898D}"/>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280" name="Groep 279">
                <a:extLst>
                  <a:ext uri="{FF2B5EF4-FFF2-40B4-BE49-F238E27FC236}">
                    <a16:creationId xmlns:a16="http://schemas.microsoft.com/office/drawing/2014/main" id="{E65A2B40-A39C-4C12-BB48-26E1EA427477}"/>
                  </a:ext>
                </a:extLst>
              </p:cNvPr>
              <p:cNvGrpSpPr/>
              <p:nvPr userDrawn="1"/>
            </p:nvGrpSpPr>
            <p:grpSpPr>
              <a:xfrm>
                <a:off x="-1737766" y="864082"/>
                <a:ext cx="419166" cy="410430"/>
                <a:chOff x="3708400" y="309013"/>
                <a:chExt cx="1901295" cy="1861668"/>
              </a:xfrm>
              <a:solidFill>
                <a:schemeClr val="tx1"/>
              </a:solidFill>
            </p:grpSpPr>
            <p:sp>
              <p:nvSpPr>
                <p:cNvPr id="281" name="Rechthoek 280">
                  <a:extLst>
                    <a:ext uri="{FF2B5EF4-FFF2-40B4-BE49-F238E27FC236}">
                      <a16:creationId xmlns:a16="http://schemas.microsoft.com/office/drawing/2014/main" id="{E97C12B8-3E70-4384-B966-CBF699A1C8B9}"/>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2" name="Rechthoek 281">
                  <a:extLst>
                    <a:ext uri="{FF2B5EF4-FFF2-40B4-BE49-F238E27FC236}">
                      <a16:creationId xmlns:a16="http://schemas.microsoft.com/office/drawing/2014/main" id="{8D29B7D5-CACA-4D9D-A906-FFB2D1502691}"/>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3" name="Rechthoek 282">
                  <a:extLst>
                    <a:ext uri="{FF2B5EF4-FFF2-40B4-BE49-F238E27FC236}">
                      <a16:creationId xmlns:a16="http://schemas.microsoft.com/office/drawing/2014/main" id="{511C6DB0-390F-472C-ABAE-094CAD9136A6}"/>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4" name="Rechthoek 283">
                  <a:extLst>
                    <a:ext uri="{FF2B5EF4-FFF2-40B4-BE49-F238E27FC236}">
                      <a16:creationId xmlns:a16="http://schemas.microsoft.com/office/drawing/2014/main" id="{828E8A5D-ED72-48E3-A846-6F826E5D358D}"/>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5" name="Rechthoek 284">
                  <a:extLst>
                    <a:ext uri="{FF2B5EF4-FFF2-40B4-BE49-F238E27FC236}">
                      <a16:creationId xmlns:a16="http://schemas.microsoft.com/office/drawing/2014/main" id="{4730437A-481B-49BF-BA28-BFAA03F54263}"/>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6" name="Rechthoek 285">
                  <a:extLst>
                    <a:ext uri="{FF2B5EF4-FFF2-40B4-BE49-F238E27FC236}">
                      <a16:creationId xmlns:a16="http://schemas.microsoft.com/office/drawing/2014/main" id="{B3489232-3973-4CCF-BE9B-6F008FDFABFF}"/>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7" name="Rechthoek 286">
                  <a:extLst>
                    <a:ext uri="{FF2B5EF4-FFF2-40B4-BE49-F238E27FC236}">
                      <a16:creationId xmlns:a16="http://schemas.microsoft.com/office/drawing/2014/main" id="{99EA02EC-11A8-4FAD-AA2D-3B85A0B1A784}"/>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8" name="Rechthoek 287">
                  <a:extLst>
                    <a:ext uri="{FF2B5EF4-FFF2-40B4-BE49-F238E27FC236}">
                      <a16:creationId xmlns:a16="http://schemas.microsoft.com/office/drawing/2014/main" id="{C6B10FF6-9BD8-4CA7-9208-49574391FFD0}"/>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9" name="Rechthoek 288">
                  <a:extLst>
                    <a:ext uri="{FF2B5EF4-FFF2-40B4-BE49-F238E27FC236}">
                      <a16:creationId xmlns:a16="http://schemas.microsoft.com/office/drawing/2014/main" id="{FBEF4BC8-3A16-4752-9F0A-9E7C3BF8254F}"/>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90" name="Rechthoek 289">
                  <a:extLst>
                    <a:ext uri="{FF2B5EF4-FFF2-40B4-BE49-F238E27FC236}">
                      <a16:creationId xmlns:a16="http://schemas.microsoft.com/office/drawing/2014/main" id="{1095CF9E-BFC4-4300-9C57-D53CEA8C758B}"/>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91" name="Vrije vorm 132">
                  <a:extLst>
                    <a:ext uri="{FF2B5EF4-FFF2-40B4-BE49-F238E27FC236}">
                      <a16:creationId xmlns:a16="http://schemas.microsoft.com/office/drawing/2014/main" id="{8353228C-7DCE-4613-902A-44A464CA31BF}"/>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253" name="Rechte verbindingslijn 252">
              <a:extLst>
                <a:ext uri="{FF2B5EF4-FFF2-40B4-BE49-F238E27FC236}">
                  <a16:creationId xmlns:a16="http://schemas.microsoft.com/office/drawing/2014/main" id="{A29C73DA-FD92-4087-BE1A-CF48248DD7DB}"/>
                </a:ext>
              </a:extLst>
            </p:cNvPr>
            <p:cNvCxnSpPr>
              <a:stCxn id="255" idx="2"/>
              <a:endCxn id="279"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54" name="Rechte verbindingslijn 253">
              <a:extLst>
                <a:ext uri="{FF2B5EF4-FFF2-40B4-BE49-F238E27FC236}">
                  <a16:creationId xmlns:a16="http://schemas.microsoft.com/office/drawing/2014/main" id="{FE196879-6BEA-42EF-8265-DC01A64B1788}"/>
                </a:ext>
              </a:extLst>
            </p:cNvPr>
            <p:cNvCxnSpPr>
              <a:stCxn id="256" idx="3"/>
              <a:endCxn id="292"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55" name="Ovaal 254">
              <a:extLst>
                <a:ext uri="{FF2B5EF4-FFF2-40B4-BE49-F238E27FC236}">
                  <a16:creationId xmlns:a16="http://schemas.microsoft.com/office/drawing/2014/main" id="{02950497-940A-4935-99B3-8BE755E1979A}"/>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56" name="Ovaal 255">
              <a:extLst>
                <a:ext uri="{FF2B5EF4-FFF2-40B4-BE49-F238E27FC236}">
                  <a16:creationId xmlns:a16="http://schemas.microsoft.com/office/drawing/2014/main" id="{FF8A0023-A450-4EEB-83D2-89A43F4FCF6E}"/>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57" name="Textfield placeholder">
              <a:extLst>
                <a:ext uri="{FF2B5EF4-FFF2-40B4-BE49-F238E27FC236}">
                  <a16:creationId xmlns:a16="http://schemas.microsoft.com/office/drawing/2014/main" id="{F04FED96-D427-42D0-B9FE-6BEE1E0C5218}"/>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258" name="Textfield placeholder">
              <a:extLst>
                <a:ext uri="{FF2B5EF4-FFF2-40B4-BE49-F238E27FC236}">
                  <a16:creationId xmlns:a16="http://schemas.microsoft.com/office/drawing/2014/main" id="{836E3406-CA58-4C76-AC12-E6303BD3CE81}"/>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259" name="Ovaal 258">
              <a:extLst>
                <a:ext uri="{FF2B5EF4-FFF2-40B4-BE49-F238E27FC236}">
                  <a16:creationId xmlns:a16="http://schemas.microsoft.com/office/drawing/2014/main" id="{5D0E1E60-150B-494B-9FD7-F96FFC799255}"/>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260" name="Ovaal 259">
              <a:extLst>
                <a:ext uri="{FF2B5EF4-FFF2-40B4-BE49-F238E27FC236}">
                  <a16:creationId xmlns:a16="http://schemas.microsoft.com/office/drawing/2014/main" id="{4AC217F4-C215-43DD-B5B0-65EC1FF9B7C5}"/>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261" name="Ovaal 260">
              <a:extLst>
                <a:ext uri="{FF2B5EF4-FFF2-40B4-BE49-F238E27FC236}">
                  <a16:creationId xmlns:a16="http://schemas.microsoft.com/office/drawing/2014/main" id="{EE4699EC-145E-495D-8C6C-A9BA6BD0B1DB}"/>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262" name="Ovaal 261">
              <a:extLst>
                <a:ext uri="{FF2B5EF4-FFF2-40B4-BE49-F238E27FC236}">
                  <a16:creationId xmlns:a16="http://schemas.microsoft.com/office/drawing/2014/main" id="{60208C76-910A-4BFF-825B-18983CE449B8}"/>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263" name="Ovaal 262">
              <a:extLst>
                <a:ext uri="{FF2B5EF4-FFF2-40B4-BE49-F238E27FC236}">
                  <a16:creationId xmlns:a16="http://schemas.microsoft.com/office/drawing/2014/main" id="{7CD22950-88D9-400A-B3A9-4EA030D1A53E}"/>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264" name="Textfield placeholder">
              <a:extLst>
                <a:ext uri="{FF2B5EF4-FFF2-40B4-BE49-F238E27FC236}">
                  <a16:creationId xmlns:a16="http://schemas.microsoft.com/office/drawing/2014/main" id="{F34CB440-0D93-444C-8523-6DA804331CAC}"/>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65" name="Textfield placeholder">
              <a:extLst>
                <a:ext uri="{FF2B5EF4-FFF2-40B4-BE49-F238E27FC236}">
                  <a16:creationId xmlns:a16="http://schemas.microsoft.com/office/drawing/2014/main" id="{52284054-20AF-4DA9-961C-3D4AE1B34454}"/>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66" name="Textfield placeholder">
              <a:extLst>
                <a:ext uri="{FF2B5EF4-FFF2-40B4-BE49-F238E27FC236}">
                  <a16:creationId xmlns:a16="http://schemas.microsoft.com/office/drawing/2014/main" id="{4E4C23E3-3377-4C02-8E4F-7420D038C165}"/>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67" name="Textfield placeholder">
              <a:extLst>
                <a:ext uri="{FF2B5EF4-FFF2-40B4-BE49-F238E27FC236}">
                  <a16:creationId xmlns:a16="http://schemas.microsoft.com/office/drawing/2014/main" id="{1F5EAA21-7061-4DA3-9DB1-DD3391763DFF}"/>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268" name="Textfield placeholder">
              <a:extLst>
                <a:ext uri="{FF2B5EF4-FFF2-40B4-BE49-F238E27FC236}">
                  <a16:creationId xmlns:a16="http://schemas.microsoft.com/office/drawing/2014/main" id="{D0AB7CE8-349F-4FD7-ADB0-7420C07267D2}"/>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69" name="Groep 268">
              <a:extLst>
                <a:ext uri="{FF2B5EF4-FFF2-40B4-BE49-F238E27FC236}">
                  <a16:creationId xmlns:a16="http://schemas.microsoft.com/office/drawing/2014/main" id="{4D85C75F-CA31-4406-82DF-9A7F1A0D84C3}"/>
                </a:ext>
              </a:extLst>
            </p:cNvPr>
            <p:cNvGrpSpPr/>
            <p:nvPr userDrawn="1"/>
          </p:nvGrpSpPr>
          <p:grpSpPr>
            <a:xfrm>
              <a:off x="-950342" y="1837957"/>
              <a:ext cx="687412" cy="3758146"/>
              <a:chOff x="-740196" y="1837957"/>
              <a:chExt cx="1374825" cy="3758146"/>
            </a:xfrm>
          </p:grpSpPr>
          <p:sp>
            <p:nvSpPr>
              <p:cNvPr id="270" name="Textfield placeholder">
                <a:extLst>
                  <a:ext uri="{FF2B5EF4-FFF2-40B4-BE49-F238E27FC236}">
                    <a16:creationId xmlns:a16="http://schemas.microsoft.com/office/drawing/2014/main" id="{E57E31E0-F9C8-4B0A-B20C-736C1367718E}"/>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71" name="Textfield placeholder">
                <a:extLst>
                  <a:ext uri="{FF2B5EF4-FFF2-40B4-BE49-F238E27FC236}">
                    <a16:creationId xmlns:a16="http://schemas.microsoft.com/office/drawing/2014/main" id="{8716A0A7-34BB-4136-9772-28935914701F}"/>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72" name="Textfield placeholder">
                <a:extLst>
                  <a:ext uri="{FF2B5EF4-FFF2-40B4-BE49-F238E27FC236}">
                    <a16:creationId xmlns:a16="http://schemas.microsoft.com/office/drawing/2014/main" id="{A2C49E6D-2700-4940-843B-B3E5F909CDB4}"/>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73" name="Textfield placeholder">
                <a:extLst>
                  <a:ext uri="{FF2B5EF4-FFF2-40B4-BE49-F238E27FC236}">
                    <a16:creationId xmlns:a16="http://schemas.microsoft.com/office/drawing/2014/main" id="{F83D5653-500A-4D97-8928-A74AF0C14A63}"/>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274" name="Textfield placeholder">
                <a:extLst>
                  <a:ext uri="{FF2B5EF4-FFF2-40B4-BE49-F238E27FC236}">
                    <a16:creationId xmlns:a16="http://schemas.microsoft.com/office/drawing/2014/main" id="{AB6DD476-9A1B-4BF7-87C4-1A6D9ADC1ED3}"/>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275" name="Textfield placeholder">
                <a:extLst>
                  <a:ext uri="{FF2B5EF4-FFF2-40B4-BE49-F238E27FC236}">
                    <a16:creationId xmlns:a16="http://schemas.microsoft.com/office/drawing/2014/main" id="{08E55374-D89E-4CCC-8734-E1E30FCAC145}"/>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76" name="Textfield placeholder">
                <a:extLst>
                  <a:ext uri="{FF2B5EF4-FFF2-40B4-BE49-F238E27FC236}">
                    <a16:creationId xmlns:a16="http://schemas.microsoft.com/office/drawing/2014/main" id="{A3A72A99-D821-47EA-B658-A0CBF5C1B881}"/>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77" name="Textfield placeholder">
                <a:extLst>
                  <a:ext uri="{FF2B5EF4-FFF2-40B4-BE49-F238E27FC236}">
                    <a16:creationId xmlns:a16="http://schemas.microsoft.com/office/drawing/2014/main" id="{7517DBAA-1457-413F-8A31-C6ED7766D9BF}"/>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278" name="Textfield placeholder">
                <a:extLst>
                  <a:ext uri="{FF2B5EF4-FFF2-40B4-BE49-F238E27FC236}">
                    <a16:creationId xmlns:a16="http://schemas.microsoft.com/office/drawing/2014/main" id="{C025E034-3319-42DF-9745-83D30430331B}"/>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spTree>
    <p:extLst>
      <p:ext uri="{BB962C8B-B14F-4D97-AF65-F5344CB8AC3E}">
        <p14:creationId xmlns:p14="http://schemas.microsoft.com/office/powerpoint/2010/main" val="358634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Rechts + Object (S)">
    <p:spTree>
      <p:nvGrpSpPr>
        <p:cNvPr id="1" name=""/>
        <p:cNvGrpSpPr/>
        <p:nvPr/>
      </p:nvGrpSpPr>
      <p:grpSpPr>
        <a:xfrm>
          <a:off x="0" y="0"/>
          <a:ext cx="0" cy="0"/>
          <a:chOff x="0" y="0"/>
          <a:chExt cx="0" cy="0"/>
        </a:xfrm>
      </p:grpSpPr>
      <p:grpSp>
        <p:nvGrpSpPr>
          <p:cNvPr id="286" name="Groep 285">
            <a:extLst>
              <a:ext uri="{FF2B5EF4-FFF2-40B4-BE49-F238E27FC236}">
                <a16:creationId xmlns:a16="http://schemas.microsoft.com/office/drawing/2014/main" id="{C317DED5-1E42-4366-8CAA-5E6D25D3AB9D}"/>
              </a:ext>
            </a:extLst>
          </p:cNvPr>
          <p:cNvGrpSpPr/>
          <p:nvPr userDrawn="1"/>
        </p:nvGrpSpPr>
        <p:grpSpPr>
          <a:xfrm>
            <a:off x="-3216859" y="-26002"/>
            <a:ext cx="3064812" cy="6864697"/>
            <a:chOff x="12363871" y="-26002"/>
            <a:chExt cx="3064812" cy="6864697"/>
          </a:xfrm>
        </p:grpSpPr>
        <p:sp>
          <p:nvSpPr>
            <p:cNvPr id="287" name="Tekstvak 33">
              <a:extLst>
                <a:ext uri="{FF2B5EF4-FFF2-40B4-BE49-F238E27FC236}">
                  <a16:creationId xmlns:a16="http://schemas.microsoft.com/office/drawing/2014/main" id="{4E916AC8-1349-4A95-A4DD-274E39F5C6CB}"/>
                </a:ext>
              </a:extLst>
            </p:cNvPr>
            <p:cNvSpPr txBox="1"/>
            <p:nvPr userDrawn="1"/>
          </p:nvSpPr>
          <p:spPr>
            <a:xfrm>
              <a:off x="12537681" y="1001584"/>
              <a:ext cx="2285302" cy="430887"/>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 om een grafiek in te voegen</a:t>
              </a:r>
            </a:p>
          </p:txBody>
        </p:sp>
        <p:sp>
          <p:nvSpPr>
            <p:cNvPr id="288" name="Tekstvak 33">
              <a:extLst>
                <a:ext uri="{FF2B5EF4-FFF2-40B4-BE49-F238E27FC236}">
                  <a16:creationId xmlns:a16="http://schemas.microsoft.com/office/drawing/2014/main" id="{B2A749D0-0BE2-4391-9885-1C374BE72923}"/>
                </a:ext>
              </a:extLst>
            </p:cNvPr>
            <p:cNvSpPr txBox="1"/>
            <p:nvPr userDrawn="1"/>
          </p:nvSpPr>
          <p:spPr>
            <a:xfrm>
              <a:off x="12537681"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Selecteer de grafiek die u wilt invoegen en klik op </a:t>
              </a:r>
              <a:r>
                <a:rPr kumimoji="0" lang="nl-NL" sz="1400" b="1"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p>
          </p:txBody>
        </p:sp>
        <p:sp>
          <p:nvSpPr>
            <p:cNvPr id="289" name="Ovaal 288">
              <a:extLst>
                <a:ext uri="{FF2B5EF4-FFF2-40B4-BE49-F238E27FC236}">
                  <a16:creationId xmlns:a16="http://schemas.microsoft.com/office/drawing/2014/main" id="{6B8DBE59-C098-4B0D-B32C-167B92870E50}"/>
                </a:ext>
              </a:extLst>
            </p:cNvPr>
            <p:cNvSpPr/>
            <p:nvPr userDrawn="1"/>
          </p:nvSpPr>
          <p:spPr>
            <a:xfrm>
              <a:off x="12494665"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290" name="Ovaal 289">
              <a:extLst>
                <a:ext uri="{FF2B5EF4-FFF2-40B4-BE49-F238E27FC236}">
                  <a16:creationId xmlns:a16="http://schemas.microsoft.com/office/drawing/2014/main" id="{8A84764E-D2AF-46EA-B347-7B658CA0D82E}"/>
                </a:ext>
              </a:extLst>
            </p:cNvPr>
            <p:cNvSpPr/>
            <p:nvPr userDrawn="1"/>
          </p:nvSpPr>
          <p:spPr>
            <a:xfrm>
              <a:off x="12494665"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291" name="Picture 3">
              <a:extLst>
                <a:ext uri="{FF2B5EF4-FFF2-40B4-BE49-F238E27FC236}">
                  <a16:creationId xmlns:a16="http://schemas.microsoft.com/office/drawing/2014/main" id="{E61E2C30-60B6-4D25-9713-4DE7C84844F8}"/>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2535130"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92" name="Picture 3">
              <a:extLst>
                <a:ext uri="{FF2B5EF4-FFF2-40B4-BE49-F238E27FC236}">
                  <a16:creationId xmlns:a16="http://schemas.microsoft.com/office/drawing/2014/main" id="{BE7E7210-7AA8-4F08-9408-433FF4904D93}"/>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2604588"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93" name="Tekstvak 292">
              <a:extLst>
                <a:ext uri="{FF2B5EF4-FFF2-40B4-BE49-F238E27FC236}">
                  <a16:creationId xmlns:a16="http://schemas.microsoft.com/office/drawing/2014/main" id="{C37C2272-2105-4763-B9D0-BD1C163B2C4C}"/>
                </a:ext>
              </a:extLst>
            </p:cNvPr>
            <p:cNvSpPr txBox="1"/>
            <p:nvPr userDrawn="1"/>
          </p:nvSpPr>
          <p:spPr>
            <a:xfrm>
              <a:off x="12560359" y="4020160"/>
              <a:ext cx="88636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outerShdw blurRad="25400" algn="ctr" rotWithShape="0">
                      <a:prstClr val="white"/>
                    </a:outerShdw>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outerShdw blurRad="25400" algn="ctr" rotWithShape="0">
                    <a:prstClr val="white"/>
                  </a:outerShdw>
                </a:effectLst>
                <a:uLnTx/>
                <a:uFillTx/>
                <a:latin typeface="+mj-lt"/>
              </a:endParaRPr>
            </a:p>
          </p:txBody>
        </p:sp>
        <p:sp>
          <p:nvSpPr>
            <p:cNvPr id="294" name="Rechthoek 293">
              <a:extLst>
                <a:ext uri="{FF2B5EF4-FFF2-40B4-BE49-F238E27FC236}">
                  <a16:creationId xmlns:a16="http://schemas.microsoft.com/office/drawing/2014/main" id="{8B83DF3F-883A-4AB3-8BBB-53F342389EEE}"/>
                </a:ext>
              </a:extLst>
            </p:cNvPr>
            <p:cNvSpPr/>
            <p:nvPr userDrawn="1"/>
          </p:nvSpPr>
          <p:spPr>
            <a:xfrm>
              <a:off x="12363871"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GRAFIEK INVOEGEN</a:t>
              </a:r>
            </a:p>
          </p:txBody>
        </p:sp>
        <p:cxnSp>
          <p:nvCxnSpPr>
            <p:cNvPr id="295" name="Rechte verbindingslijn 294">
              <a:extLst>
                <a:ext uri="{FF2B5EF4-FFF2-40B4-BE49-F238E27FC236}">
                  <a16:creationId xmlns:a16="http://schemas.microsoft.com/office/drawing/2014/main" id="{4AFDA0C8-3B88-4B35-9407-9A3D2108323F}"/>
                </a:ext>
              </a:extLst>
            </p:cNvPr>
            <p:cNvCxnSpPr/>
            <p:nvPr userDrawn="1"/>
          </p:nvCxnSpPr>
          <p:spPr>
            <a:xfrm>
              <a:off x="12507575" y="33168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6" name="Rechte verbindingslijn 295">
              <a:extLst>
                <a:ext uri="{FF2B5EF4-FFF2-40B4-BE49-F238E27FC236}">
                  <a16:creationId xmlns:a16="http://schemas.microsoft.com/office/drawing/2014/main" id="{961A0187-66BC-4570-833A-5DFBDF46CCB2}"/>
                </a:ext>
              </a:extLst>
            </p:cNvPr>
            <p:cNvCxnSpPr/>
            <p:nvPr userDrawn="1"/>
          </p:nvCxnSpPr>
          <p:spPr>
            <a:xfrm>
              <a:off x="12507211" y="253760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7" name="Rechte verbindingslijn 296">
              <a:extLst>
                <a:ext uri="{FF2B5EF4-FFF2-40B4-BE49-F238E27FC236}">
                  <a16:creationId xmlns:a16="http://schemas.microsoft.com/office/drawing/2014/main" id="{75DE0086-8DFD-4B16-9C3C-EBC14A75DD08}"/>
                </a:ext>
              </a:extLst>
            </p:cNvPr>
            <p:cNvCxnSpPr/>
            <p:nvPr userDrawn="1"/>
          </p:nvCxnSpPr>
          <p:spPr>
            <a:xfrm>
              <a:off x="12507575" y="4423040"/>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8" name="Rechte verbindingslijn 297">
              <a:extLst>
                <a:ext uri="{FF2B5EF4-FFF2-40B4-BE49-F238E27FC236}">
                  <a16:creationId xmlns:a16="http://schemas.microsoft.com/office/drawing/2014/main" id="{2EECA913-FB64-49FE-A77A-ADB72BDDF42B}"/>
                </a:ext>
              </a:extLst>
            </p:cNvPr>
            <p:cNvCxnSpPr/>
            <p:nvPr userDrawn="1"/>
          </p:nvCxnSpPr>
          <p:spPr>
            <a:xfrm>
              <a:off x="12507575" y="6838695"/>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9" name="Rechte verbindingslijn 298">
              <a:extLst>
                <a:ext uri="{FF2B5EF4-FFF2-40B4-BE49-F238E27FC236}">
                  <a16:creationId xmlns:a16="http://schemas.microsoft.com/office/drawing/2014/main" id="{C275FE71-4865-46E1-9D03-569CC1C92E4B}"/>
                </a:ext>
              </a:extLst>
            </p:cNvPr>
            <p:cNvCxnSpPr/>
            <p:nvPr userDrawn="1"/>
          </p:nvCxnSpPr>
          <p:spPr>
            <a:xfrm>
              <a:off x="12507211" y="4898666"/>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00" name="Groep 299">
              <a:extLst>
                <a:ext uri="{FF2B5EF4-FFF2-40B4-BE49-F238E27FC236}">
                  <a16:creationId xmlns:a16="http://schemas.microsoft.com/office/drawing/2014/main" id="{639E54CE-7A2C-40BF-AE85-D6CD6D1EA426}"/>
                </a:ext>
              </a:extLst>
            </p:cNvPr>
            <p:cNvGrpSpPr/>
            <p:nvPr userDrawn="1"/>
          </p:nvGrpSpPr>
          <p:grpSpPr>
            <a:xfrm>
              <a:off x="12436353" y="1728359"/>
              <a:ext cx="689983" cy="573048"/>
              <a:chOff x="15171969" y="1587338"/>
              <a:chExt cx="755407" cy="627385"/>
            </a:xfrm>
          </p:grpSpPr>
          <p:sp>
            <p:nvSpPr>
              <p:cNvPr id="339" name="Rechthoek 962">
                <a:extLst>
                  <a:ext uri="{FF2B5EF4-FFF2-40B4-BE49-F238E27FC236}">
                    <a16:creationId xmlns:a16="http://schemas.microsoft.com/office/drawing/2014/main" id="{F6A49889-38D0-4734-8655-46C716F000A4}"/>
                  </a:ext>
                </a:extLst>
              </p:cNvPr>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340" name="Groep 339">
                <a:extLst>
                  <a:ext uri="{FF2B5EF4-FFF2-40B4-BE49-F238E27FC236}">
                    <a16:creationId xmlns:a16="http://schemas.microsoft.com/office/drawing/2014/main" id="{20A96BEA-43B1-46B0-B9FF-4CA8DBDBA836}"/>
                  </a:ext>
                </a:extLst>
              </p:cNvPr>
              <p:cNvGrpSpPr/>
              <p:nvPr userDrawn="1"/>
            </p:nvGrpSpPr>
            <p:grpSpPr>
              <a:xfrm>
                <a:off x="15281106" y="1587338"/>
                <a:ext cx="511775" cy="560304"/>
                <a:chOff x="10604642" y="969717"/>
                <a:chExt cx="1290643" cy="1427163"/>
              </a:xfrm>
            </p:grpSpPr>
            <p:grpSp>
              <p:nvGrpSpPr>
                <p:cNvPr id="341" name="Group 879">
                  <a:extLst>
                    <a:ext uri="{FF2B5EF4-FFF2-40B4-BE49-F238E27FC236}">
                      <a16:creationId xmlns:a16="http://schemas.microsoft.com/office/drawing/2014/main" id="{6FE35825-E386-4B51-9C5A-F2D5F675D4D0}"/>
                    </a:ext>
                  </a:extLst>
                </p:cNvPr>
                <p:cNvGrpSpPr>
                  <a:grpSpLocks noChangeAspect="1"/>
                </p:cNvGrpSpPr>
                <p:nvPr userDrawn="1"/>
              </p:nvGrpSpPr>
              <p:grpSpPr bwMode="auto">
                <a:xfrm>
                  <a:off x="10604642" y="969717"/>
                  <a:ext cx="1290643" cy="1427163"/>
                  <a:chOff x="4798" y="1515"/>
                  <a:chExt cx="813" cy="899"/>
                </a:xfrm>
              </p:grpSpPr>
              <p:sp>
                <p:nvSpPr>
                  <p:cNvPr id="343" name="Freeform 886">
                    <a:extLst>
                      <a:ext uri="{FF2B5EF4-FFF2-40B4-BE49-F238E27FC236}">
                        <a16:creationId xmlns:a16="http://schemas.microsoft.com/office/drawing/2014/main" id="{DBFCA114-BCDA-4008-801E-953CB3FED89F}"/>
                      </a:ext>
                    </a:extLst>
                  </p:cNvPr>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44" name="Rectangle 880">
                    <a:extLst>
                      <a:ext uri="{FF2B5EF4-FFF2-40B4-BE49-F238E27FC236}">
                        <a16:creationId xmlns:a16="http://schemas.microsoft.com/office/drawing/2014/main" id="{61A247FE-5358-45DD-8683-339B07D7A9C0}"/>
                      </a:ext>
                    </a:extLst>
                  </p:cNvPr>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45" name="Rectangle 881">
                    <a:extLst>
                      <a:ext uri="{FF2B5EF4-FFF2-40B4-BE49-F238E27FC236}">
                        <a16:creationId xmlns:a16="http://schemas.microsoft.com/office/drawing/2014/main" id="{03D1F148-6E52-4D69-83FC-2E53D0580FCA}"/>
                      </a:ext>
                    </a:extLst>
                  </p:cNvPr>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46" name="Freeform 882">
                    <a:extLst>
                      <a:ext uri="{FF2B5EF4-FFF2-40B4-BE49-F238E27FC236}">
                        <a16:creationId xmlns:a16="http://schemas.microsoft.com/office/drawing/2014/main" id="{AF91B722-7FEC-4419-B7EA-3746D03C1A40}"/>
                      </a:ext>
                    </a:extLst>
                  </p:cNvPr>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47" name="Freeform 883">
                    <a:extLst>
                      <a:ext uri="{FF2B5EF4-FFF2-40B4-BE49-F238E27FC236}">
                        <a16:creationId xmlns:a16="http://schemas.microsoft.com/office/drawing/2014/main" id="{ACAA8906-CD31-4AEE-8823-C910EC09089D}"/>
                      </a:ext>
                    </a:extLst>
                  </p:cNvPr>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48" name="Freeform 884">
                    <a:extLst>
                      <a:ext uri="{FF2B5EF4-FFF2-40B4-BE49-F238E27FC236}">
                        <a16:creationId xmlns:a16="http://schemas.microsoft.com/office/drawing/2014/main" id="{3B867B17-27BA-4B1A-98A3-60C07850CEE9}"/>
                      </a:ext>
                    </a:extLst>
                  </p:cNvPr>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49" name="Rectangle 885">
                    <a:extLst>
                      <a:ext uri="{FF2B5EF4-FFF2-40B4-BE49-F238E27FC236}">
                        <a16:creationId xmlns:a16="http://schemas.microsoft.com/office/drawing/2014/main" id="{6735788A-ED24-402C-875E-F3132DE3200E}"/>
                      </a:ext>
                    </a:extLst>
                  </p:cNvPr>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50" name="Rectangle 887">
                    <a:extLst>
                      <a:ext uri="{FF2B5EF4-FFF2-40B4-BE49-F238E27FC236}">
                        <a16:creationId xmlns:a16="http://schemas.microsoft.com/office/drawing/2014/main" id="{89ED5BF9-2F93-4686-8E0B-4FF9B022F962}"/>
                      </a:ext>
                    </a:extLst>
                  </p:cNvPr>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51" name="Freeform 888">
                    <a:extLst>
                      <a:ext uri="{FF2B5EF4-FFF2-40B4-BE49-F238E27FC236}">
                        <a16:creationId xmlns:a16="http://schemas.microsoft.com/office/drawing/2014/main" id="{53F368CC-57CD-42BF-A5E5-6E2387048878}"/>
                      </a:ext>
                    </a:extLst>
                  </p:cNvPr>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342" name="Vrije vorm 84">
                  <a:extLst>
                    <a:ext uri="{FF2B5EF4-FFF2-40B4-BE49-F238E27FC236}">
                      <a16:creationId xmlns:a16="http://schemas.microsoft.com/office/drawing/2014/main" id="{18B9FC15-2BF0-4509-9703-0AD334DBC4CC}"/>
                    </a:ext>
                  </a:extLst>
                </p:cNvPr>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301" name="Groep 300">
              <a:extLst>
                <a:ext uri="{FF2B5EF4-FFF2-40B4-BE49-F238E27FC236}">
                  <a16:creationId xmlns:a16="http://schemas.microsoft.com/office/drawing/2014/main" id="{035B30AD-6D2F-4CCD-91C6-7C488E4485B1}"/>
                </a:ext>
              </a:extLst>
            </p:cNvPr>
            <p:cNvGrpSpPr/>
            <p:nvPr userDrawn="1"/>
          </p:nvGrpSpPr>
          <p:grpSpPr>
            <a:xfrm>
              <a:off x="12548778" y="6003628"/>
              <a:ext cx="1980859" cy="542924"/>
              <a:chOff x="12390702" y="6054428"/>
              <a:chExt cx="1980859" cy="542924"/>
            </a:xfrm>
          </p:grpSpPr>
          <p:sp>
            <p:nvSpPr>
              <p:cNvPr id="305" name="Rechthoek 304">
                <a:extLst>
                  <a:ext uri="{FF2B5EF4-FFF2-40B4-BE49-F238E27FC236}">
                    <a16:creationId xmlns:a16="http://schemas.microsoft.com/office/drawing/2014/main" id="{6E961609-0176-4623-82F6-82573F4284BD}"/>
                  </a:ext>
                </a:extLst>
              </p:cNvPr>
              <p:cNvSpPr/>
              <p:nvPr/>
            </p:nvSpPr>
            <p:spPr>
              <a:xfrm>
                <a:off x="12402284" y="6054428"/>
                <a:ext cx="1969277" cy="542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306" name="Rechthoek 305">
                <a:extLst>
                  <a:ext uri="{FF2B5EF4-FFF2-40B4-BE49-F238E27FC236}">
                    <a16:creationId xmlns:a16="http://schemas.microsoft.com/office/drawing/2014/main" id="{7B2F3F31-020F-4382-933F-86F9BE7DA1C6}"/>
                  </a:ext>
                </a:extLst>
              </p:cNvPr>
              <p:cNvSpPr/>
              <p:nvPr/>
            </p:nvSpPr>
            <p:spPr>
              <a:xfrm>
                <a:off x="12662053" y="6062530"/>
                <a:ext cx="1452642" cy="261610"/>
              </a:xfrm>
              <a:prstGeom prst="rect">
                <a:avLst/>
              </a:prstGeom>
            </p:spPr>
            <p:txBody>
              <a:bodyPr wrap="none">
                <a:spAutoFit/>
              </a:bodyPr>
              <a:lstStyle/>
              <a:p>
                <a:r>
                  <a:rPr lang="en-US" sz="1100" dirty="0">
                    <a:latin typeface="+mn-lt"/>
                    <a:ea typeface="Adobe Heiti Std R" panose="020B0400000000000000" pitchFamily="34" charset="-128"/>
                    <a:cs typeface="Segoe UI Light" panose="020B0502040204020203" pitchFamily="34" charset="0"/>
                  </a:rPr>
                  <a:t>Ander </a:t>
                </a:r>
                <a:r>
                  <a:rPr lang="en-US" sz="1100" dirty="0" err="1">
                    <a:latin typeface="+mn-lt"/>
                    <a:ea typeface="Adobe Heiti Std R" panose="020B0400000000000000" pitchFamily="34" charset="-128"/>
                    <a:cs typeface="Segoe UI Light" panose="020B0502040204020203" pitchFamily="34" charset="0"/>
                  </a:rPr>
                  <a:t>grafiektype</a:t>
                </a:r>
                <a:r>
                  <a:rPr lang="en-US" sz="1100" dirty="0">
                    <a:latin typeface="+mn-lt"/>
                    <a:ea typeface="Adobe Heiti Std R" panose="020B0400000000000000" pitchFamily="34" charset="-128"/>
                    <a:cs typeface="Segoe UI Light" panose="020B0502040204020203" pitchFamily="34" charset="0"/>
                  </a:rPr>
                  <a:t>…</a:t>
                </a:r>
              </a:p>
            </p:txBody>
          </p:sp>
          <p:sp>
            <p:nvSpPr>
              <p:cNvPr id="307" name="Gelijkbenige driehoek 306">
                <a:extLst>
                  <a:ext uri="{FF2B5EF4-FFF2-40B4-BE49-F238E27FC236}">
                    <a16:creationId xmlns:a16="http://schemas.microsoft.com/office/drawing/2014/main" id="{80E98EBC-9767-4C1A-BD96-8FD279A93A5D}"/>
                  </a:ext>
                </a:extLst>
              </p:cNvPr>
              <p:cNvSpPr/>
              <p:nvPr/>
            </p:nvSpPr>
            <p:spPr>
              <a:xfrm rot="5400000">
                <a:off x="14210471" y="6150144"/>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n-lt"/>
                  <a:ea typeface="Adobe Heiti Std R" panose="020B0400000000000000" pitchFamily="34" charset="-128"/>
                  <a:cs typeface="Segoe UI Light" panose="020B0502040204020203" pitchFamily="34" charset="0"/>
                </a:endParaRPr>
              </a:p>
            </p:txBody>
          </p:sp>
          <p:sp>
            <p:nvSpPr>
              <p:cNvPr id="308" name="Afgeronde rechthoek 50">
                <a:extLst>
                  <a:ext uri="{FF2B5EF4-FFF2-40B4-BE49-F238E27FC236}">
                    <a16:creationId xmlns:a16="http://schemas.microsoft.com/office/drawing/2014/main" id="{6EA2C2A2-14F7-455D-B638-A2FE5D9B5517}"/>
                  </a:ext>
                </a:extLst>
              </p:cNvPr>
              <p:cNvSpPr/>
              <p:nvPr/>
            </p:nvSpPr>
            <p:spPr>
              <a:xfrm>
                <a:off x="12390702" y="6322741"/>
                <a:ext cx="1973675" cy="268314"/>
              </a:xfrm>
              <a:prstGeom prst="roundRect">
                <a:avLst/>
              </a:prstGeom>
              <a:gradFill>
                <a:gsLst>
                  <a:gs pos="0">
                    <a:srgbClr val="FFF2BD"/>
                  </a:gs>
                  <a:gs pos="34000">
                    <a:srgbClr val="FFE98B"/>
                  </a:gs>
                  <a:gs pos="78000">
                    <a:srgbClr val="FFF5C9"/>
                  </a:gs>
                  <a:gs pos="59000">
                    <a:srgbClr val="FFE98B"/>
                  </a:gs>
                </a:gsLst>
                <a:lin ang="5400000" scaled="0"/>
              </a:gra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1200" dirty="0" err="1">
                    <a:solidFill>
                      <a:schemeClr val="tx1"/>
                    </a:solidFill>
                    <a:latin typeface="+mn-lt"/>
                    <a:ea typeface="Adobe Heiti Std R" panose="020B0400000000000000" pitchFamily="34" charset="-128"/>
                    <a:cs typeface="Segoe UI Light" panose="020B0502040204020203" pitchFamily="34" charset="0"/>
                  </a:rPr>
                  <a:t>Gegevens</a:t>
                </a:r>
                <a:r>
                  <a:rPr lang="en-US" sz="1200" dirty="0">
                    <a:solidFill>
                      <a:schemeClr val="tx1"/>
                    </a:solidFill>
                    <a:latin typeface="+mn-lt"/>
                    <a:ea typeface="Adobe Heiti Std R" panose="020B0400000000000000" pitchFamily="34" charset="-128"/>
                    <a:cs typeface="Segoe UI Light" panose="020B0502040204020203" pitchFamily="34" charset="0"/>
                  </a:rPr>
                  <a:t> </a:t>
                </a:r>
                <a:r>
                  <a:rPr lang="en-US" sz="1200" dirty="0" err="1">
                    <a:solidFill>
                      <a:schemeClr val="tx1"/>
                    </a:solidFill>
                    <a:latin typeface="+mn-lt"/>
                    <a:ea typeface="Adobe Heiti Std R" panose="020B0400000000000000" pitchFamily="34" charset="-128"/>
                    <a:cs typeface="Segoe UI Light" panose="020B0502040204020203" pitchFamily="34" charset="0"/>
                  </a:rPr>
                  <a:t>bewerken</a:t>
                </a:r>
                <a:r>
                  <a:rPr lang="en-US" sz="1200" dirty="0">
                    <a:solidFill>
                      <a:schemeClr val="tx1"/>
                    </a:solidFill>
                    <a:latin typeface="+mn-lt"/>
                    <a:ea typeface="Adobe Heiti Std R" panose="020B0400000000000000" pitchFamily="34" charset="-128"/>
                    <a:cs typeface="Segoe UI Light" panose="020B0502040204020203" pitchFamily="34" charset="0"/>
                  </a:rPr>
                  <a:t>…</a:t>
                </a:r>
              </a:p>
            </p:txBody>
          </p:sp>
          <p:grpSp>
            <p:nvGrpSpPr>
              <p:cNvPr id="309" name="Groep 308">
                <a:extLst>
                  <a:ext uri="{FF2B5EF4-FFF2-40B4-BE49-F238E27FC236}">
                    <a16:creationId xmlns:a16="http://schemas.microsoft.com/office/drawing/2014/main" id="{BC6CC625-4F8A-495B-A053-9500893F4DB3}"/>
                  </a:ext>
                </a:extLst>
              </p:cNvPr>
              <p:cNvGrpSpPr/>
              <p:nvPr/>
            </p:nvGrpSpPr>
            <p:grpSpPr>
              <a:xfrm>
                <a:off x="12461788" y="6100223"/>
                <a:ext cx="204691" cy="170000"/>
                <a:chOff x="15171969" y="1587338"/>
                <a:chExt cx="755407" cy="627385"/>
              </a:xfrm>
            </p:grpSpPr>
            <p:sp>
              <p:nvSpPr>
                <p:cNvPr id="326" name="Rechthoek 962">
                  <a:extLst>
                    <a:ext uri="{FF2B5EF4-FFF2-40B4-BE49-F238E27FC236}">
                      <a16:creationId xmlns:a16="http://schemas.microsoft.com/office/drawing/2014/main" id="{6C11DD7B-FCAB-4E03-BA48-DFED3FE748AE}"/>
                    </a:ext>
                  </a:extLst>
                </p:cNvPr>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327" name="Groep 326">
                  <a:extLst>
                    <a:ext uri="{FF2B5EF4-FFF2-40B4-BE49-F238E27FC236}">
                      <a16:creationId xmlns:a16="http://schemas.microsoft.com/office/drawing/2014/main" id="{2755423E-6A0F-4E17-9CB5-2DE3CB3C5F25}"/>
                    </a:ext>
                  </a:extLst>
                </p:cNvPr>
                <p:cNvGrpSpPr/>
                <p:nvPr userDrawn="1"/>
              </p:nvGrpSpPr>
              <p:grpSpPr>
                <a:xfrm>
                  <a:off x="15281106" y="1587338"/>
                  <a:ext cx="511775" cy="560304"/>
                  <a:chOff x="10604642" y="969717"/>
                  <a:chExt cx="1290643" cy="1427163"/>
                </a:xfrm>
              </p:grpSpPr>
              <p:grpSp>
                <p:nvGrpSpPr>
                  <p:cNvPr id="328" name="Group 879">
                    <a:extLst>
                      <a:ext uri="{FF2B5EF4-FFF2-40B4-BE49-F238E27FC236}">
                        <a16:creationId xmlns:a16="http://schemas.microsoft.com/office/drawing/2014/main" id="{2F42395C-85A1-430A-80A6-B98CE7A7B985}"/>
                      </a:ext>
                    </a:extLst>
                  </p:cNvPr>
                  <p:cNvGrpSpPr>
                    <a:grpSpLocks noChangeAspect="1"/>
                  </p:cNvGrpSpPr>
                  <p:nvPr userDrawn="1"/>
                </p:nvGrpSpPr>
                <p:grpSpPr bwMode="auto">
                  <a:xfrm>
                    <a:off x="10604642" y="969717"/>
                    <a:ext cx="1290643" cy="1427163"/>
                    <a:chOff x="4798" y="1515"/>
                    <a:chExt cx="813" cy="899"/>
                  </a:xfrm>
                </p:grpSpPr>
                <p:sp>
                  <p:nvSpPr>
                    <p:cNvPr id="330" name="Freeform 886">
                      <a:extLst>
                        <a:ext uri="{FF2B5EF4-FFF2-40B4-BE49-F238E27FC236}">
                          <a16:creationId xmlns:a16="http://schemas.microsoft.com/office/drawing/2014/main" id="{936F7015-8913-41AB-BF65-0D7D1DFAA85A}"/>
                        </a:ext>
                      </a:extLst>
                    </p:cNvPr>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31" name="Rectangle 880">
                      <a:extLst>
                        <a:ext uri="{FF2B5EF4-FFF2-40B4-BE49-F238E27FC236}">
                          <a16:creationId xmlns:a16="http://schemas.microsoft.com/office/drawing/2014/main" id="{D5A6DA94-6F7A-4B8B-AC34-4AD6F337B124}"/>
                        </a:ext>
                      </a:extLst>
                    </p:cNvPr>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32" name="Rectangle 881">
                      <a:extLst>
                        <a:ext uri="{FF2B5EF4-FFF2-40B4-BE49-F238E27FC236}">
                          <a16:creationId xmlns:a16="http://schemas.microsoft.com/office/drawing/2014/main" id="{61F5B48D-A28D-471E-896D-43DEEE373871}"/>
                        </a:ext>
                      </a:extLst>
                    </p:cNvPr>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33" name="Freeform 882">
                      <a:extLst>
                        <a:ext uri="{FF2B5EF4-FFF2-40B4-BE49-F238E27FC236}">
                          <a16:creationId xmlns:a16="http://schemas.microsoft.com/office/drawing/2014/main" id="{678C90E9-62CD-4028-8AE2-D40809AB6263}"/>
                        </a:ext>
                      </a:extLst>
                    </p:cNvPr>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34" name="Freeform 883">
                      <a:extLst>
                        <a:ext uri="{FF2B5EF4-FFF2-40B4-BE49-F238E27FC236}">
                          <a16:creationId xmlns:a16="http://schemas.microsoft.com/office/drawing/2014/main" id="{CD399C75-F670-4D4B-8422-67EDF485FACF}"/>
                        </a:ext>
                      </a:extLst>
                    </p:cNvPr>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35" name="Freeform 884">
                      <a:extLst>
                        <a:ext uri="{FF2B5EF4-FFF2-40B4-BE49-F238E27FC236}">
                          <a16:creationId xmlns:a16="http://schemas.microsoft.com/office/drawing/2014/main" id="{BBA25C7B-8E0D-44E5-96A8-6102195BD746}"/>
                        </a:ext>
                      </a:extLst>
                    </p:cNvPr>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36" name="Rectangle 885">
                      <a:extLst>
                        <a:ext uri="{FF2B5EF4-FFF2-40B4-BE49-F238E27FC236}">
                          <a16:creationId xmlns:a16="http://schemas.microsoft.com/office/drawing/2014/main" id="{E54C8F20-D867-423E-BE9E-DBF5DD664223}"/>
                        </a:ext>
                      </a:extLst>
                    </p:cNvPr>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37" name="Rectangle 887">
                      <a:extLst>
                        <a:ext uri="{FF2B5EF4-FFF2-40B4-BE49-F238E27FC236}">
                          <a16:creationId xmlns:a16="http://schemas.microsoft.com/office/drawing/2014/main" id="{7690C57C-0FBB-49B0-90D0-F44F3A299048}"/>
                        </a:ext>
                      </a:extLst>
                    </p:cNvPr>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38" name="Freeform 888">
                      <a:extLst>
                        <a:ext uri="{FF2B5EF4-FFF2-40B4-BE49-F238E27FC236}">
                          <a16:creationId xmlns:a16="http://schemas.microsoft.com/office/drawing/2014/main" id="{074B8657-6DEC-415F-A8FF-4353F1CE13FA}"/>
                        </a:ext>
                      </a:extLst>
                    </p:cNvPr>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329" name="Vrije vorm 71">
                    <a:extLst>
                      <a:ext uri="{FF2B5EF4-FFF2-40B4-BE49-F238E27FC236}">
                        <a16:creationId xmlns:a16="http://schemas.microsoft.com/office/drawing/2014/main" id="{031D75BF-D7D7-4C6A-87BA-D7B074504BE6}"/>
                      </a:ext>
                    </a:extLst>
                  </p:cNvPr>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310" name="Groep 309">
                <a:extLst>
                  <a:ext uri="{FF2B5EF4-FFF2-40B4-BE49-F238E27FC236}">
                    <a16:creationId xmlns:a16="http://schemas.microsoft.com/office/drawing/2014/main" id="{06213794-152D-44B6-BA0F-40EC47FA7A46}"/>
                  </a:ext>
                </a:extLst>
              </p:cNvPr>
              <p:cNvGrpSpPr/>
              <p:nvPr/>
            </p:nvGrpSpPr>
            <p:grpSpPr>
              <a:xfrm>
                <a:off x="12468521" y="6356844"/>
                <a:ext cx="133446" cy="114786"/>
                <a:chOff x="14587469" y="6356844"/>
                <a:chExt cx="133446" cy="114786"/>
              </a:xfrm>
            </p:grpSpPr>
            <p:sp>
              <p:nvSpPr>
                <p:cNvPr id="316" name="Rectangle 6">
                  <a:extLst>
                    <a:ext uri="{FF2B5EF4-FFF2-40B4-BE49-F238E27FC236}">
                      <a16:creationId xmlns:a16="http://schemas.microsoft.com/office/drawing/2014/main" id="{ECEA64EF-BFD6-4986-834F-CDC16EDF9194}"/>
                    </a:ext>
                  </a:extLst>
                </p:cNvPr>
                <p:cNvSpPr>
                  <a:spLocks noChangeArrowheads="1"/>
                </p:cNvSpPr>
                <p:nvPr userDrawn="1"/>
              </p:nvSpPr>
              <p:spPr bwMode="auto">
                <a:xfrm>
                  <a:off x="14588703" y="6379233"/>
                  <a:ext cx="130780" cy="91699"/>
                </a:xfrm>
                <a:prstGeom prst="rect">
                  <a:avLst/>
                </a:prstGeom>
                <a:solidFill>
                  <a:srgbClr val="F2FAFF"/>
                </a:solidFill>
                <a:ln w="0">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317" name="Rectangle 15">
                  <a:extLst>
                    <a:ext uri="{FF2B5EF4-FFF2-40B4-BE49-F238E27FC236}">
                      <a16:creationId xmlns:a16="http://schemas.microsoft.com/office/drawing/2014/main" id="{7F4A4DF6-A6F8-4442-B65A-33F9975EE932}"/>
                    </a:ext>
                  </a:extLst>
                </p:cNvPr>
                <p:cNvSpPr>
                  <a:spLocks noChangeArrowheads="1"/>
                </p:cNvSpPr>
                <p:nvPr userDrawn="1"/>
              </p:nvSpPr>
              <p:spPr bwMode="auto">
                <a:xfrm>
                  <a:off x="14587469" y="6423761"/>
                  <a:ext cx="131076" cy="1446"/>
                </a:xfrm>
                <a:prstGeom prst="rect">
                  <a:avLst/>
                </a:prstGeom>
                <a:gradFill flip="none" rotWithShape="1">
                  <a:gsLst>
                    <a:gs pos="20000">
                      <a:srgbClr val="0039AC"/>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318" name="Freeform 14">
                  <a:extLst>
                    <a:ext uri="{FF2B5EF4-FFF2-40B4-BE49-F238E27FC236}">
                      <a16:creationId xmlns:a16="http://schemas.microsoft.com/office/drawing/2014/main" id="{3E98E72A-955D-475F-B1B8-EC723D159DAE}"/>
                    </a:ext>
                  </a:extLst>
                </p:cNvPr>
                <p:cNvSpPr>
                  <a:spLocks noEditPoints="1"/>
                </p:cNvSpPr>
                <p:nvPr userDrawn="1"/>
              </p:nvSpPr>
              <p:spPr bwMode="auto">
                <a:xfrm>
                  <a:off x="14588901" y="6356844"/>
                  <a:ext cx="132014" cy="114786"/>
                </a:xfrm>
                <a:custGeom>
                  <a:avLst/>
                  <a:gdLst>
                    <a:gd name="T0" fmla="*/ 48 w 5347"/>
                    <a:gd name="T1" fmla="*/ 48 h 4605"/>
                    <a:gd name="T2" fmla="*/ 48 w 5347"/>
                    <a:gd name="T3" fmla="*/ 4557 h 4605"/>
                    <a:gd name="T4" fmla="*/ 5299 w 5347"/>
                    <a:gd name="T5" fmla="*/ 4557 h 4605"/>
                    <a:gd name="T6" fmla="*/ 5299 w 5347"/>
                    <a:gd name="T7" fmla="*/ 48 h 4605"/>
                    <a:gd name="T8" fmla="*/ 48 w 5347"/>
                    <a:gd name="T9" fmla="*/ 48 h 4605"/>
                    <a:gd name="T10" fmla="*/ 0 w 5347"/>
                    <a:gd name="T11" fmla="*/ 0 h 4605"/>
                    <a:gd name="T12" fmla="*/ 5347 w 5347"/>
                    <a:gd name="T13" fmla="*/ 0 h 4605"/>
                    <a:gd name="T14" fmla="*/ 5347 w 5347"/>
                    <a:gd name="T15" fmla="*/ 4605 h 4605"/>
                    <a:gd name="T16" fmla="*/ 0 w 5347"/>
                    <a:gd name="T17" fmla="*/ 4605 h 4605"/>
                    <a:gd name="T18" fmla="*/ 0 w 5347"/>
                    <a:gd name="T19" fmla="*/ 0 h 4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7" h="4605">
                      <a:moveTo>
                        <a:pt x="48" y="48"/>
                      </a:moveTo>
                      <a:lnTo>
                        <a:pt x="48" y="4557"/>
                      </a:lnTo>
                      <a:lnTo>
                        <a:pt x="5299" y="4557"/>
                      </a:lnTo>
                      <a:lnTo>
                        <a:pt x="5299" y="48"/>
                      </a:lnTo>
                      <a:lnTo>
                        <a:pt x="48" y="48"/>
                      </a:lnTo>
                      <a:close/>
                      <a:moveTo>
                        <a:pt x="0" y="0"/>
                      </a:moveTo>
                      <a:lnTo>
                        <a:pt x="5347" y="0"/>
                      </a:lnTo>
                      <a:lnTo>
                        <a:pt x="5347" y="4605"/>
                      </a:lnTo>
                      <a:lnTo>
                        <a:pt x="0" y="4605"/>
                      </a:lnTo>
                      <a:lnTo>
                        <a:pt x="0" y="0"/>
                      </a:lnTo>
                      <a:close/>
                    </a:path>
                  </a:pathLst>
                </a:custGeom>
                <a:solidFill>
                  <a:srgbClr val="2E5D8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cxnSp>
              <p:nvCxnSpPr>
                <p:cNvPr id="319" name="Rechte verbindingslijn 318">
                  <a:extLst>
                    <a:ext uri="{FF2B5EF4-FFF2-40B4-BE49-F238E27FC236}">
                      <a16:creationId xmlns:a16="http://schemas.microsoft.com/office/drawing/2014/main" id="{0F679BB3-79EA-4C79-8857-E4EC4864C5D1}"/>
                    </a:ext>
                  </a:extLst>
                </p:cNvPr>
                <p:cNvCxnSpPr/>
                <p:nvPr userDrawn="1"/>
              </p:nvCxnSpPr>
              <p:spPr>
                <a:xfrm flipH="1">
                  <a:off x="14654334" y="6382168"/>
                  <a:ext cx="162"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20" name="Rechte verbindingslijn 319">
                  <a:extLst>
                    <a:ext uri="{FF2B5EF4-FFF2-40B4-BE49-F238E27FC236}">
                      <a16:creationId xmlns:a16="http://schemas.microsoft.com/office/drawing/2014/main" id="{0DB14EAE-22F7-4896-8327-6156DC9905E8}"/>
                    </a:ext>
                  </a:extLst>
                </p:cNvPr>
                <p:cNvCxnSpPr/>
                <p:nvPr userDrawn="1"/>
              </p:nvCxnSpPr>
              <p:spPr>
                <a:xfrm>
                  <a:off x="14689188" y="6382168"/>
                  <a:ext cx="0"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21" name="Rechte verbindingslijn 320">
                  <a:extLst>
                    <a:ext uri="{FF2B5EF4-FFF2-40B4-BE49-F238E27FC236}">
                      <a16:creationId xmlns:a16="http://schemas.microsoft.com/office/drawing/2014/main" id="{909A5D0C-CD54-470A-AD8D-B495684E70DE}"/>
                    </a:ext>
                  </a:extLst>
                </p:cNvPr>
                <p:cNvCxnSpPr/>
                <p:nvPr userDrawn="1"/>
              </p:nvCxnSpPr>
              <p:spPr>
                <a:xfrm>
                  <a:off x="14619892" y="6382040"/>
                  <a:ext cx="0" cy="8577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22" name="Rechte verbindingslijn 321">
                  <a:extLst>
                    <a:ext uri="{FF2B5EF4-FFF2-40B4-BE49-F238E27FC236}">
                      <a16:creationId xmlns:a16="http://schemas.microsoft.com/office/drawing/2014/main" id="{7D209422-F51F-4FBC-93F4-2DF051F1AF72}"/>
                    </a:ext>
                  </a:extLst>
                </p:cNvPr>
                <p:cNvCxnSpPr/>
                <p:nvPr userDrawn="1"/>
              </p:nvCxnSpPr>
              <p:spPr>
                <a:xfrm flipH="1">
                  <a:off x="14593115" y="6400164"/>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23" name="Rechte verbindingslijn 322">
                  <a:extLst>
                    <a:ext uri="{FF2B5EF4-FFF2-40B4-BE49-F238E27FC236}">
                      <a16:creationId xmlns:a16="http://schemas.microsoft.com/office/drawing/2014/main" id="{B939CA30-0D96-4DAB-8A2C-C7D3E878125A}"/>
                    </a:ext>
                  </a:extLst>
                </p:cNvPr>
                <p:cNvCxnSpPr/>
                <p:nvPr userDrawn="1"/>
              </p:nvCxnSpPr>
              <p:spPr>
                <a:xfrm flipH="1">
                  <a:off x="14593115" y="6423860"/>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24" name="Rechte verbindingslijn 323">
                  <a:extLst>
                    <a:ext uri="{FF2B5EF4-FFF2-40B4-BE49-F238E27FC236}">
                      <a16:creationId xmlns:a16="http://schemas.microsoft.com/office/drawing/2014/main" id="{D941E635-DF6B-483C-A1F7-30DA3D718256}"/>
                    </a:ext>
                  </a:extLst>
                </p:cNvPr>
                <p:cNvCxnSpPr/>
                <p:nvPr userDrawn="1"/>
              </p:nvCxnSpPr>
              <p:spPr>
                <a:xfrm flipH="1">
                  <a:off x="14593115" y="6447556"/>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325" name="Rectangle 13">
                  <a:extLst>
                    <a:ext uri="{FF2B5EF4-FFF2-40B4-BE49-F238E27FC236}">
                      <a16:creationId xmlns:a16="http://schemas.microsoft.com/office/drawing/2014/main" id="{B94B81D3-28FA-4B9E-A648-DE0E4A5ACE23}"/>
                    </a:ext>
                  </a:extLst>
                </p:cNvPr>
                <p:cNvSpPr>
                  <a:spLocks noChangeArrowheads="1"/>
                </p:cNvSpPr>
                <p:nvPr userDrawn="1"/>
              </p:nvSpPr>
              <p:spPr bwMode="auto">
                <a:xfrm>
                  <a:off x="14590283" y="6359138"/>
                  <a:ext cx="128657" cy="19347"/>
                </a:xfrm>
                <a:prstGeom prst="rect">
                  <a:avLst/>
                </a:prstGeom>
                <a:gradFill flip="none" rotWithShape="1">
                  <a:gsLst>
                    <a:gs pos="0">
                      <a:srgbClr val="1929FF"/>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grpSp>
          <p:grpSp>
            <p:nvGrpSpPr>
              <p:cNvPr id="311" name="Groep 310">
                <a:extLst>
                  <a:ext uri="{FF2B5EF4-FFF2-40B4-BE49-F238E27FC236}">
                    <a16:creationId xmlns:a16="http://schemas.microsoft.com/office/drawing/2014/main" id="{88140FF1-5653-4086-A3DA-E69F1C8351A6}"/>
                  </a:ext>
                </a:extLst>
              </p:cNvPr>
              <p:cNvGrpSpPr/>
              <p:nvPr/>
            </p:nvGrpSpPr>
            <p:grpSpPr>
              <a:xfrm>
                <a:off x="12529899" y="6421402"/>
                <a:ext cx="97399" cy="97399"/>
                <a:chOff x="14546483" y="5323041"/>
                <a:chExt cx="242460" cy="242460"/>
              </a:xfrm>
            </p:grpSpPr>
            <p:sp>
              <p:nvSpPr>
                <p:cNvPr id="312" name="Rechthoek 311">
                  <a:extLst>
                    <a:ext uri="{FF2B5EF4-FFF2-40B4-BE49-F238E27FC236}">
                      <a16:creationId xmlns:a16="http://schemas.microsoft.com/office/drawing/2014/main" id="{FEAB4A38-B33F-4D74-9A40-79B6A6CF949B}"/>
                    </a:ext>
                  </a:extLst>
                </p:cNvPr>
                <p:cNvSpPr/>
                <p:nvPr userDrawn="1"/>
              </p:nvSpPr>
              <p:spPr>
                <a:xfrm>
                  <a:off x="14546483" y="5323041"/>
                  <a:ext cx="242460" cy="242460"/>
                </a:xfrm>
                <a:prstGeom prst="rect">
                  <a:avLst/>
                </a:prstGeom>
                <a:solidFill>
                  <a:schemeClr val="bg1"/>
                </a:solidFill>
                <a:ln w="6350">
                  <a:solidFill>
                    <a:srgbClr val="00A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nvGrpSpPr>
                <p:cNvPr id="313" name="Groep 312">
                  <a:extLst>
                    <a:ext uri="{FF2B5EF4-FFF2-40B4-BE49-F238E27FC236}">
                      <a16:creationId xmlns:a16="http://schemas.microsoft.com/office/drawing/2014/main" id="{6049BDC7-7B3F-4387-8513-10C0904DEEE9}"/>
                    </a:ext>
                  </a:extLst>
                </p:cNvPr>
                <p:cNvGrpSpPr/>
                <p:nvPr/>
              </p:nvGrpSpPr>
              <p:grpSpPr>
                <a:xfrm>
                  <a:off x="14568035" y="5357818"/>
                  <a:ext cx="199836" cy="175226"/>
                  <a:chOff x="14559757" y="5349611"/>
                  <a:chExt cx="216392" cy="191641"/>
                </a:xfrm>
              </p:grpSpPr>
              <p:sp>
                <p:nvSpPr>
                  <p:cNvPr id="314" name="Parallellogram 313">
                    <a:extLst>
                      <a:ext uri="{FF2B5EF4-FFF2-40B4-BE49-F238E27FC236}">
                        <a16:creationId xmlns:a16="http://schemas.microsoft.com/office/drawing/2014/main" id="{74F40664-7EE2-4A72-9448-A0121F9FC5F3}"/>
                      </a:ext>
                    </a:extLst>
                  </p:cNvPr>
                  <p:cNvSpPr/>
                  <p:nvPr/>
                </p:nvSpPr>
                <p:spPr>
                  <a:xfrm>
                    <a:off x="14559757" y="5369222"/>
                    <a:ext cx="214316" cy="147762"/>
                  </a:xfrm>
                  <a:prstGeom prst="parallelogram">
                    <a:avLst>
                      <a:gd name="adj" fmla="val 93909"/>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315" name="Parallellogram 314">
                    <a:extLst>
                      <a:ext uri="{FF2B5EF4-FFF2-40B4-BE49-F238E27FC236}">
                        <a16:creationId xmlns:a16="http://schemas.microsoft.com/office/drawing/2014/main" id="{A027E9E3-3F1C-4535-97B9-9A113A853879}"/>
                      </a:ext>
                    </a:extLst>
                  </p:cNvPr>
                  <p:cNvSpPr/>
                  <p:nvPr/>
                </p:nvSpPr>
                <p:spPr>
                  <a:xfrm flipH="1">
                    <a:off x="14561833" y="5349611"/>
                    <a:ext cx="214316" cy="191641"/>
                  </a:xfrm>
                  <a:prstGeom prst="parallelogram">
                    <a:avLst>
                      <a:gd name="adj" fmla="val 68946"/>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grpSp>
        </p:grpSp>
        <p:sp>
          <p:nvSpPr>
            <p:cNvPr id="302" name="Tekstvak 33">
              <a:extLst>
                <a:ext uri="{FF2B5EF4-FFF2-40B4-BE49-F238E27FC236}">
                  <a16:creationId xmlns:a16="http://schemas.microsoft.com/office/drawing/2014/main" id="{743F07D1-3C06-49EF-8D4D-6B68293CE7B1}"/>
                </a:ext>
              </a:extLst>
            </p:cNvPr>
            <p:cNvSpPr txBox="1"/>
            <p:nvPr userDrawn="1"/>
          </p:nvSpPr>
          <p:spPr>
            <a:xfrm>
              <a:off x="12537681" y="5123358"/>
              <a:ext cx="2588841" cy="646331"/>
            </a:xfrm>
            <a:prstGeom prst="rect">
              <a:avLst/>
            </a:prstGeom>
            <a:noFill/>
          </p:spPr>
          <p:txBody>
            <a:bodyPr wrap="square" lIns="0" tIns="0" rIns="0" bIns="0" rtlCol="0" anchor="t">
              <a:spAutoFit/>
            </a:bodyPr>
            <a:lstStyle>
              <a:defPPr>
                <a:defRPr lang="nl-NL"/>
              </a:defPPr>
              <a:lvl1pPr marR="0" lvl="0" indent="0" defTabSz="914400" fontAlgn="auto">
                <a:lnSpc>
                  <a:spcPct val="100000"/>
                </a:lnSpc>
                <a:spcBef>
                  <a:spcPts val="0"/>
                </a:spcBef>
                <a:spcAft>
                  <a:spcPts val="0"/>
                </a:spcAft>
                <a:buClrTx/>
                <a:buSzTx/>
                <a:buFontTx/>
                <a:buNone/>
                <a:tabLst/>
                <a:defRPr kumimoji="0" sz="1400" b="0" i="0" u="none" strike="noStrike" kern="0" cap="none" spc="0" normalizeH="0" baseline="0">
                  <a:ln>
                    <a:noFill/>
                  </a:ln>
                  <a:effectLst/>
                  <a:uLnTx/>
                  <a:uFillTx/>
                  <a:latin typeface="Calibri"/>
                  <a:ea typeface="Tahoma" pitchFamily="34" charset="0"/>
                  <a:cs typeface="Arial" pitchFamily="34" charset="0"/>
                </a:defRPr>
              </a:lvl1pPr>
            </a:lstStyle>
            <a:p>
              <a:pPr lvl="0"/>
              <a:r>
                <a:rPr lang="nl-NL" dirty="0">
                  <a:solidFill>
                    <a:schemeClr val="tx2"/>
                  </a:solidFill>
                  <a:latin typeface="+mn-lt"/>
                </a:rPr>
                <a:t>Selecteer de grafiek, klik op de rechter muisknop en kies </a:t>
              </a:r>
              <a:r>
                <a:rPr lang="nl-NL" b="0" dirty="0">
                  <a:solidFill>
                    <a:schemeClr val="tx2"/>
                  </a:solidFill>
                  <a:latin typeface="+mj-lt"/>
                </a:rPr>
                <a:t>‘Gegevens bewerken’</a:t>
              </a:r>
            </a:p>
          </p:txBody>
        </p:sp>
        <p:sp>
          <p:nvSpPr>
            <p:cNvPr id="303" name="Rechthoek 302">
              <a:extLst>
                <a:ext uri="{FF2B5EF4-FFF2-40B4-BE49-F238E27FC236}">
                  <a16:creationId xmlns:a16="http://schemas.microsoft.com/office/drawing/2014/main" id="{0D57F53E-EF1E-41AB-B0B4-EC21DEA365A7}"/>
                </a:ext>
              </a:extLst>
            </p:cNvPr>
            <p:cNvSpPr/>
            <p:nvPr userDrawn="1"/>
          </p:nvSpPr>
          <p:spPr>
            <a:xfrm>
              <a:off x="12363871" y="4529047"/>
              <a:ext cx="2584447" cy="3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lvl="0"/>
              <a:r>
                <a:rPr lang="nl-NL" sz="1600" b="0" dirty="0">
                  <a:solidFill>
                    <a:schemeClr val="tx2"/>
                  </a:solidFill>
                  <a:latin typeface="+mj-lt"/>
                </a:rPr>
                <a:t>GRAFIEK BEWERKEN</a:t>
              </a:r>
            </a:p>
          </p:txBody>
        </p:sp>
        <p:pic>
          <p:nvPicPr>
            <p:cNvPr id="304" name="Picture 3">
              <a:extLst>
                <a:ext uri="{FF2B5EF4-FFF2-40B4-BE49-F238E27FC236}">
                  <a16:creationId xmlns:a16="http://schemas.microsoft.com/office/drawing/2014/main" id="{76131ACB-93F1-430A-8F63-F88893D76DBE}"/>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4262557" y="6394752"/>
              <a:ext cx="158644" cy="256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68" name="Rechthoek 167"/>
          <p:cNvSpPr/>
          <p:nvPr userDrawn="1"/>
        </p:nvSpPr>
        <p:spPr>
          <a:xfrm>
            <a:off x="0" y="1420097"/>
            <a:ext cx="4759205" cy="456277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tel 1"/>
          <p:cNvSpPr>
            <a:spLocks noGrp="1"/>
          </p:cNvSpPr>
          <p:nvPr>
            <p:ph type="title"/>
          </p:nvPr>
        </p:nvSpPr>
        <p:spPr/>
        <p:txBody>
          <a:bodyPr/>
          <a:lstStyle/>
          <a:p>
            <a:r>
              <a:rPr lang="nl-NL"/>
              <a:t>Klik om stijl te bewerken</a:t>
            </a:r>
            <a:endParaRPr lang="en-GB" dirty="0"/>
          </a:p>
        </p:txBody>
      </p:sp>
      <p:sp>
        <p:nvSpPr>
          <p:cNvPr id="3" name="Tijdelijke aanduiding voor verticale tekst 2"/>
          <p:cNvSpPr>
            <a:spLocks noGrp="1"/>
          </p:cNvSpPr>
          <p:nvPr>
            <p:ph type="body" orient="vert" idx="1"/>
          </p:nvPr>
        </p:nvSpPr>
        <p:spPr>
          <a:xfrm>
            <a:off x="5232986" y="1420097"/>
            <a:ext cx="6962189" cy="4557157"/>
          </a:xfrm>
        </p:spPr>
        <p:txBody>
          <a:bodyPr vert="horz"/>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10"/>
          </p:nvPr>
        </p:nvSpPr>
        <p:spPr/>
        <p:txBody>
          <a:bodyPr/>
          <a:lstStyle/>
          <a:p>
            <a:fld id="{73731C00-D19D-4514-9E15-B06DB7AE6267}"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9" name="Tijdelijke aanduiding voor inhoud 2"/>
          <p:cNvSpPr>
            <a:spLocks noGrp="1"/>
          </p:cNvSpPr>
          <p:nvPr>
            <p:ph idx="13"/>
          </p:nvPr>
        </p:nvSpPr>
        <p:spPr>
          <a:xfrm>
            <a:off x="400542" y="1641026"/>
            <a:ext cx="3956928" cy="3586068"/>
          </a:xfrm>
          <a:noFill/>
        </p:spPr>
        <p:txBody>
          <a:bodyPr anchor="ctr"/>
          <a:lstStyle>
            <a:lvl1pPr algn="ctr">
              <a:defRPr sz="1200"/>
            </a:lvl1pPr>
          </a:lstStyle>
          <a:p>
            <a:pPr lvl="0"/>
            <a:r>
              <a:rPr lang="nl-NL"/>
              <a:t>Klikken om de tekststijl van het model te bewerken</a:t>
            </a:r>
          </a:p>
        </p:txBody>
      </p:sp>
      <p:sp>
        <p:nvSpPr>
          <p:cNvPr id="11" name="Tekstvak 10"/>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Tekst Rechts + Object (S) + onderschrift</a:t>
            </a:r>
          </a:p>
        </p:txBody>
      </p:sp>
      <p:sp>
        <p:nvSpPr>
          <p:cNvPr id="12" name="Tijdelijke aanduiding voor verticale tekst 2"/>
          <p:cNvSpPr>
            <a:spLocks noGrp="1"/>
          </p:cNvSpPr>
          <p:nvPr>
            <p:ph type="body" orient="vert" idx="14" hasCustomPrompt="1"/>
          </p:nvPr>
        </p:nvSpPr>
        <p:spPr>
          <a:xfrm>
            <a:off x="-1194" y="5476812"/>
            <a:ext cx="4760398" cy="504000"/>
          </a:xfrm>
          <a:solidFill>
            <a:schemeClr val="accent2"/>
          </a:solidFill>
        </p:spPr>
        <p:txBody>
          <a:bodyPr vert="horz" lIns="360000" tIns="36000" rIns="216000" bIns="0" anchor="ctr"/>
          <a:lstStyle>
            <a:lvl1pPr algn="r">
              <a:defRPr sz="1800" b="0">
                <a:solidFill>
                  <a:schemeClr val="tx2"/>
                </a:solidFill>
              </a:defRPr>
            </a:lvl1pPr>
          </a:lstStyle>
          <a:p>
            <a:pPr lvl="0"/>
            <a:r>
              <a:rPr lang="nl-NL" dirty="0"/>
              <a:t>Onderschrift</a:t>
            </a:r>
          </a:p>
        </p:txBody>
      </p:sp>
      <p:grpSp>
        <p:nvGrpSpPr>
          <p:cNvPr id="146" name="Groep 145">
            <a:extLst>
              <a:ext uri="{FF2B5EF4-FFF2-40B4-BE49-F238E27FC236}">
                <a16:creationId xmlns:a16="http://schemas.microsoft.com/office/drawing/2014/main" id="{8D88F9A1-7833-4093-B6F8-807F61428BA2}"/>
              </a:ext>
            </a:extLst>
          </p:cNvPr>
          <p:cNvGrpSpPr/>
          <p:nvPr userDrawn="1"/>
        </p:nvGrpSpPr>
        <p:grpSpPr>
          <a:xfrm>
            <a:off x="12353686" y="0"/>
            <a:ext cx="2808312" cy="5805264"/>
            <a:chOff x="-2973833" y="0"/>
            <a:chExt cx="2808312" cy="5805264"/>
          </a:xfrm>
        </p:grpSpPr>
        <p:sp>
          <p:nvSpPr>
            <p:cNvPr id="147" name="Rechthoek 146">
              <a:extLst>
                <a:ext uri="{FF2B5EF4-FFF2-40B4-BE49-F238E27FC236}">
                  <a16:creationId xmlns:a16="http://schemas.microsoft.com/office/drawing/2014/main" id="{6590E879-12B2-4EF8-8580-31C0682B396E}"/>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148" name="Textfield placeholder">
              <a:extLst>
                <a:ext uri="{FF2B5EF4-FFF2-40B4-BE49-F238E27FC236}">
                  <a16:creationId xmlns:a16="http://schemas.microsoft.com/office/drawing/2014/main" id="{7F8DDFF8-5425-41D2-BE03-4758DC592D5F}"/>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149" name="Ovaal 148">
              <a:extLst>
                <a:ext uri="{FF2B5EF4-FFF2-40B4-BE49-F238E27FC236}">
                  <a16:creationId xmlns:a16="http://schemas.microsoft.com/office/drawing/2014/main" id="{6FCB04D8-776A-453B-B406-5A5A356B9DE1}"/>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150" name="Ovaal 149">
              <a:extLst>
                <a:ext uri="{FF2B5EF4-FFF2-40B4-BE49-F238E27FC236}">
                  <a16:creationId xmlns:a16="http://schemas.microsoft.com/office/drawing/2014/main" id="{D1110E16-3E5A-4C0C-962D-C7927A04AD03}"/>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151" name="Ovaal 150">
              <a:extLst>
                <a:ext uri="{FF2B5EF4-FFF2-40B4-BE49-F238E27FC236}">
                  <a16:creationId xmlns:a16="http://schemas.microsoft.com/office/drawing/2014/main" id="{AB6F4A5F-36CD-4023-8C0F-8E746F60B8B6}"/>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152" name="Ovaal 151">
              <a:extLst>
                <a:ext uri="{FF2B5EF4-FFF2-40B4-BE49-F238E27FC236}">
                  <a16:creationId xmlns:a16="http://schemas.microsoft.com/office/drawing/2014/main" id="{190AE55B-E448-4464-84E0-E292B71C2E49}"/>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153" name="Textfield placeholder">
              <a:extLst>
                <a:ext uri="{FF2B5EF4-FFF2-40B4-BE49-F238E27FC236}">
                  <a16:creationId xmlns:a16="http://schemas.microsoft.com/office/drawing/2014/main" id="{1CC6961F-0DE8-4257-B086-1582B129D8B1}"/>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154" name="Textfield placeholder">
              <a:extLst>
                <a:ext uri="{FF2B5EF4-FFF2-40B4-BE49-F238E27FC236}">
                  <a16:creationId xmlns:a16="http://schemas.microsoft.com/office/drawing/2014/main" id="{EE1F869C-8260-4E52-9172-87BF2C062456}"/>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155" name="Textfield placeholder">
              <a:extLst>
                <a:ext uri="{FF2B5EF4-FFF2-40B4-BE49-F238E27FC236}">
                  <a16:creationId xmlns:a16="http://schemas.microsoft.com/office/drawing/2014/main" id="{B2A22D0A-9D44-4663-B29D-63D1E382663F}"/>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156" name="Rechte verbindingslijn 155">
              <a:extLst>
                <a:ext uri="{FF2B5EF4-FFF2-40B4-BE49-F238E27FC236}">
                  <a16:creationId xmlns:a16="http://schemas.microsoft.com/office/drawing/2014/main" id="{80CA2917-E311-4F89-8BCB-C472E234F593}"/>
                </a:ext>
              </a:extLst>
            </p:cNvPr>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7" name="Rechte verbindingslijn 156">
              <a:extLst>
                <a:ext uri="{FF2B5EF4-FFF2-40B4-BE49-F238E27FC236}">
                  <a16:creationId xmlns:a16="http://schemas.microsoft.com/office/drawing/2014/main" id="{2D5F371F-46CC-41E0-A6F6-273BA0641B8B}"/>
                </a:ext>
              </a:extLst>
            </p:cNvPr>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8" name="Rechte verbindingslijn 157">
              <a:extLst>
                <a:ext uri="{FF2B5EF4-FFF2-40B4-BE49-F238E27FC236}">
                  <a16:creationId xmlns:a16="http://schemas.microsoft.com/office/drawing/2014/main" id="{9EF48220-479A-42F5-9FB1-B888C7638978}"/>
                </a:ext>
              </a:extLst>
            </p:cNvPr>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159" name="Picture 3">
              <a:extLst>
                <a:ext uri="{FF2B5EF4-FFF2-40B4-BE49-F238E27FC236}">
                  <a16:creationId xmlns:a16="http://schemas.microsoft.com/office/drawing/2014/main" id="{181BAF4E-5A93-42E8-A6A1-FD0F654BD623}"/>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0" name="Picture 4">
              <a:extLst>
                <a:ext uri="{FF2B5EF4-FFF2-40B4-BE49-F238E27FC236}">
                  <a16:creationId xmlns:a16="http://schemas.microsoft.com/office/drawing/2014/main" id="{A9E8FEE1-BA3C-44C5-B989-0A82B97C08FF}"/>
                </a:ext>
              </a:extLst>
            </p:cNvPr>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61" name="Groep 160">
              <a:extLst>
                <a:ext uri="{FF2B5EF4-FFF2-40B4-BE49-F238E27FC236}">
                  <a16:creationId xmlns:a16="http://schemas.microsoft.com/office/drawing/2014/main" id="{A8252D32-B606-4499-9954-F700EA4B54D2}"/>
                </a:ext>
              </a:extLst>
            </p:cNvPr>
            <p:cNvGrpSpPr/>
            <p:nvPr userDrawn="1"/>
          </p:nvGrpSpPr>
          <p:grpSpPr>
            <a:xfrm>
              <a:off x="-2098870" y="523279"/>
              <a:ext cx="435437" cy="427699"/>
              <a:chOff x="-1085063" y="758027"/>
              <a:chExt cx="633800" cy="622540"/>
            </a:xfrm>
          </p:grpSpPr>
          <p:sp>
            <p:nvSpPr>
              <p:cNvPr id="272" name="Afgeronde rechthoek 133">
                <a:extLst>
                  <a:ext uri="{FF2B5EF4-FFF2-40B4-BE49-F238E27FC236}">
                    <a16:creationId xmlns:a16="http://schemas.microsoft.com/office/drawing/2014/main" id="{414E2088-E68E-40DF-BABB-C76A596ED039}"/>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273" name="Groep 272">
                <a:extLst>
                  <a:ext uri="{FF2B5EF4-FFF2-40B4-BE49-F238E27FC236}">
                    <a16:creationId xmlns:a16="http://schemas.microsoft.com/office/drawing/2014/main" id="{13AB53F3-0F39-4D08-9675-F9BB04B09CC7}"/>
                  </a:ext>
                </a:extLst>
              </p:cNvPr>
              <p:cNvGrpSpPr/>
              <p:nvPr userDrawn="1"/>
            </p:nvGrpSpPr>
            <p:grpSpPr>
              <a:xfrm>
                <a:off x="-977746" y="864082"/>
                <a:ext cx="419166" cy="410430"/>
                <a:chOff x="6366933" y="309013"/>
                <a:chExt cx="1901295" cy="1861668"/>
              </a:xfrm>
              <a:solidFill>
                <a:schemeClr val="tx1"/>
              </a:solidFill>
            </p:grpSpPr>
            <p:sp>
              <p:nvSpPr>
                <p:cNvPr id="274" name="Rechthoek 273">
                  <a:extLst>
                    <a:ext uri="{FF2B5EF4-FFF2-40B4-BE49-F238E27FC236}">
                      <a16:creationId xmlns:a16="http://schemas.microsoft.com/office/drawing/2014/main" id="{9674F32E-F0A5-4E61-A523-E62AA19C6D73}"/>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75" name="Rechthoek 274">
                  <a:extLst>
                    <a:ext uri="{FF2B5EF4-FFF2-40B4-BE49-F238E27FC236}">
                      <a16:creationId xmlns:a16="http://schemas.microsoft.com/office/drawing/2014/main" id="{49DB6291-BA9A-4834-9E0B-F7CF3BA5E3A7}"/>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76" name="Rechthoek 275">
                  <a:extLst>
                    <a:ext uri="{FF2B5EF4-FFF2-40B4-BE49-F238E27FC236}">
                      <a16:creationId xmlns:a16="http://schemas.microsoft.com/office/drawing/2014/main" id="{695CEDA0-AB70-4A6F-8048-7A49FBB6D5AC}"/>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77" name="Rechthoek 276">
                  <a:extLst>
                    <a:ext uri="{FF2B5EF4-FFF2-40B4-BE49-F238E27FC236}">
                      <a16:creationId xmlns:a16="http://schemas.microsoft.com/office/drawing/2014/main" id="{B04D2B42-1287-4C7B-BC7B-252B24782C3E}"/>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78" name="Rechthoek 277">
                  <a:extLst>
                    <a:ext uri="{FF2B5EF4-FFF2-40B4-BE49-F238E27FC236}">
                      <a16:creationId xmlns:a16="http://schemas.microsoft.com/office/drawing/2014/main" id="{46443991-B7A1-4DC4-A4C2-8DB42622FB28}"/>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79" name="Rechthoek 278">
                  <a:extLst>
                    <a:ext uri="{FF2B5EF4-FFF2-40B4-BE49-F238E27FC236}">
                      <a16:creationId xmlns:a16="http://schemas.microsoft.com/office/drawing/2014/main" id="{EF82B41B-DBFE-42A9-8FC8-9AA97CFDFCDB}"/>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0" name="Rechthoek 279">
                  <a:extLst>
                    <a:ext uri="{FF2B5EF4-FFF2-40B4-BE49-F238E27FC236}">
                      <a16:creationId xmlns:a16="http://schemas.microsoft.com/office/drawing/2014/main" id="{85C95CCF-09E6-4D91-AE54-FD091D001E7F}"/>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1" name="Rechthoek 280">
                  <a:extLst>
                    <a:ext uri="{FF2B5EF4-FFF2-40B4-BE49-F238E27FC236}">
                      <a16:creationId xmlns:a16="http://schemas.microsoft.com/office/drawing/2014/main" id="{5FC37A11-7F07-4485-98B2-BF5C145436F3}"/>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2" name="Rechthoek 281">
                  <a:extLst>
                    <a:ext uri="{FF2B5EF4-FFF2-40B4-BE49-F238E27FC236}">
                      <a16:creationId xmlns:a16="http://schemas.microsoft.com/office/drawing/2014/main" id="{CCB00320-B21D-48E9-9C0B-7FA010C6754A}"/>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3" name="Rechthoek 282">
                  <a:extLst>
                    <a:ext uri="{FF2B5EF4-FFF2-40B4-BE49-F238E27FC236}">
                      <a16:creationId xmlns:a16="http://schemas.microsoft.com/office/drawing/2014/main" id="{0DF1FB2A-C2DB-4991-B1C1-CD0174159E87}"/>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4" name="Vrije vorm 145">
                  <a:extLst>
                    <a:ext uri="{FF2B5EF4-FFF2-40B4-BE49-F238E27FC236}">
                      <a16:creationId xmlns:a16="http://schemas.microsoft.com/office/drawing/2014/main" id="{F80B7EC6-8F4B-4997-91CA-661BBECB7576}"/>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162" name="Groep 161">
              <a:extLst>
                <a:ext uri="{FF2B5EF4-FFF2-40B4-BE49-F238E27FC236}">
                  <a16:creationId xmlns:a16="http://schemas.microsoft.com/office/drawing/2014/main" id="{09DE14E7-A775-4FB1-AABB-E4F70AA4645D}"/>
                </a:ext>
              </a:extLst>
            </p:cNvPr>
            <p:cNvGrpSpPr/>
            <p:nvPr userDrawn="1"/>
          </p:nvGrpSpPr>
          <p:grpSpPr>
            <a:xfrm>
              <a:off x="-2095303" y="1071657"/>
              <a:ext cx="435437" cy="427699"/>
              <a:chOff x="-1845083" y="758027"/>
              <a:chExt cx="633800" cy="622540"/>
            </a:xfrm>
          </p:grpSpPr>
          <p:sp>
            <p:nvSpPr>
              <p:cNvPr id="259" name="Afgeronde rechthoek 120">
                <a:extLst>
                  <a:ext uri="{FF2B5EF4-FFF2-40B4-BE49-F238E27FC236}">
                    <a16:creationId xmlns:a16="http://schemas.microsoft.com/office/drawing/2014/main" id="{6473DCBC-8C32-48C9-A014-C49296F9D4F4}"/>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260" name="Groep 259">
                <a:extLst>
                  <a:ext uri="{FF2B5EF4-FFF2-40B4-BE49-F238E27FC236}">
                    <a16:creationId xmlns:a16="http://schemas.microsoft.com/office/drawing/2014/main" id="{49DCBE15-147A-412F-8906-B8A7E85626CC}"/>
                  </a:ext>
                </a:extLst>
              </p:cNvPr>
              <p:cNvGrpSpPr/>
              <p:nvPr userDrawn="1"/>
            </p:nvGrpSpPr>
            <p:grpSpPr>
              <a:xfrm>
                <a:off x="-1737766" y="864082"/>
                <a:ext cx="419166" cy="410430"/>
                <a:chOff x="3708400" y="309013"/>
                <a:chExt cx="1901295" cy="1861668"/>
              </a:xfrm>
              <a:solidFill>
                <a:schemeClr val="tx1"/>
              </a:solidFill>
            </p:grpSpPr>
            <p:sp>
              <p:nvSpPr>
                <p:cNvPr id="261" name="Rechthoek 260">
                  <a:extLst>
                    <a:ext uri="{FF2B5EF4-FFF2-40B4-BE49-F238E27FC236}">
                      <a16:creationId xmlns:a16="http://schemas.microsoft.com/office/drawing/2014/main" id="{7CC4C1C2-5D4E-4701-B63C-511993AB41A7}"/>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62" name="Rechthoek 261">
                  <a:extLst>
                    <a:ext uri="{FF2B5EF4-FFF2-40B4-BE49-F238E27FC236}">
                      <a16:creationId xmlns:a16="http://schemas.microsoft.com/office/drawing/2014/main" id="{0B47F2C8-B9F1-4C1A-925F-719CA4197E3D}"/>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63" name="Rechthoek 262">
                  <a:extLst>
                    <a:ext uri="{FF2B5EF4-FFF2-40B4-BE49-F238E27FC236}">
                      <a16:creationId xmlns:a16="http://schemas.microsoft.com/office/drawing/2014/main" id="{9283793E-04C3-4DD2-97EF-A7F6ED016548}"/>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64" name="Rechthoek 263">
                  <a:extLst>
                    <a:ext uri="{FF2B5EF4-FFF2-40B4-BE49-F238E27FC236}">
                      <a16:creationId xmlns:a16="http://schemas.microsoft.com/office/drawing/2014/main" id="{344D8CDF-73E7-4117-B526-20D42E1E52A6}"/>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65" name="Rechthoek 264">
                  <a:extLst>
                    <a:ext uri="{FF2B5EF4-FFF2-40B4-BE49-F238E27FC236}">
                      <a16:creationId xmlns:a16="http://schemas.microsoft.com/office/drawing/2014/main" id="{F5673240-2D09-4505-BC4D-F0A6BA208141}"/>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66" name="Rechthoek 265">
                  <a:extLst>
                    <a:ext uri="{FF2B5EF4-FFF2-40B4-BE49-F238E27FC236}">
                      <a16:creationId xmlns:a16="http://schemas.microsoft.com/office/drawing/2014/main" id="{534D98D9-670E-4467-8433-31C594B9EEA3}"/>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67" name="Rechthoek 266">
                  <a:extLst>
                    <a:ext uri="{FF2B5EF4-FFF2-40B4-BE49-F238E27FC236}">
                      <a16:creationId xmlns:a16="http://schemas.microsoft.com/office/drawing/2014/main" id="{50E80379-1C80-40C7-9A4B-F901F0052F6C}"/>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68" name="Rechthoek 267">
                  <a:extLst>
                    <a:ext uri="{FF2B5EF4-FFF2-40B4-BE49-F238E27FC236}">
                      <a16:creationId xmlns:a16="http://schemas.microsoft.com/office/drawing/2014/main" id="{26C51C05-F659-4997-A1DA-83412ACA0546}"/>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69" name="Rechthoek 268">
                  <a:extLst>
                    <a:ext uri="{FF2B5EF4-FFF2-40B4-BE49-F238E27FC236}">
                      <a16:creationId xmlns:a16="http://schemas.microsoft.com/office/drawing/2014/main" id="{FBEB9495-94E7-474F-9FCB-EE8388944A2D}"/>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70" name="Rechthoek 269">
                  <a:extLst>
                    <a:ext uri="{FF2B5EF4-FFF2-40B4-BE49-F238E27FC236}">
                      <a16:creationId xmlns:a16="http://schemas.microsoft.com/office/drawing/2014/main" id="{C0A4F79A-5A3F-4EB5-8D36-C5311F23742B}"/>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71" name="Vrije vorm 132">
                  <a:extLst>
                    <a:ext uri="{FF2B5EF4-FFF2-40B4-BE49-F238E27FC236}">
                      <a16:creationId xmlns:a16="http://schemas.microsoft.com/office/drawing/2014/main" id="{D7A254B0-D723-4C44-B9DE-6032AEAB883D}"/>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163" name="Rechte verbindingslijn 162">
              <a:extLst>
                <a:ext uri="{FF2B5EF4-FFF2-40B4-BE49-F238E27FC236}">
                  <a16:creationId xmlns:a16="http://schemas.microsoft.com/office/drawing/2014/main" id="{BFCFC2AF-4F73-4124-9A9B-C8A1F5618582}"/>
                </a:ext>
              </a:extLst>
            </p:cNvPr>
            <p:cNvCxnSpPr>
              <a:stCxn id="165" idx="2"/>
              <a:endCxn id="259"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64" name="Rechte verbindingslijn 163">
              <a:extLst>
                <a:ext uri="{FF2B5EF4-FFF2-40B4-BE49-F238E27FC236}">
                  <a16:creationId xmlns:a16="http://schemas.microsoft.com/office/drawing/2014/main" id="{765839AE-66A8-4F3D-82FE-A3B251777DE1}"/>
                </a:ext>
              </a:extLst>
            </p:cNvPr>
            <p:cNvCxnSpPr>
              <a:stCxn id="236" idx="3"/>
              <a:endCxn id="272"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65" name="Ovaal 164">
              <a:extLst>
                <a:ext uri="{FF2B5EF4-FFF2-40B4-BE49-F238E27FC236}">
                  <a16:creationId xmlns:a16="http://schemas.microsoft.com/office/drawing/2014/main" id="{A59849A5-EEA4-424C-BB30-496A7AC5F35C}"/>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36" name="Ovaal 235">
              <a:extLst>
                <a:ext uri="{FF2B5EF4-FFF2-40B4-BE49-F238E27FC236}">
                  <a16:creationId xmlns:a16="http://schemas.microsoft.com/office/drawing/2014/main" id="{04FD5430-1F25-492F-861C-6BFFD06FF0C0}"/>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37" name="Textfield placeholder">
              <a:extLst>
                <a:ext uri="{FF2B5EF4-FFF2-40B4-BE49-F238E27FC236}">
                  <a16:creationId xmlns:a16="http://schemas.microsoft.com/office/drawing/2014/main" id="{DD33C2E3-FDF9-4CC9-9363-5AA817B8E0EC}"/>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latin typeface="+mn-lt"/>
                </a:rPr>
                <a:t>Niveau</a:t>
              </a:r>
              <a:r>
                <a:rPr lang="en-GB" sz="1200" b="0" dirty="0">
                  <a:solidFill>
                    <a:schemeClr val="tx1"/>
                  </a:solidFill>
                  <a:latin typeface="+mn-lt"/>
                </a:rPr>
                <a:t> vooruit</a:t>
              </a:r>
            </a:p>
          </p:txBody>
        </p:sp>
        <p:sp>
          <p:nvSpPr>
            <p:cNvPr id="238" name="Textfield placeholder">
              <a:extLst>
                <a:ext uri="{FF2B5EF4-FFF2-40B4-BE49-F238E27FC236}">
                  <a16:creationId xmlns:a16="http://schemas.microsoft.com/office/drawing/2014/main" id="{4F815811-22E0-44E2-AC8E-D59DC4D0C33F}"/>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latin typeface="+mn-lt"/>
                </a:rPr>
                <a:t>Niveau</a:t>
              </a:r>
              <a:r>
                <a:rPr lang="en-GB" sz="1200" b="0" dirty="0">
                  <a:solidFill>
                    <a:schemeClr val="tx1"/>
                  </a:solidFill>
                  <a:latin typeface="+mn-lt"/>
                </a:rPr>
                <a:t> terug</a:t>
              </a:r>
            </a:p>
          </p:txBody>
        </p:sp>
        <p:sp>
          <p:nvSpPr>
            <p:cNvPr id="239" name="Ovaal 238">
              <a:extLst>
                <a:ext uri="{FF2B5EF4-FFF2-40B4-BE49-F238E27FC236}">
                  <a16:creationId xmlns:a16="http://schemas.microsoft.com/office/drawing/2014/main" id="{79903C5F-2D77-4C8E-BA9C-4AF54C72071E}"/>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240" name="Ovaal 239">
              <a:extLst>
                <a:ext uri="{FF2B5EF4-FFF2-40B4-BE49-F238E27FC236}">
                  <a16:creationId xmlns:a16="http://schemas.microsoft.com/office/drawing/2014/main" id="{489FED9E-5625-402C-B37A-CFC163F9DD01}"/>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241" name="Ovaal 240">
              <a:extLst>
                <a:ext uri="{FF2B5EF4-FFF2-40B4-BE49-F238E27FC236}">
                  <a16:creationId xmlns:a16="http://schemas.microsoft.com/office/drawing/2014/main" id="{9BF5A6AC-8275-4A9D-B1D3-94608E91E255}"/>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242" name="Ovaal 241">
              <a:extLst>
                <a:ext uri="{FF2B5EF4-FFF2-40B4-BE49-F238E27FC236}">
                  <a16:creationId xmlns:a16="http://schemas.microsoft.com/office/drawing/2014/main" id="{0E864704-DD06-4653-9125-8265BD874335}"/>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243" name="Ovaal 242">
              <a:extLst>
                <a:ext uri="{FF2B5EF4-FFF2-40B4-BE49-F238E27FC236}">
                  <a16:creationId xmlns:a16="http://schemas.microsoft.com/office/drawing/2014/main" id="{DB9C97CF-1D2A-4502-A1A6-EF87D24B816D}"/>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244" name="Textfield placeholder">
              <a:extLst>
                <a:ext uri="{FF2B5EF4-FFF2-40B4-BE49-F238E27FC236}">
                  <a16:creationId xmlns:a16="http://schemas.microsoft.com/office/drawing/2014/main" id="{82A0CD84-17C1-4CE6-9A73-7490622847AB}"/>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45" name="Textfield placeholder">
              <a:extLst>
                <a:ext uri="{FF2B5EF4-FFF2-40B4-BE49-F238E27FC236}">
                  <a16:creationId xmlns:a16="http://schemas.microsoft.com/office/drawing/2014/main" id="{1999F83E-A6C0-4093-AE91-A0DEBD21C1B2}"/>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46" name="Textfield placeholder">
              <a:extLst>
                <a:ext uri="{FF2B5EF4-FFF2-40B4-BE49-F238E27FC236}">
                  <a16:creationId xmlns:a16="http://schemas.microsoft.com/office/drawing/2014/main" id="{E4E9EC30-5DC9-42B2-B8D4-63D15CB158D5}"/>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47" name="Textfield placeholder">
              <a:extLst>
                <a:ext uri="{FF2B5EF4-FFF2-40B4-BE49-F238E27FC236}">
                  <a16:creationId xmlns:a16="http://schemas.microsoft.com/office/drawing/2014/main" id="{30764291-F0D4-4376-84F3-1141E77DF26C}"/>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248" name="Textfield placeholder">
              <a:extLst>
                <a:ext uri="{FF2B5EF4-FFF2-40B4-BE49-F238E27FC236}">
                  <a16:creationId xmlns:a16="http://schemas.microsoft.com/office/drawing/2014/main" id="{47664528-009C-4FE2-A992-6B7A5E4CC7DF}"/>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49" name="Groep 248">
              <a:extLst>
                <a:ext uri="{FF2B5EF4-FFF2-40B4-BE49-F238E27FC236}">
                  <a16:creationId xmlns:a16="http://schemas.microsoft.com/office/drawing/2014/main" id="{351266FA-EA0B-47EA-A76C-68760D30B301}"/>
                </a:ext>
              </a:extLst>
            </p:cNvPr>
            <p:cNvGrpSpPr/>
            <p:nvPr userDrawn="1"/>
          </p:nvGrpSpPr>
          <p:grpSpPr>
            <a:xfrm>
              <a:off x="-950342" y="1837957"/>
              <a:ext cx="687412" cy="3758146"/>
              <a:chOff x="-740196" y="1837957"/>
              <a:chExt cx="1374825" cy="3758146"/>
            </a:xfrm>
          </p:grpSpPr>
          <p:sp>
            <p:nvSpPr>
              <p:cNvPr id="250" name="Textfield placeholder">
                <a:extLst>
                  <a:ext uri="{FF2B5EF4-FFF2-40B4-BE49-F238E27FC236}">
                    <a16:creationId xmlns:a16="http://schemas.microsoft.com/office/drawing/2014/main" id="{AE417B29-FDE3-48A9-AF90-B91AB758D3F7}"/>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51" name="Textfield placeholder">
                <a:extLst>
                  <a:ext uri="{FF2B5EF4-FFF2-40B4-BE49-F238E27FC236}">
                    <a16:creationId xmlns:a16="http://schemas.microsoft.com/office/drawing/2014/main" id="{EEF82AA9-ADDF-4FCA-B264-A5D9C2D41135}"/>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52" name="Textfield placeholder">
                <a:extLst>
                  <a:ext uri="{FF2B5EF4-FFF2-40B4-BE49-F238E27FC236}">
                    <a16:creationId xmlns:a16="http://schemas.microsoft.com/office/drawing/2014/main" id="{75A62A7D-2633-4D3C-B995-30D6A398A389}"/>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53" name="Textfield placeholder">
                <a:extLst>
                  <a:ext uri="{FF2B5EF4-FFF2-40B4-BE49-F238E27FC236}">
                    <a16:creationId xmlns:a16="http://schemas.microsoft.com/office/drawing/2014/main" id="{0208E0BB-AD73-4E7D-B306-391A1953832C}"/>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254" name="Textfield placeholder">
                <a:extLst>
                  <a:ext uri="{FF2B5EF4-FFF2-40B4-BE49-F238E27FC236}">
                    <a16:creationId xmlns:a16="http://schemas.microsoft.com/office/drawing/2014/main" id="{122B1F2E-7771-4398-B717-3D225BE43468}"/>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255" name="Textfield placeholder">
                <a:extLst>
                  <a:ext uri="{FF2B5EF4-FFF2-40B4-BE49-F238E27FC236}">
                    <a16:creationId xmlns:a16="http://schemas.microsoft.com/office/drawing/2014/main" id="{2AECF3A7-DFF2-4539-82B2-18C1513A2D1C}"/>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56" name="Textfield placeholder">
                <a:extLst>
                  <a:ext uri="{FF2B5EF4-FFF2-40B4-BE49-F238E27FC236}">
                    <a16:creationId xmlns:a16="http://schemas.microsoft.com/office/drawing/2014/main" id="{F29B1E99-4DFC-4ADA-950E-BF67B9689F11}"/>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57" name="Textfield placeholder">
                <a:extLst>
                  <a:ext uri="{FF2B5EF4-FFF2-40B4-BE49-F238E27FC236}">
                    <a16:creationId xmlns:a16="http://schemas.microsoft.com/office/drawing/2014/main" id="{18632913-32AC-4147-89FD-D5E0956960DF}"/>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258" name="Textfield placeholder">
                <a:extLst>
                  <a:ext uri="{FF2B5EF4-FFF2-40B4-BE49-F238E27FC236}">
                    <a16:creationId xmlns:a16="http://schemas.microsoft.com/office/drawing/2014/main" id="{FF610C2A-5FD5-4937-AE11-66E036F61E1A}"/>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spTree>
    <p:extLst>
      <p:ext uri="{BB962C8B-B14F-4D97-AF65-F5344CB8AC3E}">
        <p14:creationId xmlns:p14="http://schemas.microsoft.com/office/powerpoint/2010/main" val="119967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Links + Object (M)">
    <p:spTree>
      <p:nvGrpSpPr>
        <p:cNvPr id="1" name=""/>
        <p:cNvGrpSpPr/>
        <p:nvPr/>
      </p:nvGrpSpPr>
      <p:grpSpPr>
        <a:xfrm>
          <a:off x="0" y="0"/>
          <a:ext cx="0" cy="0"/>
          <a:chOff x="0" y="0"/>
          <a:chExt cx="0" cy="0"/>
        </a:xfrm>
      </p:grpSpPr>
      <p:sp>
        <p:nvSpPr>
          <p:cNvPr id="148" name="Rechthoek 147"/>
          <p:cNvSpPr/>
          <p:nvPr userDrawn="1"/>
        </p:nvSpPr>
        <p:spPr>
          <a:xfrm>
            <a:off x="6116128" y="1422305"/>
            <a:ext cx="6079047" cy="455816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tel 1"/>
          <p:cNvSpPr>
            <a:spLocks noGrp="1"/>
          </p:cNvSpPr>
          <p:nvPr>
            <p:ph type="title"/>
          </p:nvPr>
        </p:nvSpPr>
        <p:spPr>
          <a:xfrm>
            <a:off x="472587" y="192001"/>
            <a:ext cx="11250000" cy="648000"/>
          </a:xfrm>
        </p:spPr>
        <p:txBody>
          <a:bodyPr/>
          <a:lstStyle/>
          <a:p>
            <a:r>
              <a:rPr lang="nl-NL"/>
              <a:t>Klik om stijl te bewerken</a:t>
            </a:r>
            <a:endParaRPr lang="en-GB"/>
          </a:p>
        </p:txBody>
      </p:sp>
      <p:sp>
        <p:nvSpPr>
          <p:cNvPr id="3" name="Tijdelijke aanduiding voor verticale tekst 2"/>
          <p:cNvSpPr>
            <a:spLocks noGrp="1"/>
          </p:cNvSpPr>
          <p:nvPr>
            <p:ph type="body" orient="vert" idx="1"/>
          </p:nvPr>
        </p:nvSpPr>
        <p:spPr>
          <a:xfrm>
            <a:off x="472587" y="1420100"/>
            <a:ext cx="5650910" cy="4558156"/>
          </a:xfrm>
        </p:spPr>
        <p:txBody>
          <a:bodyPr vert="horz"/>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10"/>
          </p:nvPr>
        </p:nvSpPr>
        <p:spPr/>
        <p:txBody>
          <a:bodyPr/>
          <a:lstStyle/>
          <a:p>
            <a:fld id="{F9CE66E8-4BC7-486F-B7EA-0D2BC749903F}"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9" name="Tijdelijke aanduiding voor inhoud 2"/>
          <p:cNvSpPr>
            <a:spLocks noGrp="1"/>
          </p:cNvSpPr>
          <p:nvPr>
            <p:ph idx="14"/>
          </p:nvPr>
        </p:nvSpPr>
        <p:spPr>
          <a:xfrm>
            <a:off x="6491598" y="1641026"/>
            <a:ext cx="5332035" cy="3586068"/>
          </a:xfrm>
          <a:noFill/>
        </p:spPr>
        <p:txBody>
          <a:bodyPr anchor="ctr"/>
          <a:lstStyle>
            <a:lvl1pPr algn="ctr">
              <a:defRPr sz="1200"/>
            </a:lvl1pPr>
          </a:lstStyle>
          <a:p>
            <a:pPr lvl="0"/>
            <a:r>
              <a:rPr lang="nl-NL" dirty="0"/>
              <a:t>Klikken om de tekststijl van het model te bewerken</a:t>
            </a:r>
          </a:p>
        </p:txBody>
      </p:sp>
      <p:sp>
        <p:nvSpPr>
          <p:cNvPr id="11" name="Tekstvak 10"/>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Tekst Links + Object (M) + schrift</a:t>
            </a:r>
          </a:p>
        </p:txBody>
      </p:sp>
      <p:sp>
        <p:nvSpPr>
          <p:cNvPr id="12" name="Tijdelijke aanduiding voor verticale tekst 2"/>
          <p:cNvSpPr>
            <a:spLocks noGrp="1"/>
          </p:cNvSpPr>
          <p:nvPr>
            <p:ph type="body" orient="vert" idx="15" hasCustomPrompt="1"/>
          </p:nvPr>
        </p:nvSpPr>
        <p:spPr>
          <a:xfrm>
            <a:off x="6124073" y="5475362"/>
            <a:ext cx="6071101" cy="504000"/>
          </a:xfrm>
          <a:solidFill>
            <a:schemeClr val="accent2"/>
          </a:solidFill>
        </p:spPr>
        <p:txBody>
          <a:bodyPr vert="horz" lIns="324000" tIns="36000" rIns="216000" bIns="0" anchor="ctr"/>
          <a:lstStyle>
            <a:lvl1pPr algn="l">
              <a:defRPr sz="1800" b="0">
                <a:solidFill>
                  <a:schemeClr val="tx2"/>
                </a:solidFill>
              </a:defRPr>
            </a:lvl1pPr>
          </a:lstStyle>
          <a:p>
            <a:pPr lvl="0"/>
            <a:r>
              <a:rPr lang="nl-NL" dirty="0"/>
              <a:t>Onderschrift</a:t>
            </a:r>
          </a:p>
        </p:txBody>
      </p:sp>
      <p:grpSp>
        <p:nvGrpSpPr>
          <p:cNvPr id="218" name="Groep 217">
            <a:extLst>
              <a:ext uri="{FF2B5EF4-FFF2-40B4-BE49-F238E27FC236}">
                <a16:creationId xmlns:a16="http://schemas.microsoft.com/office/drawing/2014/main" id="{69771287-9D67-4864-A158-E86FDB877C0B}"/>
              </a:ext>
            </a:extLst>
          </p:cNvPr>
          <p:cNvGrpSpPr/>
          <p:nvPr userDrawn="1"/>
        </p:nvGrpSpPr>
        <p:grpSpPr>
          <a:xfrm>
            <a:off x="12363871" y="-26002"/>
            <a:ext cx="3064812" cy="6864697"/>
            <a:chOff x="12363871" y="-26002"/>
            <a:chExt cx="3064812" cy="6864697"/>
          </a:xfrm>
        </p:grpSpPr>
        <p:sp>
          <p:nvSpPr>
            <p:cNvPr id="219" name="Tekstvak 33">
              <a:extLst>
                <a:ext uri="{FF2B5EF4-FFF2-40B4-BE49-F238E27FC236}">
                  <a16:creationId xmlns:a16="http://schemas.microsoft.com/office/drawing/2014/main" id="{18A57734-9FD2-4EB0-8D7D-FA29B3E4F59E}"/>
                </a:ext>
              </a:extLst>
            </p:cNvPr>
            <p:cNvSpPr txBox="1"/>
            <p:nvPr userDrawn="1"/>
          </p:nvSpPr>
          <p:spPr>
            <a:xfrm>
              <a:off x="12537681" y="1001584"/>
              <a:ext cx="2285302" cy="430887"/>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 om een grafiek in te voegen</a:t>
              </a:r>
            </a:p>
          </p:txBody>
        </p:sp>
        <p:sp>
          <p:nvSpPr>
            <p:cNvPr id="220" name="Tekstvak 33">
              <a:extLst>
                <a:ext uri="{FF2B5EF4-FFF2-40B4-BE49-F238E27FC236}">
                  <a16:creationId xmlns:a16="http://schemas.microsoft.com/office/drawing/2014/main" id="{1B8B003F-08F3-454F-BA08-356DC4D249B7}"/>
                </a:ext>
              </a:extLst>
            </p:cNvPr>
            <p:cNvSpPr txBox="1"/>
            <p:nvPr userDrawn="1"/>
          </p:nvSpPr>
          <p:spPr>
            <a:xfrm>
              <a:off x="12537681"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Selecteer de grafiek die u wilt invoegen en klik op </a:t>
              </a:r>
              <a:r>
                <a:rPr kumimoji="0" lang="nl-NL" sz="1400" b="1"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p>
          </p:txBody>
        </p:sp>
        <p:sp>
          <p:nvSpPr>
            <p:cNvPr id="221" name="Ovaal 220">
              <a:extLst>
                <a:ext uri="{FF2B5EF4-FFF2-40B4-BE49-F238E27FC236}">
                  <a16:creationId xmlns:a16="http://schemas.microsoft.com/office/drawing/2014/main" id="{3BCFC3A1-6238-4039-9DDF-3E609B740664}"/>
                </a:ext>
              </a:extLst>
            </p:cNvPr>
            <p:cNvSpPr/>
            <p:nvPr userDrawn="1"/>
          </p:nvSpPr>
          <p:spPr>
            <a:xfrm>
              <a:off x="12494665"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222" name="Ovaal 221">
              <a:extLst>
                <a:ext uri="{FF2B5EF4-FFF2-40B4-BE49-F238E27FC236}">
                  <a16:creationId xmlns:a16="http://schemas.microsoft.com/office/drawing/2014/main" id="{100864FA-B246-4F61-9DBD-74199DDFEE5A}"/>
                </a:ext>
              </a:extLst>
            </p:cNvPr>
            <p:cNvSpPr/>
            <p:nvPr userDrawn="1"/>
          </p:nvSpPr>
          <p:spPr>
            <a:xfrm>
              <a:off x="12494665"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223" name="Picture 3">
              <a:extLst>
                <a:ext uri="{FF2B5EF4-FFF2-40B4-BE49-F238E27FC236}">
                  <a16:creationId xmlns:a16="http://schemas.microsoft.com/office/drawing/2014/main" id="{2BCCC0A0-17C8-4280-B238-1D4AE92B989D}"/>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2535130"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24" name="Picture 3">
              <a:extLst>
                <a:ext uri="{FF2B5EF4-FFF2-40B4-BE49-F238E27FC236}">
                  <a16:creationId xmlns:a16="http://schemas.microsoft.com/office/drawing/2014/main" id="{520F8CE4-6433-412D-A3EC-CB63F012D0A3}"/>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2604588"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25" name="Tekstvak 224">
              <a:extLst>
                <a:ext uri="{FF2B5EF4-FFF2-40B4-BE49-F238E27FC236}">
                  <a16:creationId xmlns:a16="http://schemas.microsoft.com/office/drawing/2014/main" id="{A7ABA664-737F-47E3-9F51-3F584DE5F729}"/>
                </a:ext>
              </a:extLst>
            </p:cNvPr>
            <p:cNvSpPr txBox="1"/>
            <p:nvPr userDrawn="1"/>
          </p:nvSpPr>
          <p:spPr>
            <a:xfrm>
              <a:off x="12560359" y="4020160"/>
              <a:ext cx="88636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outerShdw blurRad="25400" algn="ctr" rotWithShape="0">
                      <a:prstClr val="white"/>
                    </a:outerShdw>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outerShdw blurRad="25400" algn="ctr" rotWithShape="0">
                    <a:prstClr val="white"/>
                  </a:outerShdw>
                </a:effectLst>
                <a:uLnTx/>
                <a:uFillTx/>
                <a:latin typeface="+mj-lt"/>
              </a:endParaRPr>
            </a:p>
          </p:txBody>
        </p:sp>
        <p:sp>
          <p:nvSpPr>
            <p:cNvPr id="226" name="Rechthoek 225">
              <a:extLst>
                <a:ext uri="{FF2B5EF4-FFF2-40B4-BE49-F238E27FC236}">
                  <a16:creationId xmlns:a16="http://schemas.microsoft.com/office/drawing/2014/main" id="{BA34FCDB-D3D7-4749-A7B9-6EA2105C9F9B}"/>
                </a:ext>
              </a:extLst>
            </p:cNvPr>
            <p:cNvSpPr/>
            <p:nvPr userDrawn="1"/>
          </p:nvSpPr>
          <p:spPr>
            <a:xfrm>
              <a:off x="12363871"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GRAFIEK INVOEGEN</a:t>
              </a:r>
            </a:p>
          </p:txBody>
        </p:sp>
        <p:cxnSp>
          <p:nvCxnSpPr>
            <p:cNvPr id="227" name="Rechte verbindingslijn 226">
              <a:extLst>
                <a:ext uri="{FF2B5EF4-FFF2-40B4-BE49-F238E27FC236}">
                  <a16:creationId xmlns:a16="http://schemas.microsoft.com/office/drawing/2014/main" id="{784FEC91-7B23-4C14-9149-221D6F171B6C}"/>
                </a:ext>
              </a:extLst>
            </p:cNvPr>
            <p:cNvCxnSpPr/>
            <p:nvPr userDrawn="1"/>
          </p:nvCxnSpPr>
          <p:spPr>
            <a:xfrm>
              <a:off x="12507575" y="33168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8" name="Rechte verbindingslijn 227">
              <a:extLst>
                <a:ext uri="{FF2B5EF4-FFF2-40B4-BE49-F238E27FC236}">
                  <a16:creationId xmlns:a16="http://schemas.microsoft.com/office/drawing/2014/main" id="{E149FD21-A7D1-49C0-95A7-DAE11195FA91}"/>
                </a:ext>
              </a:extLst>
            </p:cNvPr>
            <p:cNvCxnSpPr/>
            <p:nvPr userDrawn="1"/>
          </p:nvCxnSpPr>
          <p:spPr>
            <a:xfrm>
              <a:off x="12507211" y="253760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9" name="Rechte verbindingslijn 228">
              <a:extLst>
                <a:ext uri="{FF2B5EF4-FFF2-40B4-BE49-F238E27FC236}">
                  <a16:creationId xmlns:a16="http://schemas.microsoft.com/office/drawing/2014/main" id="{6FEF742D-4430-4787-89D1-D1EECAEFF491}"/>
                </a:ext>
              </a:extLst>
            </p:cNvPr>
            <p:cNvCxnSpPr/>
            <p:nvPr userDrawn="1"/>
          </p:nvCxnSpPr>
          <p:spPr>
            <a:xfrm>
              <a:off x="12507575" y="4423040"/>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0" name="Rechte verbindingslijn 229">
              <a:extLst>
                <a:ext uri="{FF2B5EF4-FFF2-40B4-BE49-F238E27FC236}">
                  <a16:creationId xmlns:a16="http://schemas.microsoft.com/office/drawing/2014/main" id="{0E6B1B4B-A821-4F4D-BE4B-B06D7909D5F0}"/>
                </a:ext>
              </a:extLst>
            </p:cNvPr>
            <p:cNvCxnSpPr/>
            <p:nvPr userDrawn="1"/>
          </p:nvCxnSpPr>
          <p:spPr>
            <a:xfrm>
              <a:off x="12507575" y="6838695"/>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1" name="Rechte verbindingslijn 230">
              <a:extLst>
                <a:ext uri="{FF2B5EF4-FFF2-40B4-BE49-F238E27FC236}">
                  <a16:creationId xmlns:a16="http://schemas.microsoft.com/office/drawing/2014/main" id="{3D37CDAB-69D4-4F16-9290-328793381B63}"/>
                </a:ext>
              </a:extLst>
            </p:cNvPr>
            <p:cNvCxnSpPr/>
            <p:nvPr userDrawn="1"/>
          </p:nvCxnSpPr>
          <p:spPr>
            <a:xfrm>
              <a:off x="12507211" y="4898666"/>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32" name="Groep 231">
              <a:extLst>
                <a:ext uri="{FF2B5EF4-FFF2-40B4-BE49-F238E27FC236}">
                  <a16:creationId xmlns:a16="http://schemas.microsoft.com/office/drawing/2014/main" id="{4571CD52-A5AA-4603-A1D1-3138456DC789}"/>
                </a:ext>
              </a:extLst>
            </p:cNvPr>
            <p:cNvGrpSpPr/>
            <p:nvPr userDrawn="1"/>
          </p:nvGrpSpPr>
          <p:grpSpPr>
            <a:xfrm>
              <a:off x="12436353" y="1728359"/>
              <a:ext cx="689983" cy="573048"/>
              <a:chOff x="15171969" y="1587338"/>
              <a:chExt cx="755407" cy="627385"/>
            </a:xfrm>
          </p:grpSpPr>
          <p:sp>
            <p:nvSpPr>
              <p:cNvPr id="271" name="Rechthoek 962">
                <a:extLst>
                  <a:ext uri="{FF2B5EF4-FFF2-40B4-BE49-F238E27FC236}">
                    <a16:creationId xmlns:a16="http://schemas.microsoft.com/office/drawing/2014/main" id="{6F4BCEED-EB2A-47FB-AB92-33826760A802}"/>
                  </a:ext>
                </a:extLst>
              </p:cNvPr>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272" name="Groep 271">
                <a:extLst>
                  <a:ext uri="{FF2B5EF4-FFF2-40B4-BE49-F238E27FC236}">
                    <a16:creationId xmlns:a16="http://schemas.microsoft.com/office/drawing/2014/main" id="{37FB271C-BE2A-420C-9E3F-8636D57E379A}"/>
                  </a:ext>
                </a:extLst>
              </p:cNvPr>
              <p:cNvGrpSpPr/>
              <p:nvPr userDrawn="1"/>
            </p:nvGrpSpPr>
            <p:grpSpPr>
              <a:xfrm>
                <a:off x="15281106" y="1587338"/>
                <a:ext cx="511775" cy="560304"/>
                <a:chOff x="10604642" y="969717"/>
                <a:chExt cx="1290643" cy="1427163"/>
              </a:xfrm>
            </p:grpSpPr>
            <p:grpSp>
              <p:nvGrpSpPr>
                <p:cNvPr id="273" name="Group 879">
                  <a:extLst>
                    <a:ext uri="{FF2B5EF4-FFF2-40B4-BE49-F238E27FC236}">
                      <a16:creationId xmlns:a16="http://schemas.microsoft.com/office/drawing/2014/main" id="{C033FA24-90B1-4CD9-BDDF-6C7D51526448}"/>
                    </a:ext>
                  </a:extLst>
                </p:cNvPr>
                <p:cNvGrpSpPr>
                  <a:grpSpLocks noChangeAspect="1"/>
                </p:cNvGrpSpPr>
                <p:nvPr userDrawn="1"/>
              </p:nvGrpSpPr>
              <p:grpSpPr bwMode="auto">
                <a:xfrm>
                  <a:off x="10604642" y="969717"/>
                  <a:ext cx="1290643" cy="1427163"/>
                  <a:chOff x="4798" y="1515"/>
                  <a:chExt cx="813" cy="899"/>
                </a:xfrm>
              </p:grpSpPr>
              <p:sp>
                <p:nvSpPr>
                  <p:cNvPr id="275" name="Freeform 886">
                    <a:extLst>
                      <a:ext uri="{FF2B5EF4-FFF2-40B4-BE49-F238E27FC236}">
                        <a16:creationId xmlns:a16="http://schemas.microsoft.com/office/drawing/2014/main" id="{619FA1D6-1262-4F5A-B705-3C7A2651BDDE}"/>
                      </a:ext>
                    </a:extLst>
                  </p:cNvPr>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76" name="Rectangle 880">
                    <a:extLst>
                      <a:ext uri="{FF2B5EF4-FFF2-40B4-BE49-F238E27FC236}">
                        <a16:creationId xmlns:a16="http://schemas.microsoft.com/office/drawing/2014/main" id="{F1F208BA-27F5-4668-A51F-61F4F6F16CE6}"/>
                      </a:ext>
                    </a:extLst>
                  </p:cNvPr>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77" name="Rectangle 881">
                    <a:extLst>
                      <a:ext uri="{FF2B5EF4-FFF2-40B4-BE49-F238E27FC236}">
                        <a16:creationId xmlns:a16="http://schemas.microsoft.com/office/drawing/2014/main" id="{5ED160C6-CBF2-4E09-BBA6-C1F8BD52C1B0}"/>
                      </a:ext>
                    </a:extLst>
                  </p:cNvPr>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78" name="Freeform 882">
                    <a:extLst>
                      <a:ext uri="{FF2B5EF4-FFF2-40B4-BE49-F238E27FC236}">
                        <a16:creationId xmlns:a16="http://schemas.microsoft.com/office/drawing/2014/main" id="{674E26B1-4B56-44F3-8D0A-77209578731B}"/>
                      </a:ext>
                    </a:extLst>
                  </p:cNvPr>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79" name="Freeform 883">
                    <a:extLst>
                      <a:ext uri="{FF2B5EF4-FFF2-40B4-BE49-F238E27FC236}">
                        <a16:creationId xmlns:a16="http://schemas.microsoft.com/office/drawing/2014/main" id="{4ED0DA8E-47D2-439D-AEB9-C999C934D8E0}"/>
                      </a:ext>
                    </a:extLst>
                  </p:cNvPr>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80" name="Freeform 884">
                    <a:extLst>
                      <a:ext uri="{FF2B5EF4-FFF2-40B4-BE49-F238E27FC236}">
                        <a16:creationId xmlns:a16="http://schemas.microsoft.com/office/drawing/2014/main" id="{8D4F4AAB-575D-4A2C-AAD4-8144E76F49D5}"/>
                      </a:ext>
                    </a:extLst>
                  </p:cNvPr>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81" name="Rectangle 885">
                    <a:extLst>
                      <a:ext uri="{FF2B5EF4-FFF2-40B4-BE49-F238E27FC236}">
                        <a16:creationId xmlns:a16="http://schemas.microsoft.com/office/drawing/2014/main" id="{9D375741-997E-47FD-8A17-CFE89181A723}"/>
                      </a:ext>
                    </a:extLst>
                  </p:cNvPr>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82" name="Rectangle 887">
                    <a:extLst>
                      <a:ext uri="{FF2B5EF4-FFF2-40B4-BE49-F238E27FC236}">
                        <a16:creationId xmlns:a16="http://schemas.microsoft.com/office/drawing/2014/main" id="{F91103CE-E35B-4200-B687-E7D5334B29A8}"/>
                      </a:ext>
                    </a:extLst>
                  </p:cNvPr>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83" name="Freeform 888">
                    <a:extLst>
                      <a:ext uri="{FF2B5EF4-FFF2-40B4-BE49-F238E27FC236}">
                        <a16:creationId xmlns:a16="http://schemas.microsoft.com/office/drawing/2014/main" id="{AD116082-A105-4F25-8D40-AE3A7FBC2246}"/>
                      </a:ext>
                    </a:extLst>
                  </p:cNvPr>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274" name="Vrije vorm 84">
                  <a:extLst>
                    <a:ext uri="{FF2B5EF4-FFF2-40B4-BE49-F238E27FC236}">
                      <a16:creationId xmlns:a16="http://schemas.microsoft.com/office/drawing/2014/main" id="{469AA1CA-CD96-4596-8021-8477B3984C6C}"/>
                    </a:ext>
                  </a:extLst>
                </p:cNvPr>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233" name="Groep 232">
              <a:extLst>
                <a:ext uri="{FF2B5EF4-FFF2-40B4-BE49-F238E27FC236}">
                  <a16:creationId xmlns:a16="http://schemas.microsoft.com/office/drawing/2014/main" id="{6294D34B-E12A-4A05-BA80-D31D30F75C1C}"/>
                </a:ext>
              </a:extLst>
            </p:cNvPr>
            <p:cNvGrpSpPr/>
            <p:nvPr userDrawn="1"/>
          </p:nvGrpSpPr>
          <p:grpSpPr>
            <a:xfrm>
              <a:off x="12548778" y="6003628"/>
              <a:ext cx="1980859" cy="542924"/>
              <a:chOff x="12390702" y="6054428"/>
              <a:chExt cx="1980859" cy="542924"/>
            </a:xfrm>
          </p:grpSpPr>
          <p:sp>
            <p:nvSpPr>
              <p:cNvPr id="237" name="Rechthoek 236">
                <a:extLst>
                  <a:ext uri="{FF2B5EF4-FFF2-40B4-BE49-F238E27FC236}">
                    <a16:creationId xmlns:a16="http://schemas.microsoft.com/office/drawing/2014/main" id="{B74A74DA-E038-4807-A364-581866B63383}"/>
                  </a:ext>
                </a:extLst>
              </p:cNvPr>
              <p:cNvSpPr/>
              <p:nvPr/>
            </p:nvSpPr>
            <p:spPr>
              <a:xfrm>
                <a:off x="12402284" y="6054428"/>
                <a:ext cx="1969277" cy="542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238" name="Rechthoek 237">
                <a:extLst>
                  <a:ext uri="{FF2B5EF4-FFF2-40B4-BE49-F238E27FC236}">
                    <a16:creationId xmlns:a16="http://schemas.microsoft.com/office/drawing/2014/main" id="{4292D501-C2EE-4CEE-9ABC-971CA83B17D6}"/>
                  </a:ext>
                </a:extLst>
              </p:cNvPr>
              <p:cNvSpPr/>
              <p:nvPr/>
            </p:nvSpPr>
            <p:spPr>
              <a:xfrm>
                <a:off x="12662053" y="6062530"/>
                <a:ext cx="1452642" cy="261610"/>
              </a:xfrm>
              <a:prstGeom prst="rect">
                <a:avLst/>
              </a:prstGeom>
            </p:spPr>
            <p:txBody>
              <a:bodyPr wrap="none">
                <a:spAutoFit/>
              </a:bodyPr>
              <a:lstStyle/>
              <a:p>
                <a:r>
                  <a:rPr lang="en-US" sz="1100" dirty="0">
                    <a:latin typeface="+mn-lt"/>
                    <a:ea typeface="Adobe Heiti Std R" panose="020B0400000000000000" pitchFamily="34" charset="-128"/>
                    <a:cs typeface="Segoe UI Light" panose="020B0502040204020203" pitchFamily="34" charset="0"/>
                  </a:rPr>
                  <a:t>Ander </a:t>
                </a:r>
                <a:r>
                  <a:rPr lang="en-US" sz="1100" dirty="0" err="1">
                    <a:latin typeface="+mn-lt"/>
                    <a:ea typeface="Adobe Heiti Std R" panose="020B0400000000000000" pitchFamily="34" charset="-128"/>
                    <a:cs typeface="Segoe UI Light" panose="020B0502040204020203" pitchFamily="34" charset="0"/>
                  </a:rPr>
                  <a:t>grafiektype</a:t>
                </a:r>
                <a:r>
                  <a:rPr lang="en-US" sz="1100" dirty="0">
                    <a:latin typeface="+mn-lt"/>
                    <a:ea typeface="Adobe Heiti Std R" panose="020B0400000000000000" pitchFamily="34" charset="-128"/>
                    <a:cs typeface="Segoe UI Light" panose="020B0502040204020203" pitchFamily="34" charset="0"/>
                  </a:rPr>
                  <a:t>…</a:t>
                </a:r>
              </a:p>
            </p:txBody>
          </p:sp>
          <p:sp>
            <p:nvSpPr>
              <p:cNvPr id="239" name="Gelijkbenige driehoek 238">
                <a:extLst>
                  <a:ext uri="{FF2B5EF4-FFF2-40B4-BE49-F238E27FC236}">
                    <a16:creationId xmlns:a16="http://schemas.microsoft.com/office/drawing/2014/main" id="{1EC60065-DC1D-4922-9122-BD0C76BE775C}"/>
                  </a:ext>
                </a:extLst>
              </p:cNvPr>
              <p:cNvSpPr/>
              <p:nvPr/>
            </p:nvSpPr>
            <p:spPr>
              <a:xfrm rot="5400000">
                <a:off x="14210471" y="6150144"/>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n-lt"/>
                  <a:ea typeface="Adobe Heiti Std R" panose="020B0400000000000000" pitchFamily="34" charset="-128"/>
                  <a:cs typeface="Segoe UI Light" panose="020B0502040204020203" pitchFamily="34" charset="0"/>
                </a:endParaRPr>
              </a:p>
            </p:txBody>
          </p:sp>
          <p:sp>
            <p:nvSpPr>
              <p:cNvPr id="240" name="Afgeronde rechthoek 50">
                <a:extLst>
                  <a:ext uri="{FF2B5EF4-FFF2-40B4-BE49-F238E27FC236}">
                    <a16:creationId xmlns:a16="http://schemas.microsoft.com/office/drawing/2014/main" id="{098AA805-C175-4CB9-A8BF-F92676B0B571}"/>
                  </a:ext>
                </a:extLst>
              </p:cNvPr>
              <p:cNvSpPr/>
              <p:nvPr/>
            </p:nvSpPr>
            <p:spPr>
              <a:xfrm>
                <a:off x="12390702" y="6322741"/>
                <a:ext cx="1973675" cy="268314"/>
              </a:xfrm>
              <a:prstGeom prst="roundRect">
                <a:avLst/>
              </a:prstGeom>
              <a:gradFill>
                <a:gsLst>
                  <a:gs pos="0">
                    <a:srgbClr val="FFF2BD"/>
                  </a:gs>
                  <a:gs pos="34000">
                    <a:srgbClr val="FFE98B"/>
                  </a:gs>
                  <a:gs pos="78000">
                    <a:srgbClr val="FFF5C9"/>
                  </a:gs>
                  <a:gs pos="59000">
                    <a:srgbClr val="FFE98B"/>
                  </a:gs>
                </a:gsLst>
                <a:lin ang="5400000" scaled="0"/>
              </a:gra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1200" dirty="0" err="1">
                    <a:solidFill>
                      <a:schemeClr val="tx1"/>
                    </a:solidFill>
                    <a:latin typeface="+mn-lt"/>
                    <a:ea typeface="Adobe Heiti Std R" panose="020B0400000000000000" pitchFamily="34" charset="-128"/>
                    <a:cs typeface="Segoe UI Light" panose="020B0502040204020203" pitchFamily="34" charset="0"/>
                  </a:rPr>
                  <a:t>Gegevens</a:t>
                </a:r>
                <a:r>
                  <a:rPr lang="en-US" sz="1200" dirty="0">
                    <a:solidFill>
                      <a:schemeClr val="tx1"/>
                    </a:solidFill>
                    <a:latin typeface="+mn-lt"/>
                    <a:ea typeface="Adobe Heiti Std R" panose="020B0400000000000000" pitchFamily="34" charset="-128"/>
                    <a:cs typeface="Segoe UI Light" panose="020B0502040204020203" pitchFamily="34" charset="0"/>
                  </a:rPr>
                  <a:t> </a:t>
                </a:r>
                <a:r>
                  <a:rPr lang="en-US" sz="1200" dirty="0" err="1">
                    <a:solidFill>
                      <a:schemeClr val="tx1"/>
                    </a:solidFill>
                    <a:latin typeface="+mn-lt"/>
                    <a:ea typeface="Adobe Heiti Std R" panose="020B0400000000000000" pitchFamily="34" charset="-128"/>
                    <a:cs typeface="Segoe UI Light" panose="020B0502040204020203" pitchFamily="34" charset="0"/>
                  </a:rPr>
                  <a:t>bewerken</a:t>
                </a:r>
                <a:r>
                  <a:rPr lang="en-US" sz="1200" dirty="0">
                    <a:solidFill>
                      <a:schemeClr val="tx1"/>
                    </a:solidFill>
                    <a:latin typeface="+mn-lt"/>
                    <a:ea typeface="Adobe Heiti Std R" panose="020B0400000000000000" pitchFamily="34" charset="-128"/>
                    <a:cs typeface="Segoe UI Light" panose="020B0502040204020203" pitchFamily="34" charset="0"/>
                  </a:rPr>
                  <a:t>…</a:t>
                </a:r>
              </a:p>
            </p:txBody>
          </p:sp>
          <p:grpSp>
            <p:nvGrpSpPr>
              <p:cNvPr id="241" name="Groep 240">
                <a:extLst>
                  <a:ext uri="{FF2B5EF4-FFF2-40B4-BE49-F238E27FC236}">
                    <a16:creationId xmlns:a16="http://schemas.microsoft.com/office/drawing/2014/main" id="{415435D2-A04B-4ADD-8AA6-FB8F938D26CE}"/>
                  </a:ext>
                </a:extLst>
              </p:cNvPr>
              <p:cNvGrpSpPr/>
              <p:nvPr/>
            </p:nvGrpSpPr>
            <p:grpSpPr>
              <a:xfrm>
                <a:off x="12461788" y="6100223"/>
                <a:ext cx="204691" cy="170000"/>
                <a:chOff x="15171969" y="1587338"/>
                <a:chExt cx="755407" cy="627385"/>
              </a:xfrm>
            </p:grpSpPr>
            <p:sp>
              <p:nvSpPr>
                <p:cNvPr id="258" name="Rechthoek 962">
                  <a:extLst>
                    <a:ext uri="{FF2B5EF4-FFF2-40B4-BE49-F238E27FC236}">
                      <a16:creationId xmlns:a16="http://schemas.microsoft.com/office/drawing/2014/main" id="{80C96942-0654-49D5-926F-BF5A9E9EF522}"/>
                    </a:ext>
                  </a:extLst>
                </p:cNvPr>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259" name="Groep 258">
                  <a:extLst>
                    <a:ext uri="{FF2B5EF4-FFF2-40B4-BE49-F238E27FC236}">
                      <a16:creationId xmlns:a16="http://schemas.microsoft.com/office/drawing/2014/main" id="{53D60B92-8FE3-47C3-B0D2-4308BFF6EC56}"/>
                    </a:ext>
                  </a:extLst>
                </p:cNvPr>
                <p:cNvGrpSpPr/>
                <p:nvPr userDrawn="1"/>
              </p:nvGrpSpPr>
              <p:grpSpPr>
                <a:xfrm>
                  <a:off x="15281106" y="1587338"/>
                  <a:ext cx="511775" cy="560304"/>
                  <a:chOff x="10604642" y="969717"/>
                  <a:chExt cx="1290643" cy="1427163"/>
                </a:xfrm>
              </p:grpSpPr>
              <p:grpSp>
                <p:nvGrpSpPr>
                  <p:cNvPr id="260" name="Group 879">
                    <a:extLst>
                      <a:ext uri="{FF2B5EF4-FFF2-40B4-BE49-F238E27FC236}">
                        <a16:creationId xmlns:a16="http://schemas.microsoft.com/office/drawing/2014/main" id="{74CB0B7F-DC4A-4805-8E4C-E8BC33F0C161}"/>
                      </a:ext>
                    </a:extLst>
                  </p:cNvPr>
                  <p:cNvGrpSpPr>
                    <a:grpSpLocks noChangeAspect="1"/>
                  </p:cNvGrpSpPr>
                  <p:nvPr userDrawn="1"/>
                </p:nvGrpSpPr>
                <p:grpSpPr bwMode="auto">
                  <a:xfrm>
                    <a:off x="10604642" y="969717"/>
                    <a:ext cx="1290643" cy="1427163"/>
                    <a:chOff x="4798" y="1515"/>
                    <a:chExt cx="813" cy="899"/>
                  </a:xfrm>
                </p:grpSpPr>
                <p:sp>
                  <p:nvSpPr>
                    <p:cNvPr id="262" name="Freeform 886">
                      <a:extLst>
                        <a:ext uri="{FF2B5EF4-FFF2-40B4-BE49-F238E27FC236}">
                          <a16:creationId xmlns:a16="http://schemas.microsoft.com/office/drawing/2014/main" id="{58DCEFD5-E63F-4AF9-AFE7-71697A788607}"/>
                        </a:ext>
                      </a:extLst>
                    </p:cNvPr>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3" name="Rectangle 880">
                      <a:extLst>
                        <a:ext uri="{FF2B5EF4-FFF2-40B4-BE49-F238E27FC236}">
                          <a16:creationId xmlns:a16="http://schemas.microsoft.com/office/drawing/2014/main" id="{607AE5B2-F021-4F0A-A22B-865FDC1AF1F7}"/>
                        </a:ext>
                      </a:extLst>
                    </p:cNvPr>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4" name="Rectangle 881">
                      <a:extLst>
                        <a:ext uri="{FF2B5EF4-FFF2-40B4-BE49-F238E27FC236}">
                          <a16:creationId xmlns:a16="http://schemas.microsoft.com/office/drawing/2014/main" id="{5E8FA429-CD72-4F97-9168-90AF3E0071B9}"/>
                        </a:ext>
                      </a:extLst>
                    </p:cNvPr>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5" name="Freeform 882">
                      <a:extLst>
                        <a:ext uri="{FF2B5EF4-FFF2-40B4-BE49-F238E27FC236}">
                          <a16:creationId xmlns:a16="http://schemas.microsoft.com/office/drawing/2014/main" id="{5A72315C-D9EC-44E6-897C-83F1A8935714}"/>
                        </a:ext>
                      </a:extLst>
                    </p:cNvPr>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6" name="Freeform 883">
                      <a:extLst>
                        <a:ext uri="{FF2B5EF4-FFF2-40B4-BE49-F238E27FC236}">
                          <a16:creationId xmlns:a16="http://schemas.microsoft.com/office/drawing/2014/main" id="{A7FACE2C-89E7-4A54-80EB-6672F9F7CA4E}"/>
                        </a:ext>
                      </a:extLst>
                    </p:cNvPr>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7" name="Freeform 884">
                      <a:extLst>
                        <a:ext uri="{FF2B5EF4-FFF2-40B4-BE49-F238E27FC236}">
                          <a16:creationId xmlns:a16="http://schemas.microsoft.com/office/drawing/2014/main" id="{3DF6E8FA-4187-446E-BFDC-16EBAE46D0E6}"/>
                        </a:ext>
                      </a:extLst>
                    </p:cNvPr>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8" name="Rectangle 885">
                      <a:extLst>
                        <a:ext uri="{FF2B5EF4-FFF2-40B4-BE49-F238E27FC236}">
                          <a16:creationId xmlns:a16="http://schemas.microsoft.com/office/drawing/2014/main" id="{884D3C90-4D0B-4873-9BC4-2A5B5F9C5BB6}"/>
                        </a:ext>
                      </a:extLst>
                    </p:cNvPr>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9" name="Rectangle 887">
                      <a:extLst>
                        <a:ext uri="{FF2B5EF4-FFF2-40B4-BE49-F238E27FC236}">
                          <a16:creationId xmlns:a16="http://schemas.microsoft.com/office/drawing/2014/main" id="{6AA79905-CF02-4911-956B-4171026F5277}"/>
                        </a:ext>
                      </a:extLst>
                    </p:cNvPr>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70" name="Freeform 888">
                      <a:extLst>
                        <a:ext uri="{FF2B5EF4-FFF2-40B4-BE49-F238E27FC236}">
                          <a16:creationId xmlns:a16="http://schemas.microsoft.com/office/drawing/2014/main" id="{A94794FE-8161-47C1-A784-E85E4EBBEA6E}"/>
                        </a:ext>
                      </a:extLst>
                    </p:cNvPr>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261" name="Vrije vorm 71">
                    <a:extLst>
                      <a:ext uri="{FF2B5EF4-FFF2-40B4-BE49-F238E27FC236}">
                        <a16:creationId xmlns:a16="http://schemas.microsoft.com/office/drawing/2014/main" id="{64095302-CDC0-473A-AB79-D49D577D368B}"/>
                      </a:ext>
                    </a:extLst>
                  </p:cNvPr>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242" name="Groep 241">
                <a:extLst>
                  <a:ext uri="{FF2B5EF4-FFF2-40B4-BE49-F238E27FC236}">
                    <a16:creationId xmlns:a16="http://schemas.microsoft.com/office/drawing/2014/main" id="{5E601891-4F99-49C5-B4F9-3BB1AACBE904}"/>
                  </a:ext>
                </a:extLst>
              </p:cNvPr>
              <p:cNvGrpSpPr/>
              <p:nvPr/>
            </p:nvGrpSpPr>
            <p:grpSpPr>
              <a:xfrm>
                <a:off x="12468521" y="6356844"/>
                <a:ext cx="133446" cy="114786"/>
                <a:chOff x="14587469" y="6356844"/>
                <a:chExt cx="133446" cy="114786"/>
              </a:xfrm>
            </p:grpSpPr>
            <p:sp>
              <p:nvSpPr>
                <p:cNvPr id="248" name="Rectangle 6">
                  <a:extLst>
                    <a:ext uri="{FF2B5EF4-FFF2-40B4-BE49-F238E27FC236}">
                      <a16:creationId xmlns:a16="http://schemas.microsoft.com/office/drawing/2014/main" id="{A2C79575-5F73-4A6C-BD14-73C6A05F5BAD}"/>
                    </a:ext>
                  </a:extLst>
                </p:cNvPr>
                <p:cNvSpPr>
                  <a:spLocks noChangeArrowheads="1"/>
                </p:cNvSpPr>
                <p:nvPr userDrawn="1"/>
              </p:nvSpPr>
              <p:spPr bwMode="auto">
                <a:xfrm>
                  <a:off x="14588703" y="6379233"/>
                  <a:ext cx="130780" cy="91699"/>
                </a:xfrm>
                <a:prstGeom prst="rect">
                  <a:avLst/>
                </a:prstGeom>
                <a:solidFill>
                  <a:srgbClr val="F2FAFF"/>
                </a:solidFill>
                <a:ln w="0">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249" name="Rectangle 15">
                  <a:extLst>
                    <a:ext uri="{FF2B5EF4-FFF2-40B4-BE49-F238E27FC236}">
                      <a16:creationId xmlns:a16="http://schemas.microsoft.com/office/drawing/2014/main" id="{2835FD5B-10B7-4540-9DF9-B406114453D2}"/>
                    </a:ext>
                  </a:extLst>
                </p:cNvPr>
                <p:cNvSpPr>
                  <a:spLocks noChangeArrowheads="1"/>
                </p:cNvSpPr>
                <p:nvPr userDrawn="1"/>
              </p:nvSpPr>
              <p:spPr bwMode="auto">
                <a:xfrm>
                  <a:off x="14587469" y="6423761"/>
                  <a:ext cx="131076" cy="1446"/>
                </a:xfrm>
                <a:prstGeom prst="rect">
                  <a:avLst/>
                </a:prstGeom>
                <a:gradFill flip="none" rotWithShape="1">
                  <a:gsLst>
                    <a:gs pos="20000">
                      <a:srgbClr val="0039AC"/>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250" name="Freeform 14">
                  <a:extLst>
                    <a:ext uri="{FF2B5EF4-FFF2-40B4-BE49-F238E27FC236}">
                      <a16:creationId xmlns:a16="http://schemas.microsoft.com/office/drawing/2014/main" id="{7487E8A6-04EC-4CC8-A14A-599BC9BD9A8E}"/>
                    </a:ext>
                  </a:extLst>
                </p:cNvPr>
                <p:cNvSpPr>
                  <a:spLocks noEditPoints="1"/>
                </p:cNvSpPr>
                <p:nvPr userDrawn="1"/>
              </p:nvSpPr>
              <p:spPr bwMode="auto">
                <a:xfrm>
                  <a:off x="14588901" y="6356844"/>
                  <a:ext cx="132014" cy="114786"/>
                </a:xfrm>
                <a:custGeom>
                  <a:avLst/>
                  <a:gdLst>
                    <a:gd name="T0" fmla="*/ 48 w 5347"/>
                    <a:gd name="T1" fmla="*/ 48 h 4605"/>
                    <a:gd name="T2" fmla="*/ 48 w 5347"/>
                    <a:gd name="T3" fmla="*/ 4557 h 4605"/>
                    <a:gd name="T4" fmla="*/ 5299 w 5347"/>
                    <a:gd name="T5" fmla="*/ 4557 h 4605"/>
                    <a:gd name="T6" fmla="*/ 5299 w 5347"/>
                    <a:gd name="T7" fmla="*/ 48 h 4605"/>
                    <a:gd name="T8" fmla="*/ 48 w 5347"/>
                    <a:gd name="T9" fmla="*/ 48 h 4605"/>
                    <a:gd name="T10" fmla="*/ 0 w 5347"/>
                    <a:gd name="T11" fmla="*/ 0 h 4605"/>
                    <a:gd name="T12" fmla="*/ 5347 w 5347"/>
                    <a:gd name="T13" fmla="*/ 0 h 4605"/>
                    <a:gd name="T14" fmla="*/ 5347 w 5347"/>
                    <a:gd name="T15" fmla="*/ 4605 h 4605"/>
                    <a:gd name="T16" fmla="*/ 0 w 5347"/>
                    <a:gd name="T17" fmla="*/ 4605 h 4605"/>
                    <a:gd name="T18" fmla="*/ 0 w 5347"/>
                    <a:gd name="T19" fmla="*/ 0 h 4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7" h="4605">
                      <a:moveTo>
                        <a:pt x="48" y="48"/>
                      </a:moveTo>
                      <a:lnTo>
                        <a:pt x="48" y="4557"/>
                      </a:lnTo>
                      <a:lnTo>
                        <a:pt x="5299" y="4557"/>
                      </a:lnTo>
                      <a:lnTo>
                        <a:pt x="5299" y="48"/>
                      </a:lnTo>
                      <a:lnTo>
                        <a:pt x="48" y="48"/>
                      </a:lnTo>
                      <a:close/>
                      <a:moveTo>
                        <a:pt x="0" y="0"/>
                      </a:moveTo>
                      <a:lnTo>
                        <a:pt x="5347" y="0"/>
                      </a:lnTo>
                      <a:lnTo>
                        <a:pt x="5347" y="4605"/>
                      </a:lnTo>
                      <a:lnTo>
                        <a:pt x="0" y="4605"/>
                      </a:lnTo>
                      <a:lnTo>
                        <a:pt x="0" y="0"/>
                      </a:lnTo>
                      <a:close/>
                    </a:path>
                  </a:pathLst>
                </a:custGeom>
                <a:solidFill>
                  <a:srgbClr val="2E5D8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cxnSp>
              <p:nvCxnSpPr>
                <p:cNvPr id="251" name="Rechte verbindingslijn 250">
                  <a:extLst>
                    <a:ext uri="{FF2B5EF4-FFF2-40B4-BE49-F238E27FC236}">
                      <a16:creationId xmlns:a16="http://schemas.microsoft.com/office/drawing/2014/main" id="{E2B9C059-76C4-42AE-BF7A-38D12FBAD4D0}"/>
                    </a:ext>
                  </a:extLst>
                </p:cNvPr>
                <p:cNvCxnSpPr/>
                <p:nvPr userDrawn="1"/>
              </p:nvCxnSpPr>
              <p:spPr>
                <a:xfrm flipH="1">
                  <a:off x="14654334" y="6382168"/>
                  <a:ext cx="162"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2" name="Rechte verbindingslijn 251">
                  <a:extLst>
                    <a:ext uri="{FF2B5EF4-FFF2-40B4-BE49-F238E27FC236}">
                      <a16:creationId xmlns:a16="http://schemas.microsoft.com/office/drawing/2014/main" id="{3F40CD88-8162-4C23-A974-AC264E14D506}"/>
                    </a:ext>
                  </a:extLst>
                </p:cNvPr>
                <p:cNvCxnSpPr/>
                <p:nvPr userDrawn="1"/>
              </p:nvCxnSpPr>
              <p:spPr>
                <a:xfrm>
                  <a:off x="14689188" y="6382168"/>
                  <a:ext cx="0"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3" name="Rechte verbindingslijn 252">
                  <a:extLst>
                    <a:ext uri="{FF2B5EF4-FFF2-40B4-BE49-F238E27FC236}">
                      <a16:creationId xmlns:a16="http://schemas.microsoft.com/office/drawing/2014/main" id="{D874DFBD-E7CB-4B9E-B7AA-CD0B325E9394}"/>
                    </a:ext>
                  </a:extLst>
                </p:cNvPr>
                <p:cNvCxnSpPr/>
                <p:nvPr userDrawn="1"/>
              </p:nvCxnSpPr>
              <p:spPr>
                <a:xfrm>
                  <a:off x="14619892" y="6382040"/>
                  <a:ext cx="0" cy="8577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4" name="Rechte verbindingslijn 253">
                  <a:extLst>
                    <a:ext uri="{FF2B5EF4-FFF2-40B4-BE49-F238E27FC236}">
                      <a16:creationId xmlns:a16="http://schemas.microsoft.com/office/drawing/2014/main" id="{E7F72897-3D4D-4214-95B7-28EF87F40B4E}"/>
                    </a:ext>
                  </a:extLst>
                </p:cNvPr>
                <p:cNvCxnSpPr/>
                <p:nvPr userDrawn="1"/>
              </p:nvCxnSpPr>
              <p:spPr>
                <a:xfrm flipH="1">
                  <a:off x="14593115" y="6400164"/>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5" name="Rechte verbindingslijn 254">
                  <a:extLst>
                    <a:ext uri="{FF2B5EF4-FFF2-40B4-BE49-F238E27FC236}">
                      <a16:creationId xmlns:a16="http://schemas.microsoft.com/office/drawing/2014/main" id="{78C2F3FC-7591-4AFD-9104-BB308AB7F58C}"/>
                    </a:ext>
                  </a:extLst>
                </p:cNvPr>
                <p:cNvCxnSpPr/>
                <p:nvPr userDrawn="1"/>
              </p:nvCxnSpPr>
              <p:spPr>
                <a:xfrm flipH="1">
                  <a:off x="14593115" y="6423860"/>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6" name="Rechte verbindingslijn 255">
                  <a:extLst>
                    <a:ext uri="{FF2B5EF4-FFF2-40B4-BE49-F238E27FC236}">
                      <a16:creationId xmlns:a16="http://schemas.microsoft.com/office/drawing/2014/main" id="{BCAAB8FC-73FA-46A7-BB5B-230814CB6591}"/>
                    </a:ext>
                  </a:extLst>
                </p:cNvPr>
                <p:cNvCxnSpPr/>
                <p:nvPr userDrawn="1"/>
              </p:nvCxnSpPr>
              <p:spPr>
                <a:xfrm flipH="1">
                  <a:off x="14593115" y="6447556"/>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57" name="Rectangle 13">
                  <a:extLst>
                    <a:ext uri="{FF2B5EF4-FFF2-40B4-BE49-F238E27FC236}">
                      <a16:creationId xmlns:a16="http://schemas.microsoft.com/office/drawing/2014/main" id="{D7697778-2488-4C65-AE36-868045258283}"/>
                    </a:ext>
                  </a:extLst>
                </p:cNvPr>
                <p:cNvSpPr>
                  <a:spLocks noChangeArrowheads="1"/>
                </p:cNvSpPr>
                <p:nvPr userDrawn="1"/>
              </p:nvSpPr>
              <p:spPr bwMode="auto">
                <a:xfrm>
                  <a:off x="14590283" y="6359138"/>
                  <a:ext cx="128657" cy="19347"/>
                </a:xfrm>
                <a:prstGeom prst="rect">
                  <a:avLst/>
                </a:prstGeom>
                <a:gradFill flip="none" rotWithShape="1">
                  <a:gsLst>
                    <a:gs pos="0">
                      <a:srgbClr val="1929FF"/>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grpSp>
          <p:grpSp>
            <p:nvGrpSpPr>
              <p:cNvPr id="243" name="Groep 242">
                <a:extLst>
                  <a:ext uri="{FF2B5EF4-FFF2-40B4-BE49-F238E27FC236}">
                    <a16:creationId xmlns:a16="http://schemas.microsoft.com/office/drawing/2014/main" id="{91FDB135-D9FB-4F1A-92EB-BA7BEC9D349B}"/>
                  </a:ext>
                </a:extLst>
              </p:cNvPr>
              <p:cNvGrpSpPr/>
              <p:nvPr/>
            </p:nvGrpSpPr>
            <p:grpSpPr>
              <a:xfrm>
                <a:off x="12529899" y="6421402"/>
                <a:ext cx="97399" cy="97399"/>
                <a:chOff x="14546483" y="5323041"/>
                <a:chExt cx="242460" cy="242460"/>
              </a:xfrm>
            </p:grpSpPr>
            <p:sp>
              <p:nvSpPr>
                <p:cNvPr id="244" name="Rechthoek 243">
                  <a:extLst>
                    <a:ext uri="{FF2B5EF4-FFF2-40B4-BE49-F238E27FC236}">
                      <a16:creationId xmlns:a16="http://schemas.microsoft.com/office/drawing/2014/main" id="{2955F9D3-3BC4-4F2F-A7A0-235B4FBD9E44}"/>
                    </a:ext>
                  </a:extLst>
                </p:cNvPr>
                <p:cNvSpPr/>
                <p:nvPr userDrawn="1"/>
              </p:nvSpPr>
              <p:spPr>
                <a:xfrm>
                  <a:off x="14546483" y="5323041"/>
                  <a:ext cx="242460" cy="242460"/>
                </a:xfrm>
                <a:prstGeom prst="rect">
                  <a:avLst/>
                </a:prstGeom>
                <a:solidFill>
                  <a:schemeClr val="bg1"/>
                </a:solidFill>
                <a:ln w="6350">
                  <a:solidFill>
                    <a:srgbClr val="00A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nvGrpSpPr>
                <p:cNvPr id="245" name="Groep 244">
                  <a:extLst>
                    <a:ext uri="{FF2B5EF4-FFF2-40B4-BE49-F238E27FC236}">
                      <a16:creationId xmlns:a16="http://schemas.microsoft.com/office/drawing/2014/main" id="{A4D3D7CC-B167-492E-969A-2C1C870A0A29}"/>
                    </a:ext>
                  </a:extLst>
                </p:cNvPr>
                <p:cNvGrpSpPr/>
                <p:nvPr/>
              </p:nvGrpSpPr>
              <p:grpSpPr>
                <a:xfrm>
                  <a:off x="14568035" y="5357818"/>
                  <a:ext cx="199836" cy="175226"/>
                  <a:chOff x="14559757" y="5349611"/>
                  <a:chExt cx="216392" cy="191641"/>
                </a:xfrm>
              </p:grpSpPr>
              <p:sp>
                <p:nvSpPr>
                  <p:cNvPr id="246" name="Parallellogram 245">
                    <a:extLst>
                      <a:ext uri="{FF2B5EF4-FFF2-40B4-BE49-F238E27FC236}">
                        <a16:creationId xmlns:a16="http://schemas.microsoft.com/office/drawing/2014/main" id="{B264540E-0300-4ADE-B56F-BC053655D2E7}"/>
                      </a:ext>
                    </a:extLst>
                  </p:cNvPr>
                  <p:cNvSpPr/>
                  <p:nvPr/>
                </p:nvSpPr>
                <p:spPr>
                  <a:xfrm>
                    <a:off x="14559757" y="5369222"/>
                    <a:ext cx="214316" cy="147762"/>
                  </a:xfrm>
                  <a:prstGeom prst="parallelogram">
                    <a:avLst>
                      <a:gd name="adj" fmla="val 93909"/>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247" name="Parallellogram 246">
                    <a:extLst>
                      <a:ext uri="{FF2B5EF4-FFF2-40B4-BE49-F238E27FC236}">
                        <a16:creationId xmlns:a16="http://schemas.microsoft.com/office/drawing/2014/main" id="{3CA4689D-3A29-4DDB-8175-F2BEAA047A5F}"/>
                      </a:ext>
                    </a:extLst>
                  </p:cNvPr>
                  <p:cNvSpPr/>
                  <p:nvPr/>
                </p:nvSpPr>
                <p:spPr>
                  <a:xfrm flipH="1">
                    <a:off x="14561833" y="5349611"/>
                    <a:ext cx="214316" cy="191641"/>
                  </a:xfrm>
                  <a:prstGeom prst="parallelogram">
                    <a:avLst>
                      <a:gd name="adj" fmla="val 68946"/>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grpSp>
        </p:grpSp>
        <p:sp>
          <p:nvSpPr>
            <p:cNvPr id="234" name="Tekstvak 33">
              <a:extLst>
                <a:ext uri="{FF2B5EF4-FFF2-40B4-BE49-F238E27FC236}">
                  <a16:creationId xmlns:a16="http://schemas.microsoft.com/office/drawing/2014/main" id="{BF4E3C7F-ADBC-4EEF-A4F9-9934B037242B}"/>
                </a:ext>
              </a:extLst>
            </p:cNvPr>
            <p:cNvSpPr txBox="1"/>
            <p:nvPr userDrawn="1"/>
          </p:nvSpPr>
          <p:spPr>
            <a:xfrm>
              <a:off x="12537681" y="5123358"/>
              <a:ext cx="2588841" cy="646331"/>
            </a:xfrm>
            <a:prstGeom prst="rect">
              <a:avLst/>
            </a:prstGeom>
            <a:noFill/>
          </p:spPr>
          <p:txBody>
            <a:bodyPr wrap="square" lIns="0" tIns="0" rIns="0" bIns="0" rtlCol="0" anchor="t">
              <a:spAutoFit/>
            </a:bodyPr>
            <a:lstStyle>
              <a:defPPr>
                <a:defRPr lang="nl-NL"/>
              </a:defPPr>
              <a:lvl1pPr marR="0" lvl="0" indent="0" defTabSz="914400" fontAlgn="auto">
                <a:lnSpc>
                  <a:spcPct val="100000"/>
                </a:lnSpc>
                <a:spcBef>
                  <a:spcPts val="0"/>
                </a:spcBef>
                <a:spcAft>
                  <a:spcPts val="0"/>
                </a:spcAft>
                <a:buClrTx/>
                <a:buSzTx/>
                <a:buFontTx/>
                <a:buNone/>
                <a:tabLst/>
                <a:defRPr kumimoji="0" sz="1400" b="0" i="0" u="none" strike="noStrike" kern="0" cap="none" spc="0" normalizeH="0" baseline="0">
                  <a:ln>
                    <a:noFill/>
                  </a:ln>
                  <a:effectLst/>
                  <a:uLnTx/>
                  <a:uFillTx/>
                  <a:latin typeface="Calibri"/>
                  <a:ea typeface="Tahoma" pitchFamily="34" charset="0"/>
                  <a:cs typeface="Arial" pitchFamily="34" charset="0"/>
                </a:defRPr>
              </a:lvl1pPr>
            </a:lstStyle>
            <a:p>
              <a:pPr lvl="0"/>
              <a:r>
                <a:rPr lang="nl-NL" dirty="0">
                  <a:solidFill>
                    <a:schemeClr val="tx2"/>
                  </a:solidFill>
                  <a:latin typeface="+mn-lt"/>
                </a:rPr>
                <a:t>Selecteer de grafiek, klik op de rechter muisknop en kies </a:t>
              </a:r>
              <a:r>
                <a:rPr lang="nl-NL" b="0" dirty="0">
                  <a:solidFill>
                    <a:schemeClr val="tx2"/>
                  </a:solidFill>
                  <a:latin typeface="+mj-lt"/>
                </a:rPr>
                <a:t>‘Gegevens bewerken’</a:t>
              </a:r>
            </a:p>
          </p:txBody>
        </p:sp>
        <p:sp>
          <p:nvSpPr>
            <p:cNvPr id="235" name="Rechthoek 234">
              <a:extLst>
                <a:ext uri="{FF2B5EF4-FFF2-40B4-BE49-F238E27FC236}">
                  <a16:creationId xmlns:a16="http://schemas.microsoft.com/office/drawing/2014/main" id="{D3297F07-476F-4144-9898-3B1B49FC51A4}"/>
                </a:ext>
              </a:extLst>
            </p:cNvPr>
            <p:cNvSpPr/>
            <p:nvPr userDrawn="1"/>
          </p:nvSpPr>
          <p:spPr>
            <a:xfrm>
              <a:off x="12363871" y="4529047"/>
              <a:ext cx="2584447" cy="3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lvl="0"/>
              <a:r>
                <a:rPr lang="nl-NL" sz="1600" b="0" dirty="0">
                  <a:solidFill>
                    <a:schemeClr val="tx2"/>
                  </a:solidFill>
                  <a:latin typeface="+mj-lt"/>
                </a:rPr>
                <a:t>GRAFIEK BEWERKEN</a:t>
              </a:r>
            </a:p>
          </p:txBody>
        </p:sp>
        <p:pic>
          <p:nvPicPr>
            <p:cNvPr id="236" name="Picture 3">
              <a:extLst>
                <a:ext uri="{FF2B5EF4-FFF2-40B4-BE49-F238E27FC236}">
                  <a16:creationId xmlns:a16="http://schemas.microsoft.com/office/drawing/2014/main" id="{D174C7C2-2FE4-4532-87AF-841377AC2F78}"/>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4262557" y="6394752"/>
              <a:ext cx="158644" cy="256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53" name="Groep 352">
            <a:extLst>
              <a:ext uri="{FF2B5EF4-FFF2-40B4-BE49-F238E27FC236}">
                <a16:creationId xmlns:a16="http://schemas.microsoft.com/office/drawing/2014/main" id="{DE4044AE-64EE-495E-90FB-688BA2AF0D71}"/>
              </a:ext>
            </a:extLst>
          </p:cNvPr>
          <p:cNvGrpSpPr/>
          <p:nvPr userDrawn="1"/>
        </p:nvGrpSpPr>
        <p:grpSpPr>
          <a:xfrm>
            <a:off x="-2973833" y="0"/>
            <a:ext cx="2808312" cy="5805264"/>
            <a:chOff x="-2973833" y="0"/>
            <a:chExt cx="2808312" cy="5805264"/>
          </a:xfrm>
        </p:grpSpPr>
        <p:sp>
          <p:nvSpPr>
            <p:cNvPr id="354" name="Rechthoek 353">
              <a:extLst>
                <a:ext uri="{FF2B5EF4-FFF2-40B4-BE49-F238E27FC236}">
                  <a16:creationId xmlns:a16="http://schemas.microsoft.com/office/drawing/2014/main" id="{B420D42A-976D-40D1-9656-0327E5BF6058}"/>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355" name="Textfield placeholder">
              <a:extLst>
                <a:ext uri="{FF2B5EF4-FFF2-40B4-BE49-F238E27FC236}">
                  <a16:creationId xmlns:a16="http://schemas.microsoft.com/office/drawing/2014/main" id="{44356E7B-7BBC-41EF-AB0F-E135E7EB7D6B}"/>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356" name="Ovaal 355">
              <a:extLst>
                <a:ext uri="{FF2B5EF4-FFF2-40B4-BE49-F238E27FC236}">
                  <a16:creationId xmlns:a16="http://schemas.microsoft.com/office/drawing/2014/main" id="{9026E598-9DAF-4476-A55B-A32C8B36C5BE}"/>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357" name="Ovaal 356">
              <a:extLst>
                <a:ext uri="{FF2B5EF4-FFF2-40B4-BE49-F238E27FC236}">
                  <a16:creationId xmlns:a16="http://schemas.microsoft.com/office/drawing/2014/main" id="{DAB7BA3D-6710-4A1E-A97C-4C887F4C8C78}"/>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358" name="Ovaal 357">
              <a:extLst>
                <a:ext uri="{FF2B5EF4-FFF2-40B4-BE49-F238E27FC236}">
                  <a16:creationId xmlns:a16="http://schemas.microsoft.com/office/drawing/2014/main" id="{D1C4277B-7200-42C7-BF00-E4F36093D447}"/>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359" name="Ovaal 358">
              <a:extLst>
                <a:ext uri="{FF2B5EF4-FFF2-40B4-BE49-F238E27FC236}">
                  <a16:creationId xmlns:a16="http://schemas.microsoft.com/office/drawing/2014/main" id="{C61D4F8F-FF3C-4058-BBAE-035E8A7441D9}"/>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360" name="Textfield placeholder">
              <a:extLst>
                <a:ext uri="{FF2B5EF4-FFF2-40B4-BE49-F238E27FC236}">
                  <a16:creationId xmlns:a16="http://schemas.microsoft.com/office/drawing/2014/main" id="{1A187A43-B355-47C0-9ECE-D9C88187A641}"/>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361" name="Textfield placeholder">
              <a:extLst>
                <a:ext uri="{FF2B5EF4-FFF2-40B4-BE49-F238E27FC236}">
                  <a16:creationId xmlns:a16="http://schemas.microsoft.com/office/drawing/2014/main" id="{A7C43770-F372-4571-AF68-6D991FB81EDB}"/>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362" name="Textfield placeholder">
              <a:extLst>
                <a:ext uri="{FF2B5EF4-FFF2-40B4-BE49-F238E27FC236}">
                  <a16:creationId xmlns:a16="http://schemas.microsoft.com/office/drawing/2014/main" id="{AD4F3D93-7CCC-4C91-8FD6-33D807092074}"/>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363" name="Rechte verbindingslijn 362">
              <a:extLst>
                <a:ext uri="{FF2B5EF4-FFF2-40B4-BE49-F238E27FC236}">
                  <a16:creationId xmlns:a16="http://schemas.microsoft.com/office/drawing/2014/main" id="{586C3164-8B9E-4228-89D5-01C854E5DFBC}"/>
                </a:ext>
              </a:extLst>
            </p:cNvPr>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4" name="Rechte verbindingslijn 363">
              <a:extLst>
                <a:ext uri="{FF2B5EF4-FFF2-40B4-BE49-F238E27FC236}">
                  <a16:creationId xmlns:a16="http://schemas.microsoft.com/office/drawing/2014/main" id="{B67C8CD7-D77A-4560-BF20-5CD3A83CE6DA}"/>
                </a:ext>
              </a:extLst>
            </p:cNvPr>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5" name="Rechte verbindingslijn 364">
              <a:extLst>
                <a:ext uri="{FF2B5EF4-FFF2-40B4-BE49-F238E27FC236}">
                  <a16:creationId xmlns:a16="http://schemas.microsoft.com/office/drawing/2014/main" id="{A416EB3D-9DD1-42C7-A2A8-8B809F785542}"/>
                </a:ext>
              </a:extLst>
            </p:cNvPr>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366" name="Picture 3">
              <a:extLst>
                <a:ext uri="{FF2B5EF4-FFF2-40B4-BE49-F238E27FC236}">
                  <a16:creationId xmlns:a16="http://schemas.microsoft.com/office/drawing/2014/main" id="{FA7BF4A1-538E-4286-8872-BF0A3C9BD103}"/>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7" name="Picture 4">
              <a:extLst>
                <a:ext uri="{FF2B5EF4-FFF2-40B4-BE49-F238E27FC236}">
                  <a16:creationId xmlns:a16="http://schemas.microsoft.com/office/drawing/2014/main" id="{BBDC7EB3-591D-4421-9CDB-CEBD933E0EE3}"/>
                </a:ext>
              </a:extLst>
            </p:cNvPr>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68" name="Groep 367">
              <a:extLst>
                <a:ext uri="{FF2B5EF4-FFF2-40B4-BE49-F238E27FC236}">
                  <a16:creationId xmlns:a16="http://schemas.microsoft.com/office/drawing/2014/main" id="{2FAFC09F-4812-4487-8EE6-3DF719FA7FF7}"/>
                </a:ext>
              </a:extLst>
            </p:cNvPr>
            <p:cNvGrpSpPr/>
            <p:nvPr userDrawn="1"/>
          </p:nvGrpSpPr>
          <p:grpSpPr>
            <a:xfrm>
              <a:off x="-2098870" y="523279"/>
              <a:ext cx="435437" cy="427699"/>
              <a:chOff x="-1085063" y="758027"/>
              <a:chExt cx="633800" cy="622540"/>
            </a:xfrm>
          </p:grpSpPr>
          <p:sp>
            <p:nvSpPr>
              <p:cNvPr id="409" name="Afgeronde rechthoek 133">
                <a:extLst>
                  <a:ext uri="{FF2B5EF4-FFF2-40B4-BE49-F238E27FC236}">
                    <a16:creationId xmlns:a16="http://schemas.microsoft.com/office/drawing/2014/main" id="{6C0710DE-8523-4C81-B597-29A0031257F6}"/>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410" name="Groep 409">
                <a:extLst>
                  <a:ext uri="{FF2B5EF4-FFF2-40B4-BE49-F238E27FC236}">
                    <a16:creationId xmlns:a16="http://schemas.microsoft.com/office/drawing/2014/main" id="{C489F864-0304-4124-A598-5DE80A1FCC2D}"/>
                  </a:ext>
                </a:extLst>
              </p:cNvPr>
              <p:cNvGrpSpPr/>
              <p:nvPr userDrawn="1"/>
            </p:nvGrpSpPr>
            <p:grpSpPr>
              <a:xfrm>
                <a:off x="-977746" y="864082"/>
                <a:ext cx="419166" cy="410430"/>
                <a:chOff x="6366933" y="309013"/>
                <a:chExt cx="1901295" cy="1861668"/>
              </a:xfrm>
              <a:solidFill>
                <a:schemeClr val="tx1"/>
              </a:solidFill>
            </p:grpSpPr>
            <p:sp>
              <p:nvSpPr>
                <p:cNvPr id="411" name="Rechthoek 410">
                  <a:extLst>
                    <a:ext uri="{FF2B5EF4-FFF2-40B4-BE49-F238E27FC236}">
                      <a16:creationId xmlns:a16="http://schemas.microsoft.com/office/drawing/2014/main" id="{1B7F0B6C-762C-49AA-9F10-44F9AEB41838}"/>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2" name="Rechthoek 411">
                  <a:extLst>
                    <a:ext uri="{FF2B5EF4-FFF2-40B4-BE49-F238E27FC236}">
                      <a16:creationId xmlns:a16="http://schemas.microsoft.com/office/drawing/2014/main" id="{0B1FA537-9221-4DA3-B9A8-459EFB220BE1}"/>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3" name="Rechthoek 412">
                  <a:extLst>
                    <a:ext uri="{FF2B5EF4-FFF2-40B4-BE49-F238E27FC236}">
                      <a16:creationId xmlns:a16="http://schemas.microsoft.com/office/drawing/2014/main" id="{3F50FDE2-D6BF-4581-90C1-A17359D7D48B}"/>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4" name="Rechthoek 413">
                  <a:extLst>
                    <a:ext uri="{FF2B5EF4-FFF2-40B4-BE49-F238E27FC236}">
                      <a16:creationId xmlns:a16="http://schemas.microsoft.com/office/drawing/2014/main" id="{4CE84002-2CCC-42D4-ADDB-640191138278}"/>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5" name="Rechthoek 414">
                  <a:extLst>
                    <a:ext uri="{FF2B5EF4-FFF2-40B4-BE49-F238E27FC236}">
                      <a16:creationId xmlns:a16="http://schemas.microsoft.com/office/drawing/2014/main" id="{848765F4-E675-4AAC-BC36-76D604B8644C}"/>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6" name="Rechthoek 415">
                  <a:extLst>
                    <a:ext uri="{FF2B5EF4-FFF2-40B4-BE49-F238E27FC236}">
                      <a16:creationId xmlns:a16="http://schemas.microsoft.com/office/drawing/2014/main" id="{713E7327-0C3B-4C55-9B46-9EA31866F54F}"/>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7" name="Rechthoek 416">
                  <a:extLst>
                    <a:ext uri="{FF2B5EF4-FFF2-40B4-BE49-F238E27FC236}">
                      <a16:creationId xmlns:a16="http://schemas.microsoft.com/office/drawing/2014/main" id="{AE64B53E-6496-4C38-BC64-1C0BBDB47B3F}"/>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8" name="Rechthoek 417">
                  <a:extLst>
                    <a:ext uri="{FF2B5EF4-FFF2-40B4-BE49-F238E27FC236}">
                      <a16:creationId xmlns:a16="http://schemas.microsoft.com/office/drawing/2014/main" id="{413AD0BA-511E-40B4-B4E6-3A962504D144}"/>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9" name="Rechthoek 418">
                  <a:extLst>
                    <a:ext uri="{FF2B5EF4-FFF2-40B4-BE49-F238E27FC236}">
                      <a16:creationId xmlns:a16="http://schemas.microsoft.com/office/drawing/2014/main" id="{D466F5C1-8F91-4415-868C-C9231F1E4581}"/>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20" name="Rechthoek 419">
                  <a:extLst>
                    <a:ext uri="{FF2B5EF4-FFF2-40B4-BE49-F238E27FC236}">
                      <a16:creationId xmlns:a16="http://schemas.microsoft.com/office/drawing/2014/main" id="{E471C4CC-4D74-460A-A3C4-222C02DE536A}"/>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21" name="Vrije vorm 145">
                  <a:extLst>
                    <a:ext uri="{FF2B5EF4-FFF2-40B4-BE49-F238E27FC236}">
                      <a16:creationId xmlns:a16="http://schemas.microsoft.com/office/drawing/2014/main" id="{DBBFE3C1-2FC5-454A-9159-5CD4A7EBA50D}"/>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369" name="Groep 368">
              <a:extLst>
                <a:ext uri="{FF2B5EF4-FFF2-40B4-BE49-F238E27FC236}">
                  <a16:creationId xmlns:a16="http://schemas.microsoft.com/office/drawing/2014/main" id="{59AC8782-A4AC-4E52-B57C-32168B32FC16}"/>
                </a:ext>
              </a:extLst>
            </p:cNvPr>
            <p:cNvGrpSpPr/>
            <p:nvPr userDrawn="1"/>
          </p:nvGrpSpPr>
          <p:grpSpPr>
            <a:xfrm>
              <a:off x="-2095303" y="1071657"/>
              <a:ext cx="435437" cy="427699"/>
              <a:chOff x="-1845083" y="758027"/>
              <a:chExt cx="633800" cy="622540"/>
            </a:xfrm>
          </p:grpSpPr>
          <p:sp>
            <p:nvSpPr>
              <p:cNvPr id="396" name="Afgeronde rechthoek 120">
                <a:extLst>
                  <a:ext uri="{FF2B5EF4-FFF2-40B4-BE49-F238E27FC236}">
                    <a16:creationId xmlns:a16="http://schemas.microsoft.com/office/drawing/2014/main" id="{439E270A-F632-41C9-B307-7584A3A81034}"/>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397" name="Groep 396">
                <a:extLst>
                  <a:ext uri="{FF2B5EF4-FFF2-40B4-BE49-F238E27FC236}">
                    <a16:creationId xmlns:a16="http://schemas.microsoft.com/office/drawing/2014/main" id="{B804B5F4-B164-4FCC-900D-2FC36DC8BAF0}"/>
                  </a:ext>
                </a:extLst>
              </p:cNvPr>
              <p:cNvGrpSpPr/>
              <p:nvPr userDrawn="1"/>
            </p:nvGrpSpPr>
            <p:grpSpPr>
              <a:xfrm>
                <a:off x="-1737766" y="864082"/>
                <a:ext cx="419166" cy="410430"/>
                <a:chOff x="3708400" y="309013"/>
                <a:chExt cx="1901295" cy="1861668"/>
              </a:xfrm>
              <a:solidFill>
                <a:schemeClr val="tx1"/>
              </a:solidFill>
            </p:grpSpPr>
            <p:sp>
              <p:nvSpPr>
                <p:cNvPr id="398" name="Rechthoek 397">
                  <a:extLst>
                    <a:ext uri="{FF2B5EF4-FFF2-40B4-BE49-F238E27FC236}">
                      <a16:creationId xmlns:a16="http://schemas.microsoft.com/office/drawing/2014/main" id="{39E8FC2B-C743-4A8F-AD99-ED1447850C79}"/>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99" name="Rechthoek 398">
                  <a:extLst>
                    <a:ext uri="{FF2B5EF4-FFF2-40B4-BE49-F238E27FC236}">
                      <a16:creationId xmlns:a16="http://schemas.microsoft.com/office/drawing/2014/main" id="{C0D120C7-F6ED-40EA-BF9E-BC0C4018C94B}"/>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0" name="Rechthoek 399">
                  <a:extLst>
                    <a:ext uri="{FF2B5EF4-FFF2-40B4-BE49-F238E27FC236}">
                      <a16:creationId xmlns:a16="http://schemas.microsoft.com/office/drawing/2014/main" id="{A33A161E-994C-4E66-8706-4FAD71E24878}"/>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1" name="Rechthoek 400">
                  <a:extLst>
                    <a:ext uri="{FF2B5EF4-FFF2-40B4-BE49-F238E27FC236}">
                      <a16:creationId xmlns:a16="http://schemas.microsoft.com/office/drawing/2014/main" id="{A2087ACC-8CAF-464D-9054-437611DDC647}"/>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2" name="Rechthoek 401">
                  <a:extLst>
                    <a:ext uri="{FF2B5EF4-FFF2-40B4-BE49-F238E27FC236}">
                      <a16:creationId xmlns:a16="http://schemas.microsoft.com/office/drawing/2014/main" id="{036635F3-28E2-4AE6-8A8B-B0E7F10AB2FA}"/>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3" name="Rechthoek 402">
                  <a:extLst>
                    <a:ext uri="{FF2B5EF4-FFF2-40B4-BE49-F238E27FC236}">
                      <a16:creationId xmlns:a16="http://schemas.microsoft.com/office/drawing/2014/main" id="{C3CA1F05-876A-4609-8191-6F888A082C1C}"/>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4" name="Rechthoek 403">
                  <a:extLst>
                    <a:ext uri="{FF2B5EF4-FFF2-40B4-BE49-F238E27FC236}">
                      <a16:creationId xmlns:a16="http://schemas.microsoft.com/office/drawing/2014/main" id="{27C0B778-890D-4D6C-80D4-DAAE329DB395}"/>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5" name="Rechthoek 404">
                  <a:extLst>
                    <a:ext uri="{FF2B5EF4-FFF2-40B4-BE49-F238E27FC236}">
                      <a16:creationId xmlns:a16="http://schemas.microsoft.com/office/drawing/2014/main" id="{BC85A391-9B93-4743-B195-BED1BC81BE9B}"/>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6" name="Rechthoek 405">
                  <a:extLst>
                    <a:ext uri="{FF2B5EF4-FFF2-40B4-BE49-F238E27FC236}">
                      <a16:creationId xmlns:a16="http://schemas.microsoft.com/office/drawing/2014/main" id="{5D5A0B76-DD49-4870-A3CB-3326FEEA85CE}"/>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7" name="Rechthoek 406">
                  <a:extLst>
                    <a:ext uri="{FF2B5EF4-FFF2-40B4-BE49-F238E27FC236}">
                      <a16:creationId xmlns:a16="http://schemas.microsoft.com/office/drawing/2014/main" id="{3742E868-A35E-419D-9C6D-48BCE2AFB36B}"/>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8" name="Vrije vorm 132">
                  <a:extLst>
                    <a:ext uri="{FF2B5EF4-FFF2-40B4-BE49-F238E27FC236}">
                      <a16:creationId xmlns:a16="http://schemas.microsoft.com/office/drawing/2014/main" id="{D53B0229-291D-4F09-9B51-49076E8BDC57}"/>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370" name="Rechte verbindingslijn 369">
              <a:extLst>
                <a:ext uri="{FF2B5EF4-FFF2-40B4-BE49-F238E27FC236}">
                  <a16:creationId xmlns:a16="http://schemas.microsoft.com/office/drawing/2014/main" id="{14C8E21F-1C71-45D7-802F-68D978CE2C8E}"/>
                </a:ext>
              </a:extLst>
            </p:cNvPr>
            <p:cNvCxnSpPr>
              <a:stCxn id="372" idx="2"/>
              <a:endCxn id="396"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371" name="Rechte verbindingslijn 370">
              <a:extLst>
                <a:ext uri="{FF2B5EF4-FFF2-40B4-BE49-F238E27FC236}">
                  <a16:creationId xmlns:a16="http://schemas.microsoft.com/office/drawing/2014/main" id="{255494AA-68DB-4CC7-B937-E47FB1A87F22}"/>
                </a:ext>
              </a:extLst>
            </p:cNvPr>
            <p:cNvCxnSpPr>
              <a:stCxn id="373" idx="3"/>
              <a:endCxn id="409"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372" name="Ovaal 371">
              <a:extLst>
                <a:ext uri="{FF2B5EF4-FFF2-40B4-BE49-F238E27FC236}">
                  <a16:creationId xmlns:a16="http://schemas.microsoft.com/office/drawing/2014/main" id="{81298D2A-F002-40FF-82AA-E09D3B806461}"/>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73" name="Ovaal 372">
              <a:extLst>
                <a:ext uri="{FF2B5EF4-FFF2-40B4-BE49-F238E27FC236}">
                  <a16:creationId xmlns:a16="http://schemas.microsoft.com/office/drawing/2014/main" id="{A8063AEA-2B4A-45F3-9880-B1B7C1E756FA}"/>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74" name="Textfield placeholder">
              <a:extLst>
                <a:ext uri="{FF2B5EF4-FFF2-40B4-BE49-F238E27FC236}">
                  <a16:creationId xmlns:a16="http://schemas.microsoft.com/office/drawing/2014/main" id="{AFD41977-7579-49CD-8914-677FAB8F1478}"/>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375" name="Textfield placeholder">
              <a:extLst>
                <a:ext uri="{FF2B5EF4-FFF2-40B4-BE49-F238E27FC236}">
                  <a16:creationId xmlns:a16="http://schemas.microsoft.com/office/drawing/2014/main" id="{8D0B9FBE-1841-4F19-870F-8DCB500BC381}"/>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376" name="Ovaal 375">
              <a:extLst>
                <a:ext uri="{FF2B5EF4-FFF2-40B4-BE49-F238E27FC236}">
                  <a16:creationId xmlns:a16="http://schemas.microsoft.com/office/drawing/2014/main" id="{75186B1C-4B92-403E-BFBE-43EC9F13083D}"/>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377" name="Ovaal 376">
              <a:extLst>
                <a:ext uri="{FF2B5EF4-FFF2-40B4-BE49-F238E27FC236}">
                  <a16:creationId xmlns:a16="http://schemas.microsoft.com/office/drawing/2014/main" id="{613CE3F6-E93E-4EB8-93D4-B0DDE016A6D2}"/>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378" name="Ovaal 377">
              <a:extLst>
                <a:ext uri="{FF2B5EF4-FFF2-40B4-BE49-F238E27FC236}">
                  <a16:creationId xmlns:a16="http://schemas.microsoft.com/office/drawing/2014/main" id="{2B3A8786-C8E9-4D29-8E1F-C9D16D492916}"/>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379" name="Ovaal 378">
              <a:extLst>
                <a:ext uri="{FF2B5EF4-FFF2-40B4-BE49-F238E27FC236}">
                  <a16:creationId xmlns:a16="http://schemas.microsoft.com/office/drawing/2014/main" id="{A208D09B-4830-4ED3-87C5-BE1F09BDFE25}"/>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380" name="Ovaal 379">
              <a:extLst>
                <a:ext uri="{FF2B5EF4-FFF2-40B4-BE49-F238E27FC236}">
                  <a16:creationId xmlns:a16="http://schemas.microsoft.com/office/drawing/2014/main" id="{D66CB40A-3732-4965-B6DE-8F7173CF676A}"/>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381" name="Textfield placeholder">
              <a:extLst>
                <a:ext uri="{FF2B5EF4-FFF2-40B4-BE49-F238E27FC236}">
                  <a16:creationId xmlns:a16="http://schemas.microsoft.com/office/drawing/2014/main" id="{0F27B2BD-F846-4993-ABF5-5B4E37ECEC58}"/>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382" name="Textfield placeholder">
              <a:extLst>
                <a:ext uri="{FF2B5EF4-FFF2-40B4-BE49-F238E27FC236}">
                  <a16:creationId xmlns:a16="http://schemas.microsoft.com/office/drawing/2014/main" id="{9BD6262F-A593-472E-9A06-E541D850D973}"/>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383" name="Textfield placeholder">
              <a:extLst>
                <a:ext uri="{FF2B5EF4-FFF2-40B4-BE49-F238E27FC236}">
                  <a16:creationId xmlns:a16="http://schemas.microsoft.com/office/drawing/2014/main" id="{6A282837-EA2A-41AB-8455-E5B393BA9C75}"/>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384" name="Textfield placeholder">
              <a:extLst>
                <a:ext uri="{FF2B5EF4-FFF2-40B4-BE49-F238E27FC236}">
                  <a16:creationId xmlns:a16="http://schemas.microsoft.com/office/drawing/2014/main" id="{5355C381-B68B-43F0-8C80-42ACF7F12289}"/>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385" name="Textfield placeholder">
              <a:extLst>
                <a:ext uri="{FF2B5EF4-FFF2-40B4-BE49-F238E27FC236}">
                  <a16:creationId xmlns:a16="http://schemas.microsoft.com/office/drawing/2014/main" id="{15EBDF7E-C3BC-4B6D-AE83-B42CD6803EC6}"/>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386" name="Groep 385">
              <a:extLst>
                <a:ext uri="{FF2B5EF4-FFF2-40B4-BE49-F238E27FC236}">
                  <a16:creationId xmlns:a16="http://schemas.microsoft.com/office/drawing/2014/main" id="{65B29128-4360-4DEA-8FD6-10A2B013E9E7}"/>
                </a:ext>
              </a:extLst>
            </p:cNvPr>
            <p:cNvGrpSpPr/>
            <p:nvPr userDrawn="1"/>
          </p:nvGrpSpPr>
          <p:grpSpPr>
            <a:xfrm>
              <a:off x="-950342" y="1837957"/>
              <a:ext cx="687412" cy="3758146"/>
              <a:chOff x="-740196" y="1837957"/>
              <a:chExt cx="1374825" cy="3758146"/>
            </a:xfrm>
          </p:grpSpPr>
          <p:sp>
            <p:nvSpPr>
              <p:cNvPr id="387" name="Textfield placeholder">
                <a:extLst>
                  <a:ext uri="{FF2B5EF4-FFF2-40B4-BE49-F238E27FC236}">
                    <a16:creationId xmlns:a16="http://schemas.microsoft.com/office/drawing/2014/main" id="{5D1D4BCC-80B4-4D9D-913D-033DBDB16DC3}"/>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388" name="Textfield placeholder">
                <a:extLst>
                  <a:ext uri="{FF2B5EF4-FFF2-40B4-BE49-F238E27FC236}">
                    <a16:creationId xmlns:a16="http://schemas.microsoft.com/office/drawing/2014/main" id="{515AD830-5772-4CDD-9301-D55CF4C53FFD}"/>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389" name="Textfield placeholder">
                <a:extLst>
                  <a:ext uri="{FF2B5EF4-FFF2-40B4-BE49-F238E27FC236}">
                    <a16:creationId xmlns:a16="http://schemas.microsoft.com/office/drawing/2014/main" id="{7CABA125-E39A-44EA-9894-E37B04CB8D42}"/>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90" name="Textfield placeholder">
                <a:extLst>
                  <a:ext uri="{FF2B5EF4-FFF2-40B4-BE49-F238E27FC236}">
                    <a16:creationId xmlns:a16="http://schemas.microsoft.com/office/drawing/2014/main" id="{E4836D85-BB60-4D42-A81C-92F84FADEDA3}"/>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391" name="Textfield placeholder">
                <a:extLst>
                  <a:ext uri="{FF2B5EF4-FFF2-40B4-BE49-F238E27FC236}">
                    <a16:creationId xmlns:a16="http://schemas.microsoft.com/office/drawing/2014/main" id="{D2AACC97-3917-44CF-AF15-28372881D96A}"/>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392" name="Textfield placeholder">
                <a:extLst>
                  <a:ext uri="{FF2B5EF4-FFF2-40B4-BE49-F238E27FC236}">
                    <a16:creationId xmlns:a16="http://schemas.microsoft.com/office/drawing/2014/main" id="{D1C6756F-897E-46FD-998D-38660049580C}"/>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93" name="Textfield placeholder">
                <a:extLst>
                  <a:ext uri="{FF2B5EF4-FFF2-40B4-BE49-F238E27FC236}">
                    <a16:creationId xmlns:a16="http://schemas.microsoft.com/office/drawing/2014/main" id="{2A9D2B3B-23B6-4E00-8BE9-5F3CAAFB3CBA}"/>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94" name="Textfield placeholder">
                <a:extLst>
                  <a:ext uri="{FF2B5EF4-FFF2-40B4-BE49-F238E27FC236}">
                    <a16:creationId xmlns:a16="http://schemas.microsoft.com/office/drawing/2014/main" id="{EE2FB1F7-61C5-41A6-9B6D-24E61F45A123}"/>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395" name="Textfield placeholder">
                <a:extLst>
                  <a:ext uri="{FF2B5EF4-FFF2-40B4-BE49-F238E27FC236}">
                    <a16:creationId xmlns:a16="http://schemas.microsoft.com/office/drawing/2014/main" id="{A692538C-0409-4522-A94D-FCBD4DF960C7}"/>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spTree>
    <p:extLst>
      <p:ext uri="{BB962C8B-B14F-4D97-AF65-F5344CB8AC3E}">
        <p14:creationId xmlns:p14="http://schemas.microsoft.com/office/powerpoint/2010/main" val="3301621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 Rechts + Object (M)">
    <p:spTree>
      <p:nvGrpSpPr>
        <p:cNvPr id="1" name=""/>
        <p:cNvGrpSpPr/>
        <p:nvPr/>
      </p:nvGrpSpPr>
      <p:grpSpPr>
        <a:xfrm>
          <a:off x="0" y="0"/>
          <a:ext cx="0" cy="0"/>
          <a:chOff x="0" y="0"/>
          <a:chExt cx="0" cy="0"/>
        </a:xfrm>
      </p:grpSpPr>
      <p:sp>
        <p:nvSpPr>
          <p:cNvPr id="148" name="Rechthoek 147"/>
          <p:cNvSpPr/>
          <p:nvPr userDrawn="1"/>
        </p:nvSpPr>
        <p:spPr>
          <a:xfrm>
            <a:off x="0" y="1434812"/>
            <a:ext cx="6079047" cy="454351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tel 1"/>
          <p:cNvSpPr>
            <a:spLocks noGrp="1"/>
          </p:cNvSpPr>
          <p:nvPr>
            <p:ph type="title"/>
          </p:nvPr>
        </p:nvSpPr>
        <p:spPr/>
        <p:txBody>
          <a:bodyPr/>
          <a:lstStyle/>
          <a:p>
            <a:r>
              <a:rPr lang="nl-NL"/>
              <a:t>Klik om stijl te bewerken</a:t>
            </a:r>
            <a:endParaRPr lang="en-GB"/>
          </a:p>
        </p:txBody>
      </p:sp>
      <p:sp>
        <p:nvSpPr>
          <p:cNvPr id="3" name="Tijdelijke aanduiding voor verticale tekst 2"/>
          <p:cNvSpPr>
            <a:spLocks noGrp="1"/>
          </p:cNvSpPr>
          <p:nvPr>
            <p:ph type="body" orient="vert" idx="1"/>
          </p:nvPr>
        </p:nvSpPr>
        <p:spPr>
          <a:xfrm>
            <a:off x="6543688" y="1420100"/>
            <a:ext cx="5651487" cy="4554193"/>
          </a:xfrm>
        </p:spPr>
        <p:txBody>
          <a:bodyPr vert="horz"/>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dirty="0"/>
          </a:p>
        </p:txBody>
      </p:sp>
      <p:sp>
        <p:nvSpPr>
          <p:cNvPr id="4" name="Tijdelijke aanduiding voor datum 3"/>
          <p:cNvSpPr>
            <a:spLocks noGrp="1"/>
          </p:cNvSpPr>
          <p:nvPr>
            <p:ph type="dt" sz="half" idx="10"/>
          </p:nvPr>
        </p:nvSpPr>
        <p:spPr/>
        <p:txBody>
          <a:bodyPr/>
          <a:lstStyle/>
          <a:p>
            <a:fld id="{B82FB315-DC62-4E0A-B6F5-CECFE39E9144}"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9" name="Tijdelijke aanduiding voor inhoud 2"/>
          <p:cNvSpPr>
            <a:spLocks noGrp="1"/>
          </p:cNvSpPr>
          <p:nvPr>
            <p:ph idx="14"/>
          </p:nvPr>
        </p:nvSpPr>
        <p:spPr>
          <a:xfrm>
            <a:off x="375470" y="1641026"/>
            <a:ext cx="5332035" cy="3586068"/>
          </a:xfrm>
          <a:noFill/>
        </p:spPr>
        <p:txBody>
          <a:bodyPr anchor="ctr"/>
          <a:lstStyle>
            <a:lvl1pPr algn="ctr">
              <a:defRPr sz="1200"/>
            </a:lvl1pPr>
          </a:lstStyle>
          <a:p>
            <a:pPr lvl="0"/>
            <a:r>
              <a:rPr lang="nl-NL"/>
              <a:t>Klikken om de tekststijl van het model te bewerken</a:t>
            </a:r>
          </a:p>
        </p:txBody>
      </p:sp>
      <p:sp>
        <p:nvSpPr>
          <p:cNvPr id="11" name="Tekstvak 10"/>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Tekst Rechts + Object (M) + onderschrift</a:t>
            </a:r>
          </a:p>
        </p:txBody>
      </p:sp>
      <p:sp>
        <p:nvSpPr>
          <p:cNvPr id="12" name="Tijdelijke aanduiding voor verticale tekst 2"/>
          <p:cNvSpPr>
            <a:spLocks noGrp="1"/>
          </p:cNvSpPr>
          <p:nvPr>
            <p:ph type="body" orient="vert" idx="15" hasCustomPrompt="1"/>
          </p:nvPr>
        </p:nvSpPr>
        <p:spPr>
          <a:xfrm>
            <a:off x="0" y="5470295"/>
            <a:ext cx="6071101" cy="504000"/>
          </a:xfrm>
          <a:solidFill>
            <a:schemeClr val="accent2"/>
          </a:solidFill>
        </p:spPr>
        <p:txBody>
          <a:bodyPr vert="horz" lIns="324000" tIns="36000" rIns="216000" bIns="0" anchor="ctr"/>
          <a:lstStyle>
            <a:lvl1pPr algn="r">
              <a:defRPr sz="1800" b="0">
                <a:solidFill>
                  <a:schemeClr val="tx2"/>
                </a:solidFill>
              </a:defRPr>
            </a:lvl1pPr>
          </a:lstStyle>
          <a:p>
            <a:pPr lvl="0"/>
            <a:r>
              <a:rPr lang="nl-NL" dirty="0"/>
              <a:t>Onderschrift</a:t>
            </a:r>
          </a:p>
        </p:txBody>
      </p:sp>
      <p:grpSp>
        <p:nvGrpSpPr>
          <p:cNvPr id="146" name="Groep 145">
            <a:extLst>
              <a:ext uri="{FF2B5EF4-FFF2-40B4-BE49-F238E27FC236}">
                <a16:creationId xmlns:a16="http://schemas.microsoft.com/office/drawing/2014/main" id="{31ACB020-B3DE-444A-B9F4-8A7CEBC7D7F5}"/>
              </a:ext>
            </a:extLst>
          </p:cNvPr>
          <p:cNvGrpSpPr/>
          <p:nvPr userDrawn="1"/>
        </p:nvGrpSpPr>
        <p:grpSpPr>
          <a:xfrm>
            <a:off x="12353686" y="0"/>
            <a:ext cx="2808312" cy="5805264"/>
            <a:chOff x="-2973833" y="0"/>
            <a:chExt cx="2808312" cy="5805264"/>
          </a:xfrm>
        </p:grpSpPr>
        <p:sp>
          <p:nvSpPr>
            <p:cNvPr id="147" name="Rechthoek 146">
              <a:extLst>
                <a:ext uri="{FF2B5EF4-FFF2-40B4-BE49-F238E27FC236}">
                  <a16:creationId xmlns:a16="http://schemas.microsoft.com/office/drawing/2014/main" id="{C853C15A-D0DA-4317-B08B-07DC6B862F54}"/>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284" name="Textfield placeholder">
              <a:extLst>
                <a:ext uri="{FF2B5EF4-FFF2-40B4-BE49-F238E27FC236}">
                  <a16:creationId xmlns:a16="http://schemas.microsoft.com/office/drawing/2014/main" id="{C1253C1B-7BFF-4458-91A0-FCBFB6ED7CE1}"/>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285" name="Ovaal 284">
              <a:extLst>
                <a:ext uri="{FF2B5EF4-FFF2-40B4-BE49-F238E27FC236}">
                  <a16:creationId xmlns:a16="http://schemas.microsoft.com/office/drawing/2014/main" id="{8BAA1860-7857-4407-9D64-1F73552D3407}"/>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286" name="Ovaal 285">
              <a:extLst>
                <a:ext uri="{FF2B5EF4-FFF2-40B4-BE49-F238E27FC236}">
                  <a16:creationId xmlns:a16="http://schemas.microsoft.com/office/drawing/2014/main" id="{B71F4455-30DA-44A6-83C7-9253308D61A0}"/>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287" name="Ovaal 286">
              <a:extLst>
                <a:ext uri="{FF2B5EF4-FFF2-40B4-BE49-F238E27FC236}">
                  <a16:creationId xmlns:a16="http://schemas.microsoft.com/office/drawing/2014/main" id="{C94FA9F1-7DC5-4788-9832-4C3B01DA648E}"/>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288" name="Ovaal 287">
              <a:extLst>
                <a:ext uri="{FF2B5EF4-FFF2-40B4-BE49-F238E27FC236}">
                  <a16:creationId xmlns:a16="http://schemas.microsoft.com/office/drawing/2014/main" id="{7FAE39CB-44A1-4B0A-8A36-7BD0BA7FED27}"/>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289" name="Textfield placeholder">
              <a:extLst>
                <a:ext uri="{FF2B5EF4-FFF2-40B4-BE49-F238E27FC236}">
                  <a16:creationId xmlns:a16="http://schemas.microsoft.com/office/drawing/2014/main" id="{AFD43046-9D2F-44B9-B93B-C0ABAFDE8B1D}"/>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290" name="Textfield placeholder">
              <a:extLst>
                <a:ext uri="{FF2B5EF4-FFF2-40B4-BE49-F238E27FC236}">
                  <a16:creationId xmlns:a16="http://schemas.microsoft.com/office/drawing/2014/main" id="{E78FF9A2-5846-4F9B-B08B-E0D7C286E050}"/>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291" name="Textfield placeholder">
              <a:extLst>
                <a:ext uri="{FF2B5EF4-FFF2-40B4-BE49-F238E27FC236}">
                  <a16:creationId xmlns:a16="http://schemas.microsoft.com/office/drawing/2014/main" id="{58230418-B3A0-4335-9C6B-320B2A4A87D8}"/>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292" name="Rechte verbindingslijn 291">
              <a:extLst>
                <a:ext uri="{FF2B5EF4-FFF2-40B4-BE49-F238E27FC236}">
                  <a16:creationId xmlns:a16="http://schemas.microsoft.com/office/drawing/2014/main" id="{688E5E4A-A445-4C8B-89DD-F0E994D02641}"/>
                </a:ext>
              </a:extLst>
            </p:cNvPr>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3" name="Rechte verbindingslijn 292">
              <a:extLst>
                <a:ext uri="{FF2B5EF4-FFF2-40B4-BE49-F238E27FC236}">
                  <a16:creationId xmlns:a16="http://schemas.microsoft.com/office/drawing/2014/main" id="{FA5701AF-3031-4A5D-B1EC-329C2E4F00C2}"/>
                </a:ext>
              </a:extLst>
            </p:cNvPr>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4" name="Rechte verbindingslijn 293">
              <a:extLst>
                <a:ext uri="{FF2B5EF4-FFF2-40B4-BE49-F238E27FC236}">
                  <a16:creationId xmlns:a16="http://schemas.microsoft.com/office/drawing/2014/main" id="{2AB6B33D-09CA-46E9-84C3-CCAE8BC69158}"/>
                </a:ext>
              </a:extLst>
            </p:cNvPr>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295" name="Picture 3">
              <a:extLst>
                <a:ext uri="{FF2B5EF4-FFF2-40B4-BE49-F238E27FC236}">
                  <a16:creationId xmlns:a16="http://schemas.microsoft.com/office/drawing/2014/main" id="{80AB1075-C581-4BD8-8C2D-6B01BE105A14}"/>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6" name="Picture 4">
              <a:extLst>
                <a:ext uri="{FF2B5EF4-FFF2-40B4-BE49-F238E27FC236}">
                  <a16:creationId xmlns:a16="http://schemas.microsoft.com/office/drawing/2014/main" id="{06AA596C-5BD1-4CE9-9021-0534CC09A4E3}"/>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97" name="Groep 296">
              <a:extLst>
                <a:ext uri="{FF2B5EF4-FFF2-40B4-BE49-F238E27FC236}">
                  <a16:creationId xmlns:a16="http://schemas.microsoft.com/office/drawing/2014/main" id="{BED300DC-1964-4F27-9FF8-CA3724086B4A}"/>
                </a:ext>
              </a:extLst>
            </p:cNvPr>
            <p:cNvGrpSpPr/>
            <p:nvPr userDrawn="1"/>
          </p:nvGrpSpPr>
          <p:grpSpPr>
            <a:xfrm>
              <a:off x="-2098870" y="523279"/>
              <a:ext cx="435437" cy="427699"/>
              <a:chOff x="-1085063" y="758027"/>
              <a:chExt cx="633800" cy="622540"/>
            </a:xfrm>
          </p:grpSpPr>
          <p:sp>
            <p:nvSpPr>
              <p:cNvPr id="338" name="Afgeronde rechthoek 133">
                <a:extLst>
                  <a:ext uri="{FF2B5EF4-FFF2-40B4-BE49-F238E27FC236}">
                    <a16:creationId xmlns:a16="http://schemas.microsoft.com/office/drawing/2014/main" id="{63C3EE23-B58D-4BB7-A59B-54F80041F17E}"/>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339" name="Groep 338">
                <a:extLst>
                  <a:ext uri="{FF2B5EF4-FFF2-40B4-BE49-F238E27FC236}">
                    <a16:creationId xmlns:a16="http://schemas.microsoft.com/office/drawing/2014/main" id="{AA62EC14-7936-4236-82CD-DFD316A5132E}"/>
                  </a:ext>
                </a:extLst>
              </p:cNvPr>
              <p:cNvGrpSpPr/>
              <p:nvPr userDrawn="1"/>
            </p:nvGrpSpPr>
            <p:grpSpPr>
              <a:xfrm>
                <a:off x="-977746" y="864082"/>
                <a:ext cx="419166" cy="410430"/>
                <a:chOff x="6366933" y="309013"/>
                <a:chExt cx="1901295" cy="1861668"/>
              </a:xfrm>
              <a:solidFill>
                <a:schemeClr val="tx1"/>
              </a:solidFill>
            </p:grpSpPr>
            <p:sp>
              <p:nvSpPr>
                <p:cNvPr id="340" name="Rechthoek 339">
                  <a:extLst>
                    <a:ext uri="{FF2B5EF4-FFF2-40B4-BE49-F238E27FC236}">
                      <a16:creationId xmlns:a16="http://schemas.microsoft.com/office/drawing/2014/main" id="{FD266148-E8BE-4D3D-9E6B-3E1D3B1A7787}"/>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1" name="Rechthoek 340">
                  <a:extLst>
                    <a:ext uri="{FF2B5EF4-FFF2-40B4-BE49-F238E27FC236}">
                      <a16:creationId xmlns:a16="http://schemas.microsoft.com/office/drawing/2014/main" id="{BECDC00A-4DAC-4B0F-BAE6-6ED6CAA58558}"/>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2" name="Rechthoek 341">
                  <a:extLst>
                    <a:ext uri="{FF2B5EF4-FFF2-40B4-BE49-F238E27FC236}">
                      <a16:creationId xmlns:a16="http://schemas.microsoft.com/office/drawing/2014/main" id="{E47CD166-207E-4B5A-93A5-FFE71F7F80BC}"/>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3" name="Rechthoek 342">
                  <a:extLst>
                    <a:ext uri="{FF2B5EF4-FFF2-40B4-BE49-F238E27FC236}">
                      <a16:creationId xmlns:a16="http://schemas.microsoft.com/office/drawing/2014/main" id="{B64BF6B3-E238-4C59-A069-3D22414BACC1}"/>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4" name="Rechthoek 343">
                  <a:extLst>
                    <a:ext uri="{FF2B5EF4-FFF2-40B4-BE49-F238E27FC236}">
                      <a16:creationId xmlns:a16="http://schemas.microsoft.com/office/drawing/2014/main" id="{DE8F699A-DF7E-4E65-84A1-5DB49A3E8914}"/>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5" name="Rechthoek 344">
                  <a:extLst>
                    <a:ext uri="{FF2B5EF4-FFF2-40B4-BE49-F238E27FC236}">
                      <a16:creationId xmlns:a16="http://schemas.microsoft.com/office/drawing/2014/main" id="{2D1CA763-E173-40DA-971F-C99CBD7CF318}"/>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6" name="Rechthoek 345">
                  <a:extLst>
                    <a:ext uri="{FF2B5EF4-FFF2-40B4-BE49-F238E27FC236}">
                      <a16:creationId xmlns:a16="http://schemas.microsoft.com/office/drawing/2014/main" id="{450A6E2D-ABF4-432E-957E-72D355C2E1F5}"/>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7" name="Rechthoek 346">
                  <a:extLst>
                    <a:ext uri="{FF2B5EF4-FFF2-40B4-BE49-F238E27FC236}">
                      <a16:creationId xmlns:a16="http://schemas.microsoft.com/office/drawing/2014/main" id="{17BA1B22-05FB-4582-B409-4F899667B7E1}"/>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8" name="Rechthoek 347">
                  <a:extLst>
                    <a:ext uri="{FF2B5EF4-FFF2-40B4-BE49-F238E27FC236}">
                      <a16:creationId xmlns:a16="http://schemas.microsoft.com/office/drawing/2014/main" id="{616E09E5-8C9A-4406-8C94-CDA53E63E5F5}"/>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9" name="Rechthoek 348">
                  <a:extLst>
                    <a:ext uri="{FF2B5EF4-FFF2-40B4-BE49-F238E27FC236}">
                      <a16:creationId xmlns:a16="http://schemas.microsoft.com/office/drawing/2014/main" id="{54E28ABB-5611-45AA-A54D-83307ED84A77}"/>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50" name="Vrije vorm 145">
                  <a:extLst>
                    <a:ext uri="{FF2B5EF4-FFF2-40B4-BE49-F238E27FC236}">
                      <a16:creationId xmlns:a16="http://schemas.microsoft.com/office/drawing/2014/main" id="{C53E8BEC-A7AE-4217-8D72-04CE43656749}"/>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298" name="Groep 297">
              <a:extLst>
                <a:ext uri="{FF2B5EF4-FFF2-40B4-BE49-F238E27FC236}">
                  <a16:creationId xmlns:a16="http://schemas.microsoft.com/office/drawing/2014/main" id="{314A76E3-BE58-4FF3-8EED-A6F319EFA727}"/>
                </a:ext>
              </a:extLst>
            </p:cNvPr>
            <p:cNvGrpSpPr/>
            <p:nvPr userDrawn="1"/>
          </p:nvGrpSpPr>
          <p:grpSpPr>
            <a:xfrm>
              <a:off x="-2095303" y="1071657"/>
              <a:ext cx="435437" cy="427699"/>
              <a:chOff x="-1845083" y="758027"/>
              <a:chExt cx="633800" cy="622540"/>
            </a:xfrm>
          </p:grpSpPr>
          <p:sp>
            <p:nvSpPr>
              <p:cNvPr id="325" name="Afgeronde rechthoek 120">
                <a:extLst>
                  <a:ext uri="{FF2B5EF4-FFF2-40B4-BE49-F238E27FC236}">
                    <a16:creationId xmlns:a16="http://schemas.microsoft.com/office/drawing/2014/main" id="{4EC7350D-EC30-4780-94FC-E34B4B3D1F94}"/>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326" name="Groep 325">
                <a:extLst>
                  <a:ext uri="{FF2B5EF4-FFF2-40B4-BE49-F238E27FC236}">
                    <a16:creationId xmlns:a16="http://schemas.microsoft.com/office/drawing/2014/main" id="{9285EC5D-4F4A-40CD-9767-6078A643F8DB}"/>
                  </a:ext>
                </a:extLst>
              </p:cNvPr>
              <p:cNvGrpSpPr/>
              <p:nvPr userDrawn="1"/>
            </p:nvGrpSpPr>
            <p:grpSpPr>
              <a:xfrm>
                <a:off x="-1737766" y="864082"/>
                <a:ext cx="419166" cy="410430"/>
                <a:chOff x="3708400" y="309013"/>
                <a:chExt cx="1901295" cy="1861668"/>
              </a:xfrm>
              <a:solidFill>
                <a:schemeClr val="tx1"/>
              </a:solidFill>
            </p:grpSpPr>
            <p:sp>
              <p:nvSpPr>
                <p:cNvPr id="327" name="Rechthoek 326">
                  <a:extLst>
                    <a:ext uri="{FF2B5EF4-FFF2-40B4-BE49-F238E27FC236}">
                      <a16:creationId xmlns:a16="http://schemas.microsoft.com/office/drawing/2014/main" id="{3B86FC91-E139-4A22-966A-2AC435257F85}"/>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28" name="Rechthoek 327">
                  <a:extLst>
                    <a:ext uri="{FF2B5EF4-FFF2-40B4-BE49-F238E27FC236}">
                      <a16:creationId xmlns:a16="http://schemas.microsoft.com/office/drawing/2014/main" id="{325A82F3-CE76-49B6-AB54-2DCCAA10751A}"/>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29" name="Rechthoek 328">
                  <a:extLst>
                    <a:ext uri="{FF2B5EF4-FFF2-40B4-BE49-F238E27FC236}">
                      <a16:creationId xmlns:a16="http://schemas.microsoft.com/office/drawing/2014/main" id="{AB747E21-F066-4F26-B49E-C644649B401E}"/>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0" name="Rechthoek 329">
                  <a:extLst>
                    <a:ext uri="{FF2B5EF4-FFF2-40B4-BE49-F238E27FC236}">
                      <a16:creationId xmlns:a16="http://schemas.microsoft.com/office/drawing/2014/main" id="{FEE8B79C-2998-44A3-9100-F3273F733D02}"/>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1" name="Rechthoek 330">
                  <a:extLst>
                    <a:ext uri="{FF2B5EF4-FFF2-40B4-BE49-F238E27FC236}">
                      <a16:creationId xmlns:a16="http://schemas.microsoft.com/office/drawing/2014/main" id="{F253395B-A8E6-4408-8216-CCC283A9A9AB}"/>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2" name="Rechthoek 331">
                  <a:extLst>
                    <a:ext uri="{FF2B5EF4-FFF2-40B4-BE49-F238E27FC236}">
                      <a16:creationId xmlns:a16="http://schemas.microsoft.com/office/drawing/2014/main" id="{29FF417D-1E2B-470A-907B-5C2B8D1C9CFD}"/>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3" name="Rechthoek 332">
                  <a:extLst>
                    <a:ext uri="{FF2B5EF4-FFF2-40B4-BE49-F238E27FC236}">
                      <a16:creationId xmlns:a16="http://schemas.microsoft.com/office/drawing/2014/main" id="{123FFB4E-28D6-4D77-80D0-623D237F1F1A}"/>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4" name="Rechthoek 333">
                  <a:extLst>
                    <a:ext uri="{FF2B5EF4-FFF2-40B4-BE49-F238E27FC236}">
                      <a16:creationId xmlns:a16="http://schemas.microsoft.com/office/drawing/2014/main" id="{B5DD0DA7-12C1-46E9-BCAB-7EC9D40A666F}"/>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5" name="Rechthoek 334">
                  <a:extLst>
                    <a:ext uri="{FF2B5EF4-FFF2-40B4-BE49-F238E27FC236}">
                      <a16:creationId xmlns:a16="http://schemas.microsoft.com/office/drawing/2014/main" id="{F74405A7-55C9-474D-BF1F-5D252125EB58}"/>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6" name="Rechthoek 335">
                  <a:extLst>
                    <a:ext uri="{FF2B5EF4-FFF2-40B4-BE49-F238E27FC236}">
                      <a16:creationId xmlns:a16="http://schemas.microsoft.com/office/drawing/2014/main" id="{484DDDE3-DA57-4B5F-A562-F8942F2643C4}"/>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7" name="Vrije vorm 132">
                  <a:extLst>
                    <a:ext uri="{FF2B5EF4-FFF2-40B4-BE49-F238E27FC236}">
                      <a16:creationId xmlns:a16="http://schemas.microsoft.com/office/drawing/2014/main" id="{31AE43FB-EBE9-4B19-9755-7F5FE012F10D}"/>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299" name="Rechte verbindingslijn 298">
              <a:extLst>
                <a:ext uri="{FF2B5EF4-FFF2-40B4-BE49-F238E27FC236}">
                  <a16:creationId xmlns:a16="http://schemas.microsoft.com/office/drawing/2014/main" id="{965DEE1B-4541-4BAA-9192-8D86BEB8225F}"/>
                </a:ext>
              </a:extLst>
            </p:cNvPr>
            <p:cNvCxnSpPr>
              <a:stCxn id="301" idx="2"/>
              <a:endCxn id="325"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300" name="Rechte verbindingslijn 299">
              <a:extLst>
                <a:ext uri="{FF2B5EF4-FFF2-40B4-BE49-F238E27FC236}">
                  <a16:creationId xmlns:a16="http://schemas.microsoft.com/office/drawing/2014/main" id="{E0A30C7B-469D-4167-9CFE-BB65D99577F8}"/>
                </a:ext>
              </a:extLst>
            </p:cNvPr>
            <p:cNvCxnSpPr>
              <a:stCxn id="302" idx="3"/>
              <a:endCxn id="338"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301" name="Ovaal 300">
              <a:extLst>
                <a:ext uri="{FF2B5EF4-FFF2-40B4-BE49-F238E27FC236}">
                  <a16:creationId xmlns:a16="http://schemas.microsoft.com/office/drawing/2014/main" id="{EC9D903B-0A51-4C9C-9041-B494169E863F}"/>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02" name="Ovaal 301">
              <a:extLst>
                <a:ext uri="{FF2B5EF4-FFF2-40B4-BE49-F238E27FC236}">
                  <a16:creationId xmlns:a16="http://schemas.microsoft.com/office/drawing/2014/main" id="{371D220C-C06C-49D1-A152-945EE493109F}"/>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03" name="Textfield placeholder">
              <a:extLst>
                <a:ext uri="{FF2B5EF4-FFF2-40B4-BE49-F238E27FC236}">
                  <a16:creationId xmlns:a16="http://schemas.microsoft.com/office/drawing/2014/main" id="{A3BFE464-8484-4DBC-BE7B-044905E8C2ED}"/>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latin typeface="+mn-lt"/>
                </a:rPr>
                <a:t>Niveau</a:t>
              </a:r>
              <a:r>
                <a:rPr lang="en-GB" sz="1200" b="0" dirty="0">
                  <a:solidFill>
                    <a:schemeClr val="tx1"/>
                  </a:solidFill>
                  <a:latin typeface="+mn-lt"/>
                </a:rPr>
                <a:t> vooruit</a:t>
              </a:r>
            </a:p>
          </p:txBody>
        </p:sp>
        <p:sp>
          <p:nvSpPr>
            <p:cNvPr id="304" name="Textfield placeholder">
              <a:extLst>
                <a:ext uri="{FF2B5EF4-FFF2-40B4-BE49-F238E27FC236}">
                  <a16:creationId xmlns:a16="http://schemas.microsoft.com/office/drawing/2014/main" id="{A18EBA50-25EA-46D8-8392-CA37EF0D5B73}"/>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latin typeface="+mn-lt"/>
                </a:rPr>
                <a:t>Niveau</a:t>
              </a:r>
              <a:r>
                <a:rPr lang="en-GB" sz="1200" b="0" dirty="0">
                  <a:solidFill>
                    <a:schemeClr val="tx1"/>
                  </a:solidFill>
                  <a:latin typeface="+mn-lt"/>
                </a:rPr>
                <a:t> terug</a:t>
              </a:r>
            </a:p>
          </p:txBody>
        </p:sp>
        <p:sp>
          <p:nvSpPr>
            <p:cNvPr id="305" name="Ovaal 304">
              <a:extLst>
                <a:ext uri="{FF2B5EF4-FFF2-40B4-BE49-F238E27FC236}">
                  <a16:creationId xmlns:a16="http://schemas.microsoft.com/office/drawing/2014/main" id="{C0BA338D-0558-43B5-ADE8-3B010B312D39}"/>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306" name="Ovaal 305">
              <a:extLst>
                <a:ext uri="{FF2B5EF4-FFF2-40B4-BE49-F238E27FC236}">
                  <a16:creationId xmlns:a16="http://schemas.microsoft.com/office/drawing/2014/main" id="{05776E5D-B36A-489A-8967-D85E9E2AECDC}"/>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307" name="Ovaal 306">
              <a:extLst>
                <a:ext uri="{FF2B5EF4-FFF2-40B4-BE49-F238E27FC236}">
                  <a16:creationId xmlns:a16="http://schemas.microsoft.com/office/drawing/2014/main" id="{60EAA922-0ECE-4D35-9AD6-0651A4AA79E6}"/>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308" name="Ovaal 307">
              <a:extLst>
                <a:ext uri="{FF2B5EF4-FFF2-40B4-BE49-F238E27FC236}">
                  <a16:creationId xmlns:a16="http://schemas.microsoft.com/office/drawing/2014/main" id="{FB8386FC-DC66-41C6-A782-86237DADBDAB}"/>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309" name="Ovaal 308">
              <a:extLst>
                <a:ext uri="{FF2B5EF4-FFF2-40B4-BE49-F238E27FC236}">
                  <a16:creationId xmlns:a16="http://schemas.microsoft.com/office/drawing/2014/main" id="{1394542F-590D-4B8D-96DA-6E758C70047D}"/>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310" name="Textfield placeholder">
              <a:extLst>
                <a:ext uri="{FF2B5EF4-FFF2-40B4-BE49-F238E27FC236}">
                  <a16:creationId xmlns:a16="http://schemas.microsoft.com/office/drawing/2014/main" id="{D0CBDB9F-D771-4BBE-A501-E7D415B18D0F}"/>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311" name="Textfield placeholder">
              <a:extLst>
                <a:ext uri="{FF2B5EF4-FFF2-40B4-BE49-F238E27FC236}">
                  <a16:creationId xmlns:a16="http://schemas.microsoft.com/office/drawing/2014/main" id="{B6230F9C-08BE-4AA0-8D47-A59281790F68}"/>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312" name="Textfield placeholder">
              <a:extLst>
                <a:ext uri="{FF2B5EF4-FFF2-40B4-BE49-F238E27FC236}">
                  <a16:creationId xmlns:a16="http://schemas.microsoft.com/office/drawing/2014/main" id="{06BB8C76-2642-494A-B40F-80FD0DA80B8F}"/>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313" name="Textfield placeholder">
              <a:extLst>
                <a:ext uri="{FF2B5EF4-FFF2-40B4-BE49-F238E27FC236}">
                  <a16:creationId xmlns:a16="http://schemas.microsoft.com/office/drawing/2014/main" id="{B3CF8825-D20C-4B54-8D55-7E03801A0CB4}"/>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314" name="Textfield placeholder">
              <a:extLst>
                <a:ext uri="{FF2B5EF4-FFF2-40B4-BE49-F238E27FC236}">
                  <a16:creationId xmlns:a16="http://schemas.microsoft.com/office/drawing/2014/main" id="{DA234EED-F5E9-45A1-84A0-FF86037FB565}"/>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315" name="Groep 314">
              <a:extLst>
                <a:ext uri="{FF2B5EF4-FFF2-40B4-BE49-F238E27FC236}">
                  <a16:creationId xmlns:a16="http://schemas.microsoft.com/office/drawing/2014/main" id="{1814F644-0E37-460A-8C8D-314C7DA037AB}"/>
                </a:ext>
              </a:extLst>
            </p:cNvPr>
            <p:cNvGrpSpPr/>
            <p:nvPr userDrawn="1"/>
          </p:nvGrpSpPr>
          <p:grpSpPr>
            <a:xfrm>
              <a:off x="-950342" y="1837957"/>
              <a:ext cx="687412" cy="3758146"/>
              <a:chOff x="-740196" y="1837957"/>
              <a:chExt cx="1374825" cy="3758146"/>
            </a:xfrm>
          </p:grpSpPr>
          <p:sp>
            <p:nvSpPr>
              <p:cNvPr id="316" name="Textfield placeholder">
                <a:extLst>
                  <a:ext uri="{FF2B5EF4-FFF2-40B4-BE49-F238E27FC236}">
                    <a16:creationId xmlns:a16="http://schemas.microsoft.com/office/drawing/2014/main" id="{33DF6B55-6D07-4A83-9185-CBABC5678456}"/>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317" name="Textfield placeholder">
                <a:extLst>
                  <a:ext uri="{FF2B5EF4-FFF2-40B4-BE49-F238E27FC236}">
                    <a16:creationId xmlns:a16="http://schemas.microsoft.com/office/drawing/2014/main" id="{1A1D7CA3-E3B5-4CAE-9756-554B677319D3}"/>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318" name="Textfield placeholder">
                <a:extLst>
                  <a:ext uri="{FF2B5EF4-FFF2-40B4-BE49-F238E27FC236}">
                    <a16:creationId xmlns:a16="http://schemas.microsoft.com/office/drawing/2014/main" id="{3A394B6F-C608-4FD1-A120-0DFD9259159D}"/>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19" name="Textfield placeholder">
                <a:extLst>
                  <a:ext uri="{FF2B5EF4-FFF2-40B4-BE49-F238E27FC236}">
                    <a16:creationId xmlns:a16="http://schemas.microsoft.com/office/drawing/2014/main" id="{BB015E7A-33AA-4F0E-A681-2DE050B22872}"/>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320" name="Textfield placeholder">
                <a:extLst>
                  <a:ext uri="{FF2B5EF4-FFF2-40B4-BE49-F238E27FC236}">
                    <a16:creationId xmlns:a16="http://schemas.microsoft.com/office/drawing/2014/main" id="{B4AA4BCE-4828-4CB3-A67A-ECF8C4CC09BC}"/>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321" name="Textfield placeholder">
                <a:extLst>
                  <a:ext uri="{FF2B5EF4-FFF2-40B4-BE49-F238E27FC236}">
                    <a16:creationId xmlns:a16="http://schemas.microsoft.com/office/drawing/2014/main" id="{25329802-3F6C-48F8-B81D-79D4AA5E08B1}"/>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22" name="Textfield placeholder">
                <a:extLst>
                  <a:ext uri="{FF2B5EF4-FFF2-40B4-BE49-F238E27FC236}">
                    <a16:creationId xmlns:a16="http://schemas.microsoft.com/office/drawing/2014/main" id="{941F35C3-BB95-4D85-8FDA-820E134501E6}"/>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23" name="Textfield placeholder">
                <a:extLst>
                  <a:ext uri="{FF2B5EF4-FFF2-40B4-BE49-F238E27FC236}">
                    <a16:creationId xmlns:a16="http://schemas.microsoft.com/office/drawing/2014/main" id="{4A1AE652-AA3B-4373-AF88-61C35A9F637F}"/>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324" name="Textfield placeholder">
                <a:extLst>
                  <a:ext uri="{FF2B5EF4-FFF2-40B4-BE49-F238E27FC236}">
                    <a16:creationId xmlns:a16="http://schemas.microsoft.com/office/drawing/2014/main" id="{228CE66A-9870-4075-8C23-ADF89F1534CF}"/>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grpSp>
        <p:nvGrpSpPr>
          <p:cNvPr id="417" name="Groep 416">
            <a:extLst>
              <a:ext uri="{FF2B5EF4-FFF2-40B4-BE49-F238E27FC236}">
                <a16:creationId xmlns:a16="http://schemas.microsoft.com/office/drawing/2014/main" id="{EF880E22-2EB3-4740-9FEB-52A8152C21A3}"/>
              </a:ext>
            </a:extLst>
          </p:cNvPr>
          <p:cNvGrpSpPr/>
          <p:nvPr userDrawn="1"/>
        </p:nvGrpSpPr>
        <p:grpSpPr>
          <a:xfrm>
            <a:off x="-3216859" y="-26002"/>
            <a:ext cx="3064812" cy="6864697"/>
            <a:chOff x="12363871" y="-26002"/>
            <a:chExt cx="3064812" cy="6864697"/>
          </a:xfrm>
        </p:grpSpPr>
        <p:sp>
          <p:nvSpPr>
            <p:cNvPr id="418" name="Tekstvak 33">
              <a:extLst>
                <a:ext uri="{FF2B5EF4-FFF2-40B4-BE49-F238E27FC236}">
                  <a16:creationId xmlns:a16="http://schemas.microsoft.com/office/drawing/2014/main" id="{C9373A05-7C55-42D4-A056-8B9252140D03}"/>
                </a:ext>
              </a:extLst>
            </p:cNvPr>
            <p:cNvSpPr txBox="1"/>
            <p:nvPr userDrawn="1"/>
          </p:nvSpPr>
          <p:spPr>
            <a:xfrm>
              <a:off x="12537681" y="1001584"/>
              <a:ext cx="2285302" cy="430887"/>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 om een grafiek in te voegen</a:t>
              </a:r>
            </a:p>
          </p:txBody>
        </p:sp>
        <p:sp>
          <p:nvSpPr>
            <p:cNvPr id="419" name="Tekstvak 33">
              <a:extLst>
                <a:ext uri="{FF2B5EF4-FFF2-40B4-BE49-F238E27FC236}">
                  <a16:creationId xmlns:a16="http://schemas.microsoft.com/office/drawing/2014/main" id="{866A0862-706B-493A-8B85-E30EADA91BBF}"/>
                </a:ext>
              </a:extLst>
            </p:cNvPr>
            <p:cNvSpPr txBox="1"/>
            <p:nvPr userDrawn="1"/>
          </p:nvSpPr>
          <p:spPr>
            <a:xfrm>
              <a:off x="12537681"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Selecteer de grafiek die u wilt invoegen en klik op </a:t>
              </a:r>
              <a:r>
                <a:rPr kumimoji="0" lang="nl-NL" sz="1400" b="1"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p>
          </p:txBody>
        </p:sp>
        <p:sp>
          <p:nvSpPr>
            <p:cNvPr id="420" name="Ovaal 419">
              <a:extLst>
                <a:ext uri="{FF2B5EF4-FFF2-40B4-BE49-F238E27FC236}">
                  <a16:creationId xmlns:a16="http://schemas.microsoft.com/office/drawing/2014/main" id="{411D9B16-D79D-4910-A1F8-0C14EC973360}"/>
                </a:ext>
              </a:extLst>
            </p:cNvPr>
            <p:cNvSpPr/>
            <p:nvPr userDrawn="1"/>
          </p:nvSpPr>
          <p:spPr>
            <a:xfrm>
              <a:off x="12494665"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421" name="Ovaal 420">
              <a:extLst>
                <a:ext uri="{FF2B5EF4-FFF2-40B4-BE49-F238E27FC236}">
                  <a16:creationId xmlns:a16="http://schemas.microsoft.com/office/drawing/2014/main" id="{1758B6B5-08CA-47C8-A749-84C2F3DB76C6}"/>
                </a:ext>
              </a:extLst>
            </p:cNvPr>
            <p:cNvSpPr/>
            <p:nvPr userDrawn="1"/>
          </p:nvSpPr>
          <p:spPr>
            <a:xfrm>
              <a:off x="12494665"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422" name="Picture 3">
              <a:extLst>
                <a:ext uri="{FF2B5EF4-FFF2-40B4-BE49-F238E27FC236}">
                  <a16:creationId xmlns:a16="http://schemas.microsoft.com/office/drawing/2014/main" id="{82DB69CE-7C8E-407B-A8C9-3D3D847477CA}"/>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l="4630" t="13535" r="3470" b="13927"/>
            <a:stretch/>
          </p:blipFill>
          <p:spPr bwMode="auto">
            <a:xfrm>
              <a:off x="12535130"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423" name="Picture 3">
              <a:extLst>
                <a:ext uri="{FF2B5EF4-FFF2-40B4-BE49-F238E27FC236}">
                  <a16:creationId xmlns:a16="http://schemas.microsoft.com/office/drawing/2014/main" id="{4DC2D574-B482-4955-AFC1-A46AFAF956F3}"/>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2604588"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424" name="Tekstvak 423">
              <a:extLst>
                <a:ext uri="{FF2B5EF4-FFF2-40B4-BE49-F238E27FC236}">
                  <a16:creationId xmlns:a16="http://schemas.microsoft.com/office/drawing/2014/main" id="{94660A45-3114-490C-823F-5A694ABBBE2B}"/>
                </a:ext>
              </a:extLst>
            </p:cNvPr>
            <p:cNvSpPr txBox="1"/>
            <p:nvPr userDrawn="1"/>
          </p:nvSpPr>
          <p:spPr>
            <a:xfrm>
              <a:off x="12560359" y="4020160"/>
              <a:ext cx="88636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outerShdw blurRad="25400" algn="ctr" rotWithShape="0">
                      <a:prstClr val="white"/>
                    </a:outerShdw>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outerShdw blurRad="25400" algn="ctr" rotWithShape="0">
                    <a:prstClr val="white"/>
                  </a:outerShdw>
                </a:effectLst>
                <a:uLnTx/>
                <a:uFillTx/>
                <a:latin typeface="+mj-lt"/>
              </a:endParaRPr>
            </a:p>
          </p:txBody>
        </p:sp>
        <p:sp>
          <p:nvSpPr>
            <p:cNvPr id="425" name="Rechthoek 424">
              <a:extLst>
                <a:ext uri="{FF2B5EF4-FFF2-40B4-BE49-F238E27FC236}">
                  <a16:creationId xmlns:a16="http://schemas.microsoft.com/office/drawing/2014/main" id="{33924AA9-D98A-4EF3-BDC6-C83DDF114E71}"/>
                </a:ext>
              </a:extLst>
            </p:cNvPr>
            <p:cNvSpPr/>
            <p:nvPr userDrawn="1"/>
          </p:nvSpPr>
          <p:spPr>
            <a:xfrm>
              <a:off x="12363871"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GRAFIEK INVOEGEN</a:t>
              </a:r>
            </a:p>
          </p:txBody>
        </p:sp>
        <p:cxnSp>
          <p:nvCxnSpPr>
            <p:cNvPr id="426" name="Rechte verbindingslijn 425">
              <a:extLst>
                <a:ext uri="{FF2B5EF4-FFF2-40B4-BE49-F238E27FC236}">
                  <a16:creationId xmlns:a16="http://schemas.microsoft.com/office/drawing/2014/main" id="{94A3DE8D-5415-4D90-B416-9A6C222EA179}"/>
                </a:ext>
              </a:extLst>
            </p:cNvPr>
            <p:cNvCxnSpPr/>
            <p:nvPr userDrawn="1"/>
          </p:nvCxnSpPr>
          <p:spPr>
            <a:xfrm>
              <a:off x="12507575" y="33168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27" name="Rechte verbindingslijn 426">
              <a:extLst>
                <a:ext uri="{FF2B5EF4-FFF2-40B4-BE49-F238E27FC236}">
                  <a16:creationId xmlns:a16="http://schemas.microsoft.com/office/drawing/2014/main" id="{78C179AE-2207-47C0-866C-8AA8EFD6CA69}"/>
                </a:ext>
              </a:extLst>
            </p:cNvPr>
            <p:cNvCxnSpPr/>
            <p:nvPr userDrawn="1"/>
          </p:nvCxnSpPr>
          <p:spPr>
            <a:xfrm>
              <a:off x="12507211" y="253760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28" name="Rechte verbindingslijn 427">
              <a:extLst>
                <a:ext uri="{FF2B5EF4-FFF2-40B4-BE49-F238E27FC236}">
                  <a16:creationId xmlns:a16="http://schemas.microsoft.com/office/drawing/2014/main" id="{13E70B78-0DF9-496D-94A7-6D464FD9FF44}"/>
                </a:ext>
              </a:extLst>
            </p:cNvPr>
            <p:cNvCxnSpPr/>
            <p:nvPr userDrawn="1"/>
          </p:nvCxnSpPr>
          <p:spPr>
            <a:xfrm>
              <a:off x="12507575" y="4423040"/>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9" name="Rechte verbindingslijn 428">
              <a:extLst>
                <a:ext uri="{FF2B5EF4-FFF2-40B4-BE49-F238E27FC236}">
                  <a16:creationId xmlns:a16="http://schemas.microsoft.com/office/drawing/2014/main" id="{B924FD1F-C762-4BAB-929B-65A4BEFBDF83}"/>
                </a:ext>
              </a:extLst>
            </p:cNvPr>
            <p:cNvCxnSpPr/>
            <p:nvPr userDrawn="1"/>
          </p:nvCxnSpPr>
          <p:spPr>
            <a:xfrm>
              <a:off x="12507575" y="6838695"/>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0" name="Rechte verbindingslijn 429">
              <a:extLst>
                <a:ext uri="{FF2B5EF4-FFF2-40B4-BE49-F238E27FC236}">
                  <a16:creationId xmlns:a16="http://schemas.microsoft.com/office/drawing/2014/main" id="{7ED3A4C2-304F-41A4-B6BD-C890D35916D4}"/>
                </a:ext>
              </a:extLst>
            </p:cNvPr>
            <p:cNvCxnSpPr/>
            <p:nvPr userDrawn="1"/>
          </p:nvCxnSpPr>
          <p:spPr>
            <a:xfrm>
              <a:off x="12507211" y="4898666"/>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431" name="Groep 430">
              <a:extLst>
                <a:ext uri="{FF2B5EF4-FFF2-40B4-BE49-F238E27FC236}">
                  <a16:creationId xmlns:a16="http://schemas.microsoft.com/office/drawing/2014/main" id="{FE588FC8-29C6-4A6E-BA9E-D1DB2BEE97C2}"/>
                </a:ext>
              </a:extLst>
            </p:cNvPr>
            <p:cNvGrpSpPr/>
            <p:nvPr userDrawn="1"/>
          </p:nvGrpSpPr>
          <p:grpSpPr>
            <a:xfrm>
              <a:off x="12436353" y="1728359"/>
              <a:ext cx="689983" cy="573048"/>
              <a:chOff x="15171969" y="1587338"/>
              <a:chExt cx="755407" cy="627385"/>
            </a:xfrm>
          </p:grpSpPr>
          <p:sp>
            <p:nvSpPr>
              <p:cNvPr id="470" name="Rechthoek 962">
                <a:extLst>
                  <a:ext uri="{FF2B5EF4-FFF2-40B4-BE49-F238E27FC236}">
                    <a16:creationId xmlns:a16="http://schemas.microsoft.com/office/drawing/2014/main" id="{9625FB1F-2594-4346-B6BB-3D75286D6343}"/>
                  </a:ext>
                </a:extLst>
              </p:cNvPr>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471" name="Groep 470">
                <a:extLst>
                  <a:ext uri="{FF2B5EF4-FFF2-40B4-BE49-F238E27FC236}">
                    <a16:creationId xmlns:a16="http://schemas.microsoft.com/office/drawing/2014/main" id="{5DE4E730-4BAC-4828-A775-13B69C8CF2B2}"/>
                  </a:ext>
                </a:extLst>
              </p:cNvPr>
              <p:cNvGrpSpPr/>
              <p:nvPr userDrawn="1"/>
            </p:nvGrpSpPr>
            <p:grpSpPr>
              <a:xfrm>
                <a:off x="15281106" y="1587338"/>
                <a:ext cx="511775" cy="560304"/>
                <a:chOff x="10604642" y="969717"/>
                <a:chExt cx="1290643" cy="1427163"/>
              </a:xfrm>
            </p:grpSpPr>
            <p:grpSp>
              <p:nvGrpSpPr>
                <p:cNvPr id="472" name="Group 879">
                  <a:extLst>
                    <a:ext uri="{FF2B5EF4-FFF2-40B4-BE49-F238E27FC236}">
                      <a16:creationId xmlns:a16="http://schemas.microsoft.com/office/drawing/2014/main" id="{AE4281E3-F982-4853-9A4A-E3718D5CD396}"/>
                    </a:ext>
                  </a:extLst>
                </p:cNvPr>
                <p:cNvGrpSpPr>
                  <a:grpSpLocks noChangeAspect="1"/>
                </p:cNvGrpSpPr>
                <p:nvPr userDrawn="1"/>
              </p:nvGrpSpPr>
              <p:grpSpPr bwMode="auto">
                <a:xfrm>
                  <a:off x="10604642" y="969717"/>
                  <a:ext cx="1290643" cy="1427163"/>
                  <a:chOff x="4798" y="1515"/>
                  <a:chExt cx="813" cy="899"/>
                </a:xfrm>
              </p:grpSpPr>
              <p:sp>
                <p:nvSpPr>
                  <p:cNvPr id="474" name="Freeform 886">
                    <a:extLst>
                      <a:ext uri="{FF2B5EF4-FFF2-40B4-BE49-F238E27FC236}">
                        <a16:creationId xmlns:a16="http://schemas.microsoft.com/office/drawing/2014/main" id="{A297921A-5EB0-4512-8A66-6C10B4477DCE}"/>
                      </a:ext>
                    </a:extLst>
                  </p:cNvPr>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75" name="Rectangle 880">
                    <a:extLst>
                      <a:ext uri="{FF2B5EF4-FFF2-40B4-BE49-F238E27FC236}">
                        <a16:creationId xmlns:a16="http://schemas.microsoft.com/office/drawing/2014/main" id="{4F89E5F2-3030-4054-B5AF-CDD538C9B909}"/>
                      </a:ext>
                    </a:extLst>
                  </p:cNvPr>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76" name="Rectangle 881">
                    <a:extLst>
                      <a:ext uri="{FF2B5EF4-FFF2-40B4-BE49-F238E27FC236}">
                        <a16:creationId xmlns:a16="http://schemas.microsoft.com/office/drawing/2014/main" id="{FE977604-E690-4DBF-AA0A-3E5797942363}"/>
                      </a:ext>
                    </a:extLst>
                  </p:cNvPr>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77" name="Freeform 882">
                    <a:extLst>
                      <a:ext uri="{FF2B5EF4-FFF2-40B4-BE49-F238E27FC236}">
                        <a16:creationId xmlns:a16="http://schemas.microsoft.com/office/drawing/2014/main" id="{86A1D498-75A5-4516-B2BF-2E70F30416A7}"/>
                      </a:ext>
                    </a:extLst>
                  </p:cNvPr>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78" name="Freeform 883">
                    <a:extLst>
                      <a:ext uri="{FF2B5EF4-FFF2-40B4-BE49-F238E27FC236}">
                        <a16:creationId xmlns:a16="http://schemas.microsoft.com/office/drawing/2014/main" id="{7BFBAB48-2977-4A67-A1B7-817B41ACA391}"/>
                      </a:ext>
                    </a:extLst>
                  </p:cNvPr>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79" name="Freeform 884">
                    <a:extLst>
                      <a:ext uri="{FF2B5EF4-FFF2-40B4-BE49-F238E27FC236}">
                        <a16:creationId xmlns:a16="http://schemas.microsoft.com/office/drawing/2014/main" id="{32607CB2-8D71-4586-B0A1-F927E075BB35}"/>
                      </a:ext>
                    </a:extLst>
                  </p:cNvPr>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80" name="Rectangle 885">
                    <a:extLst>
                      <a:ext uri="{FF2B5EF4-FFF2-40B4-BE49-F238E27FC236}">
                        <a16:creationId xmlns:a16="http://schemas.microsoft.com/office/drawing/2014/main" id="{966A24F9-E252-477E-8D6E-346CA243ACEE}"/>
                      </a:ext>
                    </a:extLst>
                  </p:cNvPr>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81" name="Rectangle 887">
                    <a:extLst>
                      <a:ext uri="{FF2B5EF4-FFF2-40B4-BE49-F238E27FC236}">
                        <a16:creationId xmlns:a16="http://schemas.microsoft.com/office/drawing/2014/main" id="{34FD9C2D-FB7F-4421-9DBE-E41696E3E82A}"/>
                      </a:ext>
                    </a:extLst>
                  </p:cNvPr>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82" name="Freeform 888">
                    <a:extLst>
                      <a:ext uri="{FF2B5EF4-FFF2-40B4-BE49-F238E27FC236}">
                        <a16:creationId xmlns:a16="http://schemas.microsoft.com/office/drawing/2014/main" id="{09199220-CBB1-433C-94E0-B6262846072B}"/>
                      </a:ext>
                    </a:extLst>
                  </p:cNvPr>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473" name="Vrije vorm 84">
                  <a:extLst>
                    <a:ext uri="{FF2B5EF4-FFF2-40B4-BE49-F238E27FC236}">
                      <a16:creationId xmlns:a16="http://schemas.microsoft.com/office/drawing/2014/main" id="{1E8D590B-1963-4BD0-B84F-CFA7CCA2480B}"/>
                    </a:ext>
                  </a:extLst>
                </p:cNvPr>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432" name="Groep 431">
              <a:extLst>
                <a:ext uri="{FF2B5EF4-FFF2-40B4-BE49-F238E27FC236}">
                  <a16:creationId xmlns:a16="http://schemas.microsoft.com/office/drawing/2014/main" id="{40FC60DD-2D35-442F-9D91-E111394CEC1A}"/>
                </a:ext>
              </a:extLst>
            </p:cNvPr>
            <p:cNvGrpSpPr/>
            <p:nvPr userDrawn="1"/>
          </p:nvGrpSpPr>
          <p:grpSpPr>
            <a:xfrm>
              <a:off x="12548778" y="6003628"/>
              <a:ext cx="1980859" cy="542924"/>
              <a:chOff x="12390702" y="6054428"/>
              <a:chExt cx="1980859" cy="542924"/>
            </a:xfrm>
          </p:grpSpPr>
          <p:sp>
            <p:nvSpPr>
              <p:cNvPr id="436" name="Rechthoek 435">
                <a:extLst>
                  <a:ext uri="{FF2B5EF4-FFF2-40B4-BE49-F238E27FC236}">
                    <a16:creationId xmlns:a16="http://schemas.microsoft.com/office/drawing/2014/main" id="{28FD02F9-A7C9-4B45-AEE0-F2F86F5603D1}"/>
                  </a:ext>
                </a:extLst>
              </p:cNvPr>
              <p:cNvSpPr/>
              <p:nvPr/>
            </p:nvSpPr>
            <p:spPr>
              <a:xfrm>
                <a:off x="12402284" y="6054428"/>
                <a:ext cx="1969277" cy="542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437" name="Rechthoek 436">
                <a:extLst>
                  <a:ext uri="{FF2B5EF4-FFF2-40B4-BE49-F238E27FC236}">
                    <a16:creationId xmlns:a16="http://schemas.microsoft.com/office/drawing/2014/main" id="{82D67691-0EF9-428D-86A3-2A0AD9315B7A}"/>
                  </a:ext>
                </a:extLst>
              </p:cNvPr>
              <p:cNvSpPr/>
              <p:nvPr/>
            </p:nvSpPr>
            <p:spPr>
              <a:xfrm>
                <a:off x="12662053" y="6062530"/>
                <a:ext cx="1452642" cy="261610"/>
              </a:xfrm>
              <a:prstGeom prst="rect">
                <a:avLst/>
              </a:prstGeom>
            </p:spPr>
            <p:txBody>
              <a:bodyPr wrap="none">
                <a:spAutoFit/>
              </a:bodyPr>
              <a:lstStyle/>
              <a:p>
                <a:r>
                  <a:rPr lang="en-US" sz="1100" dirty="0">
                    <a:latin typeface="+mn-lt"/>
                    <a:ea typeface="Adobe Heiti Std R" panose="020B0400000000000000" pitchFamily="34" charset="-128"/>
                    <a:cs typeface="Segoe UI Light" panose="020B0502040204020203" pitchFamily="34" charset="0"/>
                  </a:rPr>
                  <a:t>Ander </a:t>
                </a:r>
                <a:r>
                  <a:rPr lang="en-US" sz="1100" dirty="0" err="1">
                    <a:latin typeface="+mn-lt"/>
                    <a:ea typeface="Adobe Heiti Std R" panose="020B0400000000000000" pitchFamily="34" charset="-128"/>
                    <a:cs typeface="Segoe UI Light" panose="020B0502040204020203" pitchFamily="34" charset="0"/>
                  </a:rPr>
                  <a:t>grafiektype</a:t>
                </a:r>
                <a:r>
                  <a:rPr lang="en-US" sz="1100" dirty="0">
                    <a:latin typeface="+mn-lt"/>
                    <a:ea typeface="Adobe Heiti Std R" panose="020B0400000000000000" pitchFamily="34" charset="-128"/>
                    <a:cs typeface="Segoe UI Light" panose="020B0502040204020203" pitchFamily="34" charset="0"/>
                  </a:rPr>
                  <a:t>…</a:t>
                </a:r>
              </a:p>
            </p:txBody>
          </p:sp>
          <p:sp>
            <p:nvSpPr>
              <p:cNvPr id="438" name="Gelijkbenige driehoek 437">
                <a:extLst>
                  <a:ext uri="{FF2B5EF4-FFF2-40B4-BE49-F238E27FC236}">
                    <a16:creationId xmlns:a16="http://schemas.microsoft.com/office/drawing/2014/main" id="{C0366247-5726-43AD-AC4F-3E3531C2B673}"/>
                  </a:ext>
                </a:extLst>
              </p:cNvPr>
              <p:cNvSpPr/>
              <p:nvPr/>
            </p:nvSpPr>
            <p:spPr>
              <a:xfrm rot="5400000">
                <a:off x="14210471" y="6150144"/>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n-lt"/>
                  <a:ea typeface="Adobe Heiti Std R" panose="020B0400000000000000" pitchFamily="34" charset="-128"/>
                  <a:cs typeface="Segoe UI Light" panose="020B0502040204020203" pitchFamily="34" charset="0"/>
                </a:endParaRPr>
              </a:p>
            </p:txBody>
          </p:sp>
          <p:sp>
            <p:nvSpPr>
              <p:cNvPr id="439" name="Afgeronde rechthoek 50">
                <a:extLst>
                  <a:ext uri="{FF2B5EF4-FFF2-40B4-BE49-F238E27FC236}">
                    <a16:creationId xmlns:a16="http://schemas.microsoft.com/office/drawing/2014/main" id="{43EDE28E-635A-4BEC-B580-C78C3610324A}"/>
                  </a:ext>
                </a:extLst>
              </p:cNvPr>
              <p:cNvSpPr/>
              <p:nvPr/>
            </p:nvSpPr>
            <p:spPr>
              <a:xfrm>
                <a:off x="12390702" y="6322741"/>
                <a:ext cx="1973675" cy="268314"/>
              </a:xfrm>
              <a:prstGeom prst="roundRect">
                <a:avLst/>
              </a:prstGeom>
              <a:gradFill>
                <a:gsLst>
                  <a:gs pos="0">
                    <a:srgbClr val="FFF2BD"/>
                  </a:gs>
                  <a:gs pos="34000">
                    <a:srgbClr val="FFE98B"/>
                  </a:gs>
                  <a:gs pos="78000">
                    <a:srgbClr val="FFF5C9"/>
                  </a:gs>
                  <a:gs pos="59000">
                    <a:srgbClr val="FFE98B"/>
                  </a:gs>
                </a:gsLst>
                <a:lin ang="5400000" scaled="0"/>
              </a:gra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1200" dirty="0" err="1">
                    <a:solidFill>
                      <a:schemeClr val="tx1"/>
                    </a:solidFill>
                    <a:latin typeface="+mn-lt"/>
                    <a:ea typeface="Adobe Heiti Std R" panose="020B0400000000000000" pitchFamily="34" charset="-128"/>
                    <a:cs typeface="Segoe UI Light" panose="020B0502040204020203" pitchFamily="34" charset="0"/>
                  </a:rPr>
                  <a:t>Gegevens</a:t>
                </a:r>
                <a:r>
                  <a:rPr lang="en-US" sz="1200" dirty="0">
                    <a:solidFill>
                      <a:schemeClr val="tx1"/>
                    </a:solidFill>
                    <a:latin typeface="+mn-lt"/>
                    <a:ea typeface="Adobe Heiti Std R" panose="020B0400000000000000" pitchFamily="34" charset="-128"/>
                    <a:cs typeface="Segoe UI Light" panose="020B0502040204020203" pitchFamily="34" charset="0"/>
                  </a:rPr>
                  <a:t> </a:t>
                </a:r>
                <a:r>
                  <a:rPr lang="en-US" sz="1200" dirty="0" err="1">
                    <a:solidFill>
                      <a:schemeClr val="tx1"/>
                    </a:solidFill>
                    <a:latin typeface="+mn-lt"/>
                    <a:ea typeface="Adobe Heiti Std R" panose="020B0400000000000000" pitchFamily="34" charset="-128"/>
                    <a:cs typeface="Segoe UI Light" panose="020B0502040204020203" pitchFamily="34" charset="0"/>
                  </a:rPr>
                  <a:t>bewerken</a:t>
                </a:r>
                <a:r>
                  <a:rPr lang="en-US" sz="1200" dirty="0">
                    <a:solidFill>
                      <a:schemeClr val="tx1"/>
                    </a:solidFill>
                    <a:latin typeface="+mn-lt"/>
                    <a:ea typeface="Adobe Heiti Std R" panose="020B0400000000000000" pitchFamily="34" charset="-128"/>
                    <a:cs typeface="Segoe UI Light" panose="020B0502040204020203" pitchFamily="34" charset="0"/>
                  </a:rPr>
                  <a:t>…</a:t>
                </a:r>
              </a:p>
            </p:txBody>
          </p:sp>
          <p:grpSp>
            <p:nvGrpSpPr>
              <p:cNvPr id="440" name="Groep 439">
                <a:extLst>
                  <a:ext uri="{FF2B5EF4-FFF2-40B4-BE49-F238E27FC236}">
                    <a16:creationId xmlns:a16="http://schemas.microsoft.com/office/drawing/2014/main" id="{3B59111B-1B4B-47BA-A835-48A038F9ADAC}"/>
                  </a:ext>
                </a:extLst>
              </p:cNvPr>
              <p:cNvGrpSpPr/>
              <p:nvPr/>
            </p:nvGrpSpPr>
            <p:grpSpPr>
              <a:xfrm>
                <a:off x="12461788" y="6100223"/>
                <a:ext cx="204691" cy="170000"/>
                <a:chOff x="15171969" y="1587338"/>
                <a:chExt cx="755407" cy="627385"/>
              </a:xfrm>
            </p:grpSpPr>
            <p:sp>
              <p:nvSpPr>
                <p:cNvPr id="457" name="Rechthoek 962">
                  <a:extLst>
                    <a:ext uri="{FF2B5EF4-FFF2-40B4-BE49-F238E27FC236}">
                      <a16:creationId xmlns:a16="http://schemas.microsoft.com/office/drawing/2014/main" id="{476E62C8-D443-42EB-B3D4-CEC66D303E96}"/>
                    </a:ext>
                  </a:extLst>
                </p:cNvPr>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458" name="Groep 457">
                  <a:extLst>
                    <a:ext uri="{FF2B5EF4-FFF2-40B4-BE49-F238E27FC236}">
                      <a16:creationId xmlns:a16="http://schemas.microsoft.com/office/drawing/2014/main" id="{F9E9C393-2AD7-480E-B5C5-5EF5B4CAB180}"/>
                    </a:ext>
                  </a:extLst>
                </p:cNvPr>
                <p:cNvGrpSpPr/>
                <p:nvPr userDrawn="1"/>
              </p:nvGrpSpPr>
              <p:grpSpPr>
                <a:xfrm>
                  <a:off x="15281106" y="1587338"/>
                  <a:ext cx="511775" cy="560304"/>
                  <a:chOff x="10604642" y="969717"/>
                  <a:chExt cx="1290643" cy="1427163"/>
                </a:xfrm>
              </p:grpSpPr>
              <p:grpSp>
                <p:nvGrpSpPr>
                  <p:cNvPr id="459" name="Group 879">
                    <a:extLst>
                      <a:ext uri="{FF2B5EF4-FFF2-40B4-BE49-F238E27FC236}">
                        <a16:creationId xmlns:a16="http://schemas.microsoft.com/office/drawing/2014/main" id="{DC412EB4-330B-4BC1-B48A-188D3A3D4B5C}"/>
                      </a:ext>
                    </a:extLst>
                  </p:cNvPr>
                  <p:cNvGrpSpPr>
                    <a:grpSpLocks noChangeAspect="1"/>
                  </p:cNvGrpSpPr>
                  <p:nvPr userDrawn="1"/>
                </p:nvGrpSpPr>
                <p:grpSpPr bwMode="auto">
                  <a:xfrm>
                    <a:off x="10604642" y="969717"/>
                    <a:ext cx="1290643" cy="1427163"/>
                    <a:chOff x="4798" y="1515"/>
                    <a:chExt cx="813" cy="899"/>
                  </a:xfrm>
                </p:grpSpPr>
                <p:sp>
                  <p:nvSpPr>
                    <p:cNvPr id="461" name="Freeform 886">
                      <a:extLst>
                        <a:ext uri="{FF2B5EF4-FFF2-40B4-BE49-F238E27FC236}">
                          <a16:creationId xmlns:a16="http://schemas.microsoft.com/office/drawing/2014/main" id="{A21BD19D-FA33-4F50-AE0B-04DA2F02EFDB}"/>
                        </a:ext>
                      </a:extLst>
                    </p:cNvPr>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62" name="Rectangle 880">
                      <a:extLst>
                        <a:ext uri="{FF2B5EF4-FFF2-40B4-BE49-F238E27FC236}">
                          <a16:creationId xmlns:a16="http://schemas.microsoft.com/office/drawing/2014/main" id="{1D40E227-6945-48D3-83CC-A8E0E4619438}"/>
                        </a:ext>
                      </a:extLst>
                    </p:cNvPr>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63" name="Rectangle 881">
                      <a:extLst>
                        <a:ext uri="{FF2B5EF4-FFF2-40B4-BE49-F238E27FC236}">
                          <a16:creationId xmlns:a16="http://schemas.microsoft.com/office/drawing/2014/main" id="{2F18DDA6-437E-4F67-A841-BDF4DB4EFE70}"/>
                        </a:ext>
                      </a:extLst>
                    </p:cNvPr>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64" name="Freeform 882">
                      <a:extLst>
                        <a:ext uri="{FF2B5EF4-FFF2-40B4-BE49-F238E27FC236}">
                          <a16:creationId xmlns:a16="http://schemas.microsoft.com/office/drawing/2014/main" id="{189D2BFC-78D0-407F-9B8D-615C4C8D7DF0}"/>
                        </a:ext>
                      </a:extLst>
                    </p:cNvPr>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65" name="Freeform 883">
                      <a:extLst>
                        <a:ext uri="{FF2B5EF4-FFF2-40B4-BE49-F238E27FC236}">
                          <a16:creationId xmlns:a16="http://schemas.microsoft.com/office/drawing/2014/main" id="{295F1617-C0F1-4B1A-9223-8349222FEA47}"/>
                        </a:ext>
                      </a:extLst>
                    </p:cNvPr>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66" name="Freeform 884">
                      <a:extLst>
                        <a:ext uri="{FF2B5EF4-FFF2-40B4-BE49-F238E27FC236}">
                          <a16:creationId xmlns:a16="http://schemas.microsoft.com/office/drawing/2014/main" id="{26347FD0-F354-4D76-B253-502AC3DB34F0}"/>
                        </a:ext>
                      </a:extLst>
                    </p:cNvPr>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67" name="Rectangle 885">
                      <a:extLst>
                        <a:ext uri="{FF2B5EF4-FFF2-40B4-BE49-F238E27FC236}">
                          <a16:creationId xmlns:a16="http://schemas.microsoft.com/office/drawing/2014/main" id="{2C8586B1-7BB6-49B2-B64A-74866E5C5B79}"/>
                        </a:ext>
                      </a:extLst>
                    </p:cNvPr>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68" name="Rectangle 887">
                      <a:extLst>
                        <a:ext uri="{FF2B5EF4-FFF2-40B4-BE49-F238E27FC236}">
                          <a16:creationId xmlns:a16="http://schemas.microsoft.com/office/drawing/2014/main" id="{B15B626E-7EF8-45A3-BE56-05E33182DBE9}"/>
                        </a:ext>
                      </a:extLst>
                    </p:cNvPr>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69" name="Freeform 888">
                      <a:extLst>
                        <a:ext uri="{FF2B5EF4-FFF2-40B4-BE49-F238E27FC236}">
                          <a16:creationId xmlns:a16="http://schemas.microsoft.com/office/drawing/2014/main" id="{B1CF487E-2B2A-4228-8A43-BD0F002DF90F}"/>
                        </a:ext>
                      </a:extLst>
                    </p:cNvPr>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460" name="Vrije vorm 71">
                    <a:extLst>
                      <a:ext uri="{FF2B5EF4-FFF2-40B4-BE49-F238E27FC236}">
                        <a16:creationId xmlns:a16="http://schemas.microsoft.com/office/drawing/2014/main" id="{B182B0C1-7E7E-4AF9-8147-0A24733C4513}"/>
                      </a:ext>
                    </a:extLst>
                  </p:cNvPr>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441" name="Groep 440">
                <a:extLst>
                  <a:ext uri="{FF2B5EF4-FFF2-40B4-BE49-F238E27FC236}">
                    <a16:creationId xmlns:a16="http://schemas.microsoft.com/office/drawing/2014/main" id="{8FE6EBE8-899F-40A5-AC58-C01C360E9613}"/>
                  </a:ext>
                </a:extLst>
              </p:cNvPr>
              <p:cNvGrpSpPr/>
              <p:nvPr/>
            </p:nvGrpSpPr>
            <p:grpSpPr>
              <a:xfrm>
                <a:off x="12468521" y="6356844"/>
                <a:ext cx="133446" cy="114786"/>
                <a:chOff x="14587469" y="6356844"/>
                <a:chExt cx="133446" cy="114786"/>
              </a:xfrm>
            </p:grpSpPr>
            <p:sp>
              <p:nvSpPr>
                <p:cNvPr id="447" name="Rectangle 6">
                  <a:extLst>
                    <a:ext uri="{FF2B5EF4-FFF2-40B4-BE49-F238E27FC236}">
                      <a16:creationId xmlns:a16="http://schemas.microsoft.com/office/drawing/2014/main" id="{CA35525C-792D-44E2-8AAB-3E8D69ADD89B}"/>
                    </a:ext>
                  </a:extLst>
                </p:cNvPr>
                <p:cNvSpPr>
                  <a:spLocks noChangeArrowheads="1"/>
                </p:cNvSpPr>
                <p:nvPr userDrawn="1"/>
              </p:nvSpPr>
              <p:spPr bwMode="auto">
                <a:xfrm>
                  <a:off x="14588703" y="6379233"/>
                  <a:ext cx="130780" cy="91699"/>
                </a:xfrm>
                <a:prstGeom prst="rect">
                  <a:avLst/>
                </a:prstGeom>
                <a:solidFill>
                  <a:srgbClr val="F2FAFF"/>
                </a:solidFill>
                <a:ln w="0">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448" name="Rectangle 15">
                  <a:extLst>
                    <a:ext uri="{FF2B5EF4-FFF2-40B4-BE49-F238E27FC236}">
                      <a16:creationId xmlns:a16="http://schemas.microsoft.com/office/drawing/2014/main" id="{A87AA3E7-E608-46E9-A2CC-D458C506A5EA}"/>
                    </a:ext>
                  </a:extLst>
                </p:cNvPr>
                <p:cNvSpPr>
                  <a:spLocks noChangeArrowheads="1"/>
                </p:cNvSpPr>
                <p:nvPr userDrawn="1"/>
              </p:nvSpPr>
              <p:spPr bwMode="auto">
                <a:xfrm>
                  <a:off x="14587469" y="6423761"/>
                  <a:ext cx="131076" cy="1446"/>
                </a:xfrm>
                <a:prstGeom prst="rect">
                  <a:avLst/>
                </a:prstGeom>
                <a:gradFill flip="none" rotWithShape="1">
                  <a:gsLst>
                    <a:gs pos="20000">
                      <a:srgbClr val="0039AC"/>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449" name="Freeform 14">
                  <a:extLst>
                    <a:ext uri="{FF2B5EF4-FFF2-40B4-BE49-F238E27FC236}">
                      <a16:creationId xmlns:a16="http://schemas.microsoft.com/office/drawing/2014/main" id="{4AC98EA0-FF08-45A0-8DB4-E3751A3457F5}"/>
                    </a:ext>
                  </a:extLst>
                </p:cNvPr>
                <p:cNvSpPr>
                  <a:spLocks noEditPoints="1"/>
                </p:cNvSpPr>
                <p:nvPr userDrawn="1"/>
              </p:nvSpPr>
              <p:spPr bwMode="auto">
                <a:xfrm>
                  <a:off x="14588901" y="6356844"/>
                  <a:ext cx="132014" cy="114786"/>
                </a:xfrm>
                <a:custGeom>
                  <a:avLst/>
                  <a:gdLst>
                    <a:gd name="T0" fmla="*/ 48 w 5347"/>
                    <a:gd name="T1" fmla="*/ 48 h 4605"/>
                    <a:gd name="T2" fmla="*/ 48 w 5347"/>
                    <a:gd name="T3" fmla="*/ 4557 h 4605"/>
                    <a:gd name="T4" fmla="*/ 5299 w 5347"/>
                    <a:gd name="T5" fmla="*/ 4557 h 4605"/>
                    <a:gd name="T6" fmla="*/ 5299 w 5347"/>
                    <a:gd name="T7" fmla="*/ 48 h 4605"/>
                    <a:gd name="T8" fmla="*/ 48 w 5347"/>
                    <a:gd name="T9" fmla="*/ 48 h 4605"/>
                    <a:gd name="T10" fmla="*/ 0 w 5347"/>
                    <a:gd name="T11" fmla="*/ 0 h 4605"/>
                    <a:gd name="T12" fmla="*/ 5347 w 5347"/>
                    <a:gd name="T13" fmla="*/ 0 h 4605"/>
                    <a:gd name="T14" fmla="*/ 5347 w 5347"/>
                    <a:gd name="T15" fmla="*/ 4605 h 4605"/>
                    <a:gd name="T16" fmla="*/ 0 w 5347"/>
                    <a:gd name="T17" fmla="*/ 4605 h 4605"/>
                    <a:gd name="T18" fmla="*/ 0 w 5347"/>
                    <a:gd name="T19" fmla="*/ 0 h 4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7" h="4605">
                      <a:moveTo>
                        <a:pt x="48" y="48"/>
                      </a:moveTo>
                      <a:lnTo>
                        <a:pt x="48" y="4557"/>
                      </a:lnTo>
                      <a:lnTo>
                        <a:pt x="5299" y="4557"/>
                      </a:lnTo>
                      <a:lnTo>
                        <a:pt x="5299" y="48"/>
                      </a:lnTo>
                      <a:lnTo>
                        <a:pt x="48" y="48"/>
                      </a:lnTo>
                      <a:close/>
                      <a:moveTo>
                        <a:pt x="0" y="0"/>
                      </a:moveTo>
                      <a:lnTo>
                        <a:pt x="5347" y="0"/>
                      </a:lnTo>
                      <a:lnTo>
                        <a:pt x="5347" y="4605"/>
                      </a:lnTo>
                      <a:lnTo>
                        <a:pt x="0" y="4605"/>
                      </a:lnTo>
                      <a:lnTo>
                        <a:pt x="0" y="0"/>
                      </a:lnTo>
                      <a:close/>
                    </a:path>
                  </a:pathLst>
                </a:custGeom>
                <a:solidFill>
                  <a:srgbClr val="2E5D8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cxnSp>
              <p:nvCxnSpPr>
                <p:cNvPr id="450" name="Rechte verbindingslijn 449">
                  <a:extLst>
                    <a:ext uri="{FF2B5EF4-FFF2-40B4-BE49-F238E27FC236}">
                      <a16:creationId xmlns:a16="http://schemas.microsoft.com/office/drawing/2014/main" id="{5E58A60A-419C-4B67-8865-9ACDDD72FC24}"/>
                    </a:ext>
                  </a:extLst>
                </p:cNvPr>
                <p:cNvCxnSpPr/>
                <p:nvPr userDrawn="1"/>
              </p:nvCxnSpPr>
              <p:spPr>
                <a:xfrm flipH="1">
                  <a:off x="14654334" y="6382168"/>
                  <a:ext cx="162"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51" name="Rechte verbindingslijn 450">
                  <a:extLst>
                    <a:ext uri="{FF2B5EF4-FFF2-40B4-BE49-F238E27FC236}">
                      <a16:creationId xmlns:a16="http://schemas.microsoft.com/office/drawing/2014/main" id="{4E4D1F5F-0A9C-4B98-A7B6-B63DE7FD7B94}"/>
                    </a:ext>
                  </a:extLst>
                </p:cNvPr>
                <p:cNvCxnSpPr/>
                <p:nvPr userDrawn="1"/>
              </p:nvCxnSpPr>
              <p:spPr>
                <a:xfrm>
                  <a:off x="14689188" y="6382168"/>
                  <a:ext cx="0"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52" name="Rechte verbindingslijn 451">
                  <a:extLst>
                    <a:ext uri="{FF2B5EF4-FFF2-40B4-BE49-F238E27FC236}">
                      <a16:creationId xmlns:a16="http://schemas.microsoft.com/office/drawing/2014/main" id="{E74096A4-388E-48E3-816D-2CE2E2FC3D2C}"/>
                    </a:ext>
                  </a:extLst>
                </p:cNvPr>
                <p:cNvCxnSpPr/>
                <p:nvPr userDrawn="1"/>
              </p:nvCxnSpPr>
              <p:spPr>
                <a:xfrm>
                  <a:off x="14619892" y="6382040"/>
                  <a:ext cx="0" cy="8577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53" name="Rechte verbindingslijn 452">
                  <a:extLst>
                    <a:ext uri="{FF2B5EF4-FFF2-40B4-BE49-F238E27FC236}">
                      <a16:creationId xmlns:a16="http://schemas.microsoft.com/office/drawing/2014/main" id="{60A14ABB-9063-4851-8432-C8E6999A6A07}"/>
                    </a:ext>
                  </a:extLst>
                </p:cNvPr>
                <p:cNvCxnSpPr/>
                <p:nvPr userDrawn="1"/>
              </p:nvCxnSpPr>
              <p:spPr>
                <a:xfrm flipH="1">
                  <a:off x="14593115" y="6400164"/>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54" name="Rechte verbindingslijn 453">
                  <a:extLst>
                    <a:ext uri="{FF2B5EF4-FFF2-40B4-BE49-F238E27FC236}">
                      <a16:creationId xmlns:a16="http://schemas.microsoft.com/office/drawing/2014/main" id="{7EF3F168-0746-492C-A1B8-CA79DEC91498}"/>
                    </a:ext>
                  </a:extLst>
                </p:cNvPr>
                <p:cNvCxnSpPr/>
                <p:nvPr userDrawn="1"/>
              </p:nvCxnSpPr>
              <p:spPr>
                <a:xfrm flipH="1">
                  <a:off x="14593115" y="6423860"/>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55" name="Rechte verbindingslijn 454">
                  <a:extLst>
                    <a:ext uri="{FF2B5EF4-FFF2-40B4-BE49-F238E27FC236}">
                      <a16:creationId xmlns:a16="http://schemas.microsoft.com/office/drawing/2014/main" id="{C536BA8F-9D9B-483A-8484-2F22DDD7F256}"/>
                    </a:ext>
                  </a:extLst>
                </p:cNvPr>
                <p:cNvCxnSpPr/>
                <p:nvPr userDrawn="1"/>
              </p:nvCxnSpPr>
              <p:spPr>
                <a:xfrm flipH="1">
                  <a:off x="14593115" y="6447556"/>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456" name="Rectangle 13">
                  <a:extLst>
                    <a:ext uri="{FF2B5EF4-FFF2-40B4-BE49-F238E27FC236}">
                      <a16:creationId xmlns:a16="http://schemas.microsoft.com/office/drawing/2014/main" id="{4B2AB153-A87F-4867-83CE-636B576544F8}"/>
                    </a:ext>
                  </a:extLst>
                </p:cNvPr>
                <p:cNvSpPr>
                  <a:spLocks noChangeArrowheads="1"/>
                </p:cNvSpPr>
                <p:nvPr userDrawn="1"/>
              </p:nvSpPr>
              <p:spPr bwMode="auto">
                <a:xfrm>
                  <a:off x="14590283" y="6359138"/>
                  <a:ext cx="128657" cy="19347"/>
                </a:xfrm>
                <a:prstGeom prst="rect">
                  <a:avLst/>
                </a:prstGeom>
                <a:gradFill flip="none" rotWithShape="1">
                  <a:gsLst>
                    <a:gs pos="0">
                      <a:srgbClr val="1929FF"/>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grpSp>
          <p:grpSp>
            <p:nvGrpSpPr>
              <p:cNvPr id="442" name="Groep 441">
                <a:extLst>
                  <a:ext uri="{FF2B5EF4-FFF2-40B4-BE49-F238E27FC236}">
                    <a16:creationId xmlns:a16="http://schemas.microsoft.com/office/drawing/2014/main" id="{C070FA77-0AD2-4264-9011-955181CCC88F}"/>
                  </a:ext>
                </a:extLst>
              </p:cNvPr>
              <p:cNvGrpSpPr/>
              <p:nvPr/>
            </p:nvGrpSpPr>
            <p:grpSpPr>
              <a:xfrm>
                <a:off x="12529899" y="6421402"/>
                <a:ext cx="97399" cy="97399"/>
                <a:chOff x="14546483" y="5323041"/>
                <a:chExt cx="242460" cy="242460"/>
              </a:xfrm>
            </p:grpSpPr>
            <p:sp>
              <p:nvSpPr>
                <p:cNvPr id="443" name="Rechthoek 442">
                  <a:extLst>
                    <a:ext uri="{FF2B5EF4-FFF2-40B4-BE49-F238E27FC236}">
                      <a16:creationId xmlns:a16="http://schemas.microsoft.com/office/drawing/2014/main" id="{7D7A31CF-04B3-45BB-90A7-CF101C4ED5AB}"/>
                    </a:ext>
                  </a:extLst>
                </p:cNvPr>
                <p:cNvSpPr/>
                <p:nvPr userDrawn="1"/>
              </p:nvSpPr>
              <p:spPr>
                <a:xfrm>
                  <a:off x="14546483" y="5323041"/>
                  <a:ext cx="242460" cy="242460"/>
                </a:xfrm>
                <a:prstGeom prst="rect">
                  <a:avLst/>
                </a:prstGeom>
                <a:solidFill>
                  <a:schemeClr val="bg1"/>
                </a:solidFill>
                <a:ln w="6350">
                  <a:solidFill>
                    <a:srgbClr val="00A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nvGrpSpPr>
                <p:cNvPr id="444" name="Groep 443">
                  <a:extLst>
                    <a:ext uri="{FF2B5EF4-FFF2-40B4-BE49-F238E27FC236}">
                      <a16:creationId xmlns:a16="http://schemas.microsoft.com/office/drawing/2014/main" id="{3FC23015-09CB-4B29-8FF8-DE1FA7A34CDE}"/>
                    </a:ext>
                  </a:extLst>
                </p:cNvPr>
                <p:cNvGrpSpPr/>
                <p:nvPr/>
              </p:nvGrpSpPr>
              <p:grpSpPr>
                <a:xfrm>
                  <a:off x="14568035" y="5357818"/>
                  <a:ext cx="199836" cy="175226"/>
                  <a:chOff x="14559757" y="5349611"/>
                  <a:chExt cx="216392" cy="191641"/>
                </a:xfrm>
              </p:grpSpPr>
              <p:sp>
                <p:nvSpPr>
                  <p:cNvPr id="445" name="Parallellogram 444">
                    <a:extLst>
                      <a:ext uri="{FF2B5EF4-FFF2-40B4-BE49-F238E27FC236}">
                        <a16:creationId xmlns:a16="http://schemas.microsoft.com/office/drawing/2014/main" id="{2302BFD1-9C87-4B0D-9052-16E83FCDA65D}"/>
                      </a:ext>
                    </a:extLst>
                  </p:cNvPr>
                  <p:cNvSpPr/>
                  <p:nvPr/>
                </p:nvSpPr>
                <p:spPr>
                  <a:xfrm>
                    <a:off x="14559757" y="5369222"/>
                    <a:ext cx="214316" cy="147762"/>
                  </a:xfrm>
                  <a:prstGeom prst="parallelogram">
                    <a:avLst>
                      <a:gd name="adj" fmla="val 93909"/>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446" name="Parallellogram 445">
                    <a:extLst>
                      <a:ext uri="{FF2B5EF4-FFF2-40B4-BE49-F238E27FC236}">
                        <a16:creationId xmlns:a16="http://schemas.microsoft.com/office/drawing/2014/main" id="{2F0E5B0B-3D61-4B93-BBAD-CF197D10FEF8}"/>
                      </a:ext>
                    </a:extLst>
                  </p:cNvPr>
                  <p:cNvSpPr/>
                  <p:nvPr/>
                </p:nvSpPr>
                <p:spPr>
                  <a:xfrm flipH="1">
                    <a:off x="14561833" y="5349611"/>
                    <a:ext cx="214316" cy="191641"/>
                  </a:xfrm>
                  <a:prstGeom prst="parallelogram">
                    <a:avLst>
                      <a:gd name="adj" fmla="val 68946"/>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grpSp>
        </p:grpSp>
        <p:sp>
          <p:nvSpPr>
            <p:cNvPr id="433" name="Tekstvak 33">
              <a:extLst>
                <a:ext uri="{FF2B5EF4-FFF2-40B4-BE49-F238E27FC236}">
                  <a16:creationId xmlns:a16="http://schemas.microsoft.com/office/drawing/2014/main" id="{0A6BB392-9AA0-40BC-955B-A2B276B1AF08}"/>
                </a:ext>
              </a:extLst>
            </p:cNvPr>
            <p:cNvSpPr txBox="1"/>
            <p:nvPr userDrawn="1"/>
          </p:nvSpPr>
          <p:spPr>
            <a:xfrm>
              <a:off x="12537681" y="5123358"/>
              <a:ext cx="2588841" cy="646331"/>
            </a:xfrm>
            <a:prstGeom prst="rect">
              <a:avLst/>
            </a:prstGeom>
            <a:noFill/>
          </p:spPr>
          <p:txBody>
            <a:bodyPr wrap="square" lIns="0" tIns="0" rIns="0" bIns="0" rtlCol="0" anchor="t">
              <a:spAutoFit/>
            </a:bodyPr>
            <a:lstStyle>
              <a:defPPr>
                <a:defRPr lang="nl-NL"/>
              </a:defPPr>
              <a:lvl1pPr marR="0" lvl="0" indent="0" defTabSz="914400" fontAlgn="auto">
                <a:lnSpc>
                  <a:spcPct val="100000"/>
                </a:lnSpc>
                <a:spcBef>
                  <a:spcPts val="0"/>
                </a:spcBef>
                <a:spcAft>
                  <a:spcPts val="0"/>
                </a:spcAft>
                <a:buClrTx/>
                <a:buSzTx/>
                <a:buFontTx/>
                <a:buNone/>
                <a:tabLst/>
                <a:defRPr kumimoji="0" sz="1400" b="0" i="0" u="none" strike="noStrike" kern="0" cap="none" spc="0" normalizeH="0" baseline="0">
                  <a:ln>
                    <a:noFill/>
                  </a:ln>
                  <a:effectLst/>
                  <a:uLnTx/>
                  <a:uFillTx/>
                  <a:latin typeface="Calibri"/>
                  <a:ea typeface="Tahoma" pitchFamily="34" charset="0"/>
                  <a:cs typeface="Arial" pitchFamily="34" charset="0"/>
                </a:defRPr>
              </a:lvl1pPr>
            </a:lstStyle>
            <a:p>
              <a:pPr lvl="0"/>
              <a:r>
                <a:rPr lang="nl-NL" dirty="0">
                  <a:solidFill>
                    <a:schemeClr val="tx2"/>
                  </a:solidFill>
                  <a:latin typeface="+mn-lt"/>
                </a:rPr>
                <a:t>Selecteer de grafiek, klik op de rechter muisknop en kies </a:t>
              </a:r>
              <a:r>
                <a:rPr lang="nl-NL" b="0" dirty="0">
                  <a:solidFill>
                    <a:schemeClr val="tx2"/>
                  </a:solidFill>
                  <a:latin typeface="+mj-lt"/>
                </a:rPr>
                <a:t>‘Gegevens bewerken’</a:t>
              </a:r>
            </a:p>
          </p:txBody>
        </p:sp>
        <p:sp>
          <p:nvSpPr>
            <p:cNvPr id="434" name="Rechthoek 433">
              <a:extLst>
                <a:ext uri="{FF2B5EF4-FFF2-40B4-BE49-F238E27FC236}">
                  <a16:creationId xmlns:a16="http://schemas.microsoft.com/office/drawing/2014/main" id="{6AA6B813-7FF3-411F-9CC6-9DB4C8CF43F8}"/>
                </a:ext>
              </a:extLst>
            </p:cNvPr>
            <p:cNvSpPr/>
            <p:nvPr userDrawn="1"/>
          </p:nvSpPr>
          <p:spPr>
            <a:xfrm>
              <a:off x="12363871" y="4529047"/>
              <a:ext cx="2584447" cy="3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lvl="0"/>
              <a:r>
                <a:rPr lang="nl-NL" sz="1600" b="0" dirty="0">
                  <a:solidFill>
                    <a:schemeClr val="tx2"/>
                  </a:solidFill>
                  <a:latin typeface="+mj-lt"/>
                </a:rPr>
                <a:t>GRAFIEK BEWERKEN</a:t>
              </a:r>
            </a:p>
          </p:txBody>
        </p:sp>
        <p:pic>
          <p:nvPicPr>
            <p:cNvPr id="435" name="Picture 3">
              <a:extLst>
                <a:ext uri="{FF2B5EF4-FFF2-40B4-BE49-F238E27FC236}">
                  <a16:creationId xmlns:a16="http://schemas.microsoft.com/office/drawing/2014/main" id="{2CD52BB4-4B60-4EF5-B494-367A88DD5D29}"/>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4262557" y="6394752"/>
              <a:ext cx="158644" cy="256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41574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kst Links + Object (L)">
    <p:spTree>
      <p:nvGrpSpPr>
        <p:cNvPr id="1" name=""/>
        <p:cNvGrpSpPr/>
        <p:nvPr/>
      </p:nvGrpSpPr>
      <p:grpSpPr>
        <a:xfrm>
          <a:off x="0" y="0"/>
          <a:ext cx="0" cy="0"/>
          <a:chOff x="0" y="0"/>
          <a:chExt cx="0" cy="0"/>
        </a:xfrm>
      </p:grpSpPr>
      <p:sp>
        <p:nvSpPr>
          <p:cNvPr id="148" name="Rechthoek 147"/>
          <p:cNvSpPr/>
          <p:nvPr userDrawn="1"/>
        </p:nvSpPr>
        <p:spPr>
          <a:xfrm>
            <a:off x="4649638" y="1420100"/>
            <a:ext cx="7545537" cy="455927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tel 1"/>
          <p:cNvSpPr>
            <a:spLocks noGrp="1"/>
          </p:cNvSpPr>
          <p:nvPr>
            <p:ph type="title"/>
          </p:nvPr>
        </p:nvSpPr>
        <p:spPr/>
        <p:txBody>
          <a:bodyPr/>
          <a:lstStyle/>
          <a:p>
            <a:r>
              <a:rPr lang="nl-NL"/>
              <a:t>Klik om stijl te bewerken</a:t>
            </a:r>
            <a:endParaRPr lang="en-GB"/>
          </a:p>
        </p:txBody>
      </p:sp>
      <p:sp>
        <p:nvSpPr>
          <p:cNvPr id="3" name="Tijdelijke aanduiding voor verticale tekst 2"/>
          <p:cNvSpPr>
            <a:spLocks noGrp="1"/>
          </p:cNvSpPr>
          <p:nvPr>
            <p:ph type="body" orient="vert" idx="1"/>
          </p:nvPr>
        </p:nvSpPr>
        <p:spPr>
          <a:xfrm>
            <a:off x="472587" y="1420100"/>
            <a:ext cx="4167585" cy="4554245"/>
          </a:xfrm>
        </p:spPr>
        <p:txBody>
          <a:bodyPr vert="horz"/>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10"/>
          </p:nvPr>
        </p:nvSpPr>
        <p:spPr/>
        <p:txBody>
          <a:bodyPr/>
          <a:lstStyle/>
          <a:p>
            <a:fld id="{30AF7E39-4899-43C7-82AE-BBC564F0301B}"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9" name="Tijdelijke aanduiding voor inhoud 2"/>
          <p:cNvSpPr>
            <a:spLocks noGrp="1"/>
          </p:cNvSpPr>
          <p:nvPr>
            <p:ph idx="14"/>
          </p:nvPr>
        </p:nvSpPr>
        <p:spPr>
          <a:xfrm>
            <a:off x="5033838" y="1641026"/>
            <a:ext cx="6767671" cy="3599714"/>
          </a:xfrm>
          <a:noFill/>
        </p:spPr>
        <p:txBody>
          <a:bodyPr anchor="ctr"/>
          <a:lstStyle>
            <a:lvl1pPr algn="ctr">
              <a:defRPr sz="1200"/>
            </a:lvl1pPr>
          </a:lstStyle>
          <a:p>
            <a:pPr lvl="0"/>
            <a:r>
              <a:rPr lang="nl-NL"/>
              <a:t>Klikken om de tekststijl van het model te bewerken</a:t>
            </a:r>
          </a:p>
        </p:txBody>
      </p:sp>
      <p:sp>
        <p:nvSpPr>
          <p:cNvPr id="11" name="Tekstvak 10"/>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Tekst Links + Object (L) + onderschrift</a:t>
            </a:r>
          </a:p>
        </p:txBody>
      </p:sp>
      <p:sp>
        <p:nvSpPr>
          <p:cNvPr id="12" name="Tijdelijke aanduiding voor verticale tekst 2"/>
          <p:cNvSpPr>
            <a:spLocks noGrp="1"/>
          </p:cNvSpPr>
          <p:nvPr>
            <p:ph type="body" orient="vert" idx="15" hasCustomPrompt="1"/>
          </p:nvPr>
        </p:nvSpPr>
        <p:spPr>
          <a:xfrm>
            <a:off x="4649638" y="5470354"/>
            <a:ext cx="7545537" cy="504000"/>
          </a:xfrm>
          <a:solidFill>
            <a:schemeClr val="accent2"/>
          </a:solidFill>
        </p:spPr>
        <p:txBody>
          <a:bodyPr vert="horz" lIns="360000" tIns="36000" rIns="216000" bIns="0" anchor="ctr"/>
          <a:lstStyle>
            <a:lvl1pPr algn="l">
              <a:defRPr sz="1800" b="0">
                <a:solidFill>
                  <a:schemeClr val="tx2"/>
                </a:solidFill>
              </a:defRPr>
            </a:lvl1pPr>
          </a:lstStyle>
          <a:p>
            <a:pPr lvl="0"/>
            <a:r>
              <a:rPr lang="nl-NL" dirty="0"/>
              <a:t>Onderschrift</a:t>
            </a:r>
          </a:p>
        </p:txBody>
      </p:sp>
      <p:grpSp>
        <p:nvGrpSpPr>
          <p:cNvPr id="218" name="Groep 217">
            <a:extLst>
              <a:ext uri="{FF2B5EF4-FFF2-40B4-BE49-F238E27FC236}">
                <a16:creationId xmlns:a16="http://schemas.microsoft.com/office/drawing/2014/main" id="{97E11D0D-E9C7-4C4C-A55F-14C18DD7F96D}"/>
              </a:ext>
            </a:extLst>
          </p:cNvPr>
          <p:cNvGrpSpPr/>
          <p:nvPr userDrawn="1"/>
        </p:nvGrpSpPr>
        <p:grpSpPr>
          <a:xfrm>
            <a:off x="12363871" y="-26002"/>
            <a:ext cx="3064812" cy="6864697"/>
            <a:chOff x="12363871" y="-26002"/>
            <a:chExt cx="3064812" cy="6864697"/>
          </a:xfrm>
        </p:grpSpPr>
        <p:sp>
          <p:nvSpPr>
            <p:cNvPr id="219" name="Tekstvak 33">
              <a:extLst>
                <a:ext uri="{FF2B5EF4-FFF2-40B4-BE49-F238E27FC236}">
                  <a16:creationId xmlns:a16="http://schemas.microsoft.com/office/drawing/2014/main" id="{263E9076-506C-454D-99F3-914C80C79958}"/>
                </a:ext>
              </a:extLst>
            </p:cNvPr>
            <p:cNvSpPr txBox="1"/>
            <p:nvPr userDrawn="1"/>
          </p:nvSpPr>
          <p:spPr>
            <a:xfrm>
              <a:off x="12537681" y="1001584"/>
              <a:ext cx="2285302" cy="430887"/>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 om een grafiek in te voegen</a:t>
              </a:r>
            </a:p>
          </p:txBody>
        </p:sp>
        <p:sp>
          <p:nvSpPr>
            <p:cNvPr id="220" name="Tekstvak 33">
              <a:extLst>
                <a:ext uri="{FF2B5EF4-FFF2-40B4-BE49-F238E27FC236}">
                  <a16:creationId xmlns:a16="http://schemas.microsoft.com/office/drawing/2014/main" id="{419A7BE6-C752-4BDE-8B4C-977A5EFB89F3}"/>
                </a:ext>
              </a:extLst>
            </p:cNvPr>
            <p:cNvSpPr txBox="1"/>
            <p:nvPr userDrawn="1"/>
          </p:nvSpPr>
          <p:spPr>
            <a:xfrm>
              <a:off x="12537681"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Selecteer de grafiek die u wilt invoegen en klik op </a:t>
              </a:r>
              <a:r>
                <a:rPr kumimoji="0" lang="nl-NL" sz="1400" b="1"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p>
          </p:txBody>
        </p:sp>
        <p:sp>
          <p:nvSpPr>
            <p:cNvPr id="221" name="Ovaal 220">
              <a:extLst>
                <a:ext uri="{FF2B5EF4-FFF2-40B4-BE49-F238E27FC236}">
                  <a16:creationId xmlns:a16="http://schemas.microsoft.com/office/drawing/2014/main" id="{84E38988-CDBD-484E-A3E5-868937936C37}"/>
                </a:ext>
              </a:extLst>
            </p:cNvPr>
            <p:cNvSpPr/>
            <p:nvPr userDrawn="1"/>
          </p:nvSpPr>
          <p:spPr>
            <a:xfrm>
              <a:off x="12494665"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222" name="Ovaal 221">
              <a:extLst>
                <a:ext uri="{FF2B5EF4-FFF2-40B4-BE49-F238E27FC236}">
                  <a16:creationId xmlns:a16="http://schemas.microsoft.com/office/drawing/2014/main" id="{3387A49E-11FE-4155-BB41-01786191D779}"/>
                </a:ext>
              </a:extLst>
            </p:cNvPr>
            <p:cNvSpPr/>
            <p:nvPr userDrawn="1"/>
          </p:nvSpPr>
          <p:spPr>
            <a:xfrm>
              <a:off x="12494665"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223" name="Picture 3">
              <a:extLst>
                <a:ext uri="{FF2B5EF4-FFF2-40B4-BE49-F238E27FC236}">
                  <a16:creationId xmlns:a16="http://schemas.microsoft.com/office/drawing/2014/main" id="{20AF010D-7203-4F58-A27C-4B939C7A5670}"/>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2535130"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24" name="Picture 3">
              <a:extLst>
                <a:ext uri="{FF2B5EF4-FFF2-40B4-BE49-F238E27FC236}">
                  <a16:creationId xmlns:a16="http://schemas.microsoft.com/office/drawing/2014/main" id="{CE8CCD2C-72B4-4AFF-8B47-06BFE3B77027}"/>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2604588"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25" name="Tekstvak 224">
              <a:extLst>
                <a:ext uri="{FF2B5EF4-FFF2-40B4-BE49-F238E27FC236}">
                  <a16:creationId xmlns:a16="http://schemas.microsoft.com/office/drawing/2014/main" id="{889DED71-F021-4AD8-AB51-ACC1EB48130A}"/>
                </a:ext>
              </a:extLst>
            </p:cNvPr>
            <p:cNvSpPr txBox="1"/>
            <p:nvPr userDrawn="1"/>
          </p:nvSpPr>
          <p:spPr>
            <a:xfrm>
              <a:off x="12560359" y="4020160"/>
              <a:ext cx="88636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outerShdw blurRad="25400" algn="ctr" rotWithShape="0">
                      <a:prstClr val="white"/>
                    </a:outerShdw>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outerShdw blurRad="25400" algn="ctr" rotWithShape="0">
                    <a:prstClr val="white"/>
                  </a:outerShdw>
                </a:effectLst>
                <a:uLnTx/>
                <a:uFillTx/>
                <a:latin typeface="+mj-lt"/>
              </a:endParaRPr>
            </a:p>
          </p:txBody>
        </p:sp>
        <p:sp>
          <p:nvSpPr>
            <p:cNvPr id="226" name="Rechthoek 225">
              <a:extLst>
                <a:ext uri="{FF2B5EF4-FFF2-40B4-BE49-F238E27FC236}">
                  <a16:creationId xmlns:a16="http://schemas.microsoft.com/office/drawing/2014/main" id="{83852F0A-F212-43F4-B3C3-65142055233F}"/>
                </a:ext>
              </a:extLst>
            </p:cNvPr>
            <p:cNvSpPr/>
            <p:nvPr userDrawn="1"/>
          </p:nvSpPr>
          <p:spPr>
            <a:xfrm>
              <a:off x="12363871"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GRAFIEK INVOEGEN</a:t>
              </a:r>
            </a:p>
          </p:txBody>
        </p:sp>
        <p:cxnSp>
          <p:nvCxnSpPr>
            <p:cNvPr id="227" name="Rechte verbindingslijn 226">
              <a:extLst>
                <a:ext uri="{FF2B5EF4-FFF2-40B4-BE49-F238E27FC236}">
                  <a16:creationId xmlns:a16="http://schemas.microsoft.com/office/drawing/2014/main" id="{2472FE77-9539-418F-9023-69F00F891F01}"/>
                </a:ext>
              </a:extLst>
            </p:cNvPr>
            <p:cNvCxnSpPr/>
            <p:nvPr userDrawn="1"/>
          </p:nvCxnSpPr>
          <p:spPr>
            <a:xfrm>
              <a:off x="12507575" y="33168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8" name="Rechte verbindingslijn 227">
              <a:extLst>
                <a:ext uri="{FF2B5EF4-FFF2-40B4-BE49-F238E27FC236}">
                  <a16:creationId xmlns:a16="http://schemas.microsoft.com/office/drawing/2014/main" id="{57DBE7ED-A8BA-4131-922B-080B6D33CF64}"/>
                </a:ext>
              </a:extLst>
            </p:cNvPr>
            <p:cNvCxnSpPr/>
            <p:nvPr userDrawn="1"/>
          </p:nvCxnSpPr>
          <p:spPr>
            <a:xfrm>
              <a:off x="12507211" y="253760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9" name="Rechte verbindingslijn 228">
              <a:extLst>
                <a:ext uri="{FF2B5EF4-FFF2-40B4-BE49-F238E27FC236}">
                  <a16:creationId xmlns:a16="http://schemas.microsoft.com/office/drawing/2014/main" id="{6B1F9243-A268-4366-9E86-C03F45427DD0}"/>
                </a:ext>
              </a:extLst>
            </p:cNvPr>
            <p:cNvCxnSpPr/>
            <p:nvPr userDrawn="1"/>
          </p:nvCxnSpPr>
          <p:spPr>
            <a:xfrm>
              <a:off x="12507575" y="4423040"/>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0" name="Rechte verbindingslijn 229">
              <a:extLst>
                <a:ext uri="{FF2B5EF4-FFF2-40B4-BE49-F238E27FC236}">
                  <a16:creationId xmlns:a16="http://schemas.microsoft.com/office/drawing/2014/main" id="{65ABF3C5-EF10-48CA-83F4-C72FAA5E0072}"/>
                </a:ext>
              </a:extLst>
            </p:cNvPr>
            <p:cNvCxnSpPr/>
            <p:nvPr userDrawn="1"/>
          </p:nvCxnSpPr>
          <p:spPr>
            <a:xfrm>
              <a:off x="12507575" y="6838695"/>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1" name="Rechte verbindingslijn 230">
              <a:extLst>
                <a:ext uri="{FF2B5EF4-FFF2-40B4-BE49-F238E27FC236}">
                  <a16:creationId xmlns:a16="http://schemas.microsoft.com/office/drawing/2014/main" id="{650E6688-92BA-4917-8F35-3DFEAB2FCFBA}"/>
                </a:ext>
              </a:extLst>
            </p:cNvPr>
            <p:cNvCxnSpPr/>
            <p:nvPr userDrawn="1"/>
          </p:nvCxnSpPr>
          <p:spPr>
            <a:xfrm>
              <a:off x="12507211" y="4898666"/>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32" name="Groep 231">
              <a:extLst>
                <a:ext uri="{FF2B5EF4-FFF2-40B4-BE49-F238E27FC236}">
                  <a16:creationId xmlns:a16="http://schemas.microsoft.com/office/drawing/2014/main" id="{724B2CDC-11C7-4A13-A968-711AA024049C}"/>
                </a:ext>
              </a:extLst>
            </p:cNvPr>
            <p:cNvGrpSpPr/>
            <p:nvPr userDrawn="1"/>
          </p:nvGrpSpPr>
          <p:grpSpPr>
            <a:xfrm>
              <a:off x="12436353" y="1728359"/>
              <a:ext cx="689983" cy="573048"/>
              <a:chOff x="15171969" y="1587338"/>
              <a:chExt cx="755407" cy="627385"/>
            </a:xfrm>
          </p:grpSpPr>
          <p:sp>
            <p:nvSpPr>
              <p:cNvPr id="271" name="Rechthoek 962">
                <a:extLst>
                  <a:ext uri="{FF2B5EF4-FFF2-40B4-BE49-F238E27FC236}">
                    <a16:creationId xmlns:a16="http://schemas.microsoft.com/office/drawing/2014/main" id="{71EA64D4-A1BB-4005-9321-5023851C69D5}"/>
                  </a:ext>
                </a:extLst>
              </p:cNvPr>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272" name="Groep 271">
                <a:extLst>
                  <a:ext uri="{FF2B5EF4-FFF2-40B4-BE49-F238E27FC236}">
                    <a16:creationId xmlns:a16="http://schemas.microsoft.com/office/drawing/2014/main" id="{00DAF6DE-E862-4E42-9D5B-87DA9C732FE5}"/>
                  </a:ext>
                </a:extLst>
              </p:cNvPr>
              <p:cNvGrpSpPr/>
              <p:nvPr userDrawn="1"/>
            </p:nvGrpSpPr>
            <p:grpSpPr>
              <a:xfrm>
                <a:off x="15281106" y="1587338"/>
                <a:ext cx="511775" cy="560304"/>
                <a:chOff x="10604642" y="969717"/>
                <a:chExt cx="1290643" cy="1427163"/>
              </a:xfrm>
            </p:grpSpPr>
            <p:grpSp>
              <p:nvGrpSpPr>
                <p:cNvPr id="273" name="Group 879">
                  <a:extLst>
                    <a:ext uri="{FF2B5EF4-FFF2-40B4-BE49-F238E27FC236}">
                      <a16:creationId xmlns:a16="http://schemas.microsoft.com/office/drawing/2014/main" id="{F358F29C-0964-4F04-B3D1-06D5222C988F}"/>
                    </a:ext>
                  </a:extLst>
                </p:cNvPr>
                <p:cNvGrpSpPr>
                  <a:grpSpLocks noChangeAspect="1"/>
                </p:cNvGrpSpPr>
                <p:nvPr userDrawn="1"/>
              </p:nvGrpSpPr>
              <p:grpSpPr bwMode="auto">
                <a:xfrm>
                  <a:off x="10604642" y="969717"/>
                  <a:ext cx="1290643" cy="1427163"/>
                  <a:chOff x="4798" y="1515"/>
                  <a:chExt cx="813" cy="899"/>
                </a:xfrm>
              </p:grpSpPr>
              <p:sp>
                <p:nvSpPr>
                  <p:cNvPr id="275" name="Freeform 886">
                    <a:extLst>
                      <a:ext uri="{FF2B5EF4-FFF2-40B4-BE49-F238E27FC236}">
                        <a16:creationId xmlns:a16="http://schemas.microsoft.com/office/drawing/2014/main" id="{FAC62089-66F0-49E6-BCB2-957389B0F375}"/>
                      </a:ext>
                    </a:extLst>
                  </p:cNvPr>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76" name="Rectangle 880">
                    <a:extLst>
                      <a:ext uri="{FF2B5EF4-FFF2-40B4-BE49-F238E27FC236}">
                        <a16:creationId xmlns:a16="http://schemas.microsoft.com/office/drawing/2014/main" id="{B1302115-9794-4AC7-AC7C-B853E0051407}"/>
                      </a:ext>
                    </a:extLst>
                  </p:cNvPr>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77" name="Rectangle 881">
                    <a:extLst>
                      <a:ext uri="{FF2B5EF4-FFF2-40B4-BE49-F238E27FC236}">
                        <a16:creationId xmlns:a16="http://schemas.microsoft.com/office/drawing/2014/main" id="{E83CA69A-C1DA-4F29-B7E9-4D130907C279}"/>
                      </a:ext>
                    </a:extLst>
                  </p:cNvPr>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78" name="Freeform 882">
                    <a:extLst>
                      <a:ext uri="{FF2B5EF4-FFF2-40B4-BE49-F238E27FC236}">
                        <a16:creationId xmlns:a16="http://schemas.microsoft.com/office/drawing/2014/main" id="{733D4769-422D-45E4-966A-209E93EA7130}"/>
                      </a:ext>
                    </a:extLst>
                  </p:cNvPr>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79" name="Freeform 883">
                    <a:extLst>
                      <a:ext uri="{FF2B5EF4-FFF2-40B4-BE49-F238E27FC236}">
                        <a16:creationId xmlns:a16="http://schemas.microsoft.com/office/drawing/2014/main" id="{D385F4EE-24AE-4131-813B-D34DDA3E7EE9}"/>
                      </a:ext>
                    </a:extLst>
                  </p:cNvPr>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80" name="Freeform 884">
                    <a:extLst>
                      <a:ext uri="{FF2B5EF4-FFF2-40B4-BE49-F238E27FC236}">
                        <a16:creationId xmlns:a16="http://schemas.microsoft.com/office/drawing/2014/main" id="{0F73E760-C386-49B4-A2FF-E60EE35AE69B}"/>
                      </a:ext>
                    </a:extLst>
                  </p:cNvPr>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81" name="Rectangle 885">
                    <a:extLst>
                      <a:ext uri="{FF2B5EF4-FFF2-40B4-BE49-F238E27FC236}">
                        <a16:creationId xmlns:a16="http://schemas.microsoft.com/office/drawing/2014/main" id="{DAA22AB1-F907-4850-A3CE-69B02454E1F2}"/>
                      </a:ext>
                    </a:extLst>
                  </p:cNvPr>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82" name="Rectangle 887">
                    <a:extLst>
                      <a:ext uri="{FF2B5EF4-FFF2-40B4-BE49-F238E27FC236}">
                        <a16:creationId xmlns:a16="http://schemas.microsoft.com/office/drawing/2014/main" id="{AB9C0B4E-4F1A-4E88-9519-9CDD874B7A2B}"/>
                      </a:ext>
                    </a:extLst>
                  </p:cNvPr>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83" name="Freeform 888">
                    <a:extLst>
                      <a:ext uri="{FF2B5EF4-FFF2-40B4-BE49-F238E27FC236}">
                        <a16:creationId xmlns:a16="http://schemas.microsoft.com/office/drawing/2014/main" id="{61C66A99-922C-4621-A101-F9E5E4D53F8A}"/>
                      </a:ext>
                    </a:extLst>
                  </p:cNvPr>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274" name="Vrije vorm 84">
                  <a:extLst>
                    <a:ext uri="{FF2B5EF4-FFF2-40B4-BE49-F238E27FC236}">
                      <a16:creationId xmlns:a16="http://schemas.microsoft.com/office/drawing/2014/main" id="{67521E0C-D5AA-468D-B1C8-F75D0FEC2481}"/>
                    </a:ext>
                  </a:extLst>
                </p:cNvPr>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233" name="Groep 232">
              <a:extLst>
                <a:ext uri="{FF2B5EF4-FFF2-40B4-BE49-F238E27FC236}">
                  <a16:creationId xmlns:a16="http://schemas.microsoft.com/office/drawing/2014/main" id="{6819DB28-9774-4975-910B-872E40FD2DBE}"/>
                </a:ext>
              </a:extLst>
            </p:cNvPr>
            <p:cNvGrpSpPr/>
            <p:nvPr userDrawn="1"/>
          </p:nvGrpSpPr>
          <p:grpSpPr>
            <a:xfrm>
              <a:off x="12548778" y="6003628"/>
              <a:ext cx="1980859" cy="542924"/>
              <a:chOff x="12390702" y="6054428"/>
              <a:chExt cx="1980859" cy="542924"/>
            </a:xfrm>
          </p:grpSpPr>
          <p:sp>
            <p:nvSpPr>
              <p:cNvPr id="237" name="Rechthoek 236">
                <a:extLst>
                  <a:ext uri="{FF2B5EF4-FFF2-40B4-BE49-F238E27FC236}">
                    <a16:creationId xmlns:a16="http://schemas.microsoft.com/office/drawing/2014/main" id="{849F766B-D5ED-4A77-8966-464BF55A55ED}"/>
                  </a:ext>
                </a:extLst>
              </p:cNvPr>
              <p:cNvSpPr/>
              <p:nvPr/>
            </p:nvSpPr>
            <p:spPr>
              <a:xfrm>
                <a:off x="12402284" y="6054428"/>
                <a:ext cx="1969277" cy="542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238" name="Rechthoek 237">
                <a:extLst>
                  <a:ext uri="{FF2B5EF4-FFF2-40B4-BE49-F238E27FC236}">
                    <a16:creationId xmlns:a16="http://schemas.microsoft.com/office/drawing/2014/main" id="{357C5496-0114-43F1-A22C-5C44ABB6C069}"/>
                  </a:ext>
                </a:extLst>
              </p:cNvPr>
              <p:cNvSpPr/>
              <p:nvPr/>
            </p:nvSpPr>
            <p:spPr>
              <a:xfrm>
                <a:off x="12662053" y="6062530"/>
                <a:ext cx="1452642" cy="261610"/>
              </a:xfrm>
              <a:prstGeom prst="rect">
                <a:avLst/>
              </a:prstGeom>
            </p:spPr>
            <p:txBody>
              <a:bodyPr wrap="none">
                <a:spAutoFit/>
              </a:bodyPr>
              <a:lstStyle/>
              <a:p>
                <a:r>
                  <a:rPr lang="en-US" sz="1100" dirty="0">
                    <a:latin typeface="+mn-lt"/>
                    <a:ea typeface="Adobe Heiti Std R" panose="020B0400000000000000" pitchFamily="34" charset="-128"/>
                    <a:cs typeface="Segoe UI Light" panose="020B0502040204020203" pitchFamily="34" charset="0"/>
                  </a:rPr>
                  <a:t>Ander </a:t>
                </a:r>
                <a:r>
                  <a:rPr lang="en-US" sz="1100" dirty="0" err="1">
                    <a:latin typeface="+mn-lt"/>
                    <a:ea typeface="Adobe Heiti Std R" panose="020B0400000000000000" pitchFamily="34" charset="-128"/>
                    <a:cs typeface="Segoe UI Light" panose="020B0502040204020203" pitchFamily="34" charset="0"/>
                  </a:rPr>
                  <a:t>grafiektype</a:t>
                </a:r>
                <a:r>
                  <a:rPr lang="en-US" sz="1100" dirty="0">
                    <a:latin typeface="+mn-lt"/>
                    <a:ea typeface="Adobe Heiti Std R" panose="020B0400000000000000" pitchFamily="34" charset="-128"/>
                    <a:cs typeface="Segoe UI Light" panose="020B0502040204020203" pitchFamily="34" charset="0"/>
                  </a:rPr>
                  <a:t>…</a:t>
                </a:r>
              </a:p>
            </p:txBody>
          </p:sp>
          <p:sp>
            <p:nvSpPr>
              <p:cNvPr id="239" name="Gelijkbenige driehoek 238">
                <a:extLst>
                  <a:ext uri="{FF2B5EF4-FFF2-40B4-BE49-F238E27FC236}">
                    <a16:creationId xmlns:a16="http://schemas.microsoft.com/office/drawing/2014/main" id="{6A805A7B-0E69-46AA-86ED-D46A7CDD3AB4}"/>
                  </a:ext>
                </a:extLst>
              </p:cNvPr>
              <p:cNvSpPr/>
              <p:nvPr/>
            </p:nvSpPr>
            <p:spPr>
              <a:xfrm rot="5400000">
                <a:off x="14210471" y="6150144"/>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n-lt"/>
                  <a:ea typeface="Adobe Heiti Std R" panose="020B0400000000000000" pitchFamily="34" charset="-128"/>
                  <a:cs typeface="Segoe UI Light" panose="020B0502040204020203" pitchFamily="34" charset="0"/>
                </a:endParaRPr>
              </a:p>
            </p:txBody>
          </p:sp>
          <p:sp>
            <p:nvSpPr>
              <p:cNvPr id="240" name="Afgeronde rechthoek 50">
                <a:extLst>
                  <a:ext uri="{FF2B5EF4-FFF2-40B4-BE49-F238E27FC236}">
                    <a16:creationId xmlns:a16="http://schemas.microsoft.com/office/drawing/2014/main" id="{B6552A11-5874-4569-9B18-99C2189306F6}"/>
                  </a:ext>
                </a:extLst>
              </p:cNvPr>
              <p:cNvSpPr/>
              <p:nvPr/>
            </p:nvSpPr>
            <p:spPr>
              <a:xfrm>
                <a:off x="12390702" y="6322741"/>
                <a:ext cx="1973675" cy="268314"/>
              </a:xfrm>
              <a:prstGeom prst="roundRect">
                <a:avLst/>
              </a:prstGeom>
              <a:gradFill>
                <a:gsLst>
                  <a:gs pos="0">
                    <a:srgbClr val="FFF2BD"/>
                  </a:gs>
                  <a:gs pos="34000">
                    <a:srgbClr val="FFE98B"/>
                  </a:gs>
                  <a:gs pos="78000">
                    <a:srgbClr val="FFF5C9"/>
                  </a:gs>
                  <a:gs pos="59000">
                    <a:srgbClr val="FFE98B"/>
                  </a:gs>
                </a:gsLst>
                <a:lin ang="5400000" scaled="0"/>
              </a:gra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1200" dirty="0" err="1">
                    <a:solidFill>
                      <a:schemeClr val="tx1"/>
                    </a:solidFill>
                    <a:latin typeface="+mn-lt"/>
                    <a:ea typeface="Adobe Heiti Std R" panose="020B0400000000000000" pitchFamily="34" charset="-128"/>
                    <a:cs typeface="Segoe UI Light" panose="020B0502040204020203" pitchFamily="34" charset="0"/>
                  </a:rPr>
                  <a:t>Gegevens</a:t>
                </a:r>
                <a:r>
                  <a:rPr lang="en-US" sz="1200" dirty="0">
                    <a:solidFill>
                      <a:schemeClr val="tx1"/>
                    </a:solidFill>
                    <a:latin typeface="+mn-lt"/>
                    <a:ea typeface="Adobe Heiti Std R" panose="020B0400000000000000" pitchFamily="34" charset="-128"/>
                    <a:cs typeface="Segoe UI Light" panose="020B0502040204020203" pitchFamily="34" charset="0"/>
                  </a:rPr>
                  <a:t> </a:t>
                </a:r>
                <a:r>
                  <a:rPr lang="en-US" sz="1200" dirty="0" err="1">
                    <a:solidFill>
                      <a:schemeClr val="tx1"/>
                    </a:solidFill>
                    <a:latin typeface="+mn-lt"/>
                    <a:ea typeface="Adobe Heiti Std R" panose="020B0400000000000000" pitchFamily="34" charset="-128"/>
                    <a:cs typeface="Segoe UI Light" panose="020B0502040204020203" pitchFamily="34" charset="0"/>
                  </a:rPr>
                  <a:t>bewerken</a:t>
                </a:r>
                <a:r>
                  <a:rPr lang="en-US" sz="1200" dirty="0">
                    <a:solidFill>
                      <a:schemeClr val="tx1"/>
                    </a:solidFill>
                    <a:latin typeface="+mn-lt"/>
                    <a:ea typeface="Adobe Heiti Std R" panose="020B0400000000000000" pitchFamily="34" charset="-128"/>
                    <a:cs typeface="Segoe UI Light" panose="020B0502040204020203" pitchFamily="34" charset="0"/>
                  </a:rPr>
                  <a:t>…</a:t>
                </a:r>
              </a:p>
            </p:txBody>
          </p:sp>
          <p:grpSp>
            <p:nvGrpSpPr>
              <p:cNvPr id="241" name="Groep 240">
                <a:extLst>
                  <a:ext uri="{FF2B5EF4-FFF2-40B4-BE49-F238E27FC236}">
                    <a16:creationId xmlns:a16="http://schemas.microsoft.com/office/drawing/2014/main" id="{81C22999-E0C9-42B6-807A-AE74EAA6857A}"/>
                  </a:ext>
                </a:extLst>
              </p:cNvPr>
              <p:cNvGrpSpPr/>
              <p:nvPr/>
            </p:nvGrpSpPr>
            <p:grpSpPr>
              <a:xfrm>
                <a:off x="12461788" y="6100223"/>
                <a:ext cx="204691" cy="170000"/>
                <a:chOff x="15171969" y="1587338"/>
                <a:chExt cx="755407" cy="627385"/>
              </a:xfrm>
            </p:grpSpPr>
            <p:sp>
              <p:nvSpPr>
                <p:cNvPr id="258" name="Rechthoek 962">
                  <a:extLst>
                    <a:ext uri="{FF2B5EF4-FFF2-40B4-BE49-F238E27FC236}">
                      <a16:creationId xmlns:a16="http://schemas.microsoft.com/office/drawing/2014/main" id="{AF7F79F8-514D-4191-B400-2B123CFE9338}"/>
                    </a:ext>
                  </a:extLst>
                </p:cNvPr>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259" name="Groep 258">
                  <a:extLst>
                    <a:ext uri="{FF2B5EF4-FFF2-40B4-BE49-F238E27FC236}">
                      <a16:creationId xmlns:a16="http://schemas.microsoft.com/office/drawing/2014/main" id="{883B87BF-571A-499B-94FC-03364D0B92B5}"/>
                    </a:ext>
                  </a:extLst>
                </p:cNvPr>
                <p:cNvGrpSpPr/>
                <p:nvPr userDrawn="1"/>
              </p:nvGrpSpPr>
              <p:grpSpPr>
                <a:xfrm>
                  <a:off x="15281106" y="1587338"/>
                  <a:ext cx="511775" cy="560304"/>
                  <a:chOff x="10604642" y="969717"/>
                  <a:chExt cx="1290643" cy="1427163"/>
                </a:xfrm>
              </p:grpSpPr>
              <p:grpSp>
                <p:nvGrpSpPr>
                  <p:cNvPr id="260" name="Group 879">
                    <a:extLst>
                      <a:ext uri="{FF2B5EF4-FFF2-40B4-BE49-F238E27FC236}">
                        <a16:creationId xmlns:a16="http://schemas.microsoft.com/office/drawing/2014/main" id="{39841F39-2660-4C9B-AECA-51019FA28049}"/>
                      </a:ext>
                    </a:extLst>
                  </p:cNvPr>
                  <p:cNvGrpSpPr>
                    <a:grpSpLocks noChangeAspect="1"/>
                  </p:cNvGrpSpPr>
                  <p:nvPr userDrawn="1"/>
                </p:nvGrpSpPr>
                <p:grpSpPr bwMode="auto">
                  <a:xfrm>
                    <a:off x="10604642" y="969717"/>
                    <a:ext cx="1290643" cy="1427163"/>
                    <a:chOff x="4798" y="1515"/>
                    <a:chExt cx="813" cy="899"/>
                  </a:xfrm>
                </p:grpSpPr>
                <p:sp>
                  <p:nvSpPr>
                    <p:cNvPr id="262" name="Freeform 886">
                      <a:extLst>
                        <a:ext uri="{FF2B5EF4-FFF2-40B4-BE49-F238E27FC236}">
                          <a16:creationId xmlns:a16="http://schemas.microsoft.com/office/drawing/2014/main" id="{F87260E2-415A-4E82-8DDD-A8F1F7315DB7}"/>
                        </a:ext>
                      </a:extLst>
                    </p:cNvPr>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3" name="Rectangle 880">
                      <a:extLst>
                        <a:ext uri="{FF2B5EF4-FFF2-40B4-BE49-F238E27FC236}">
                          <a16:creationId xmlns:a16="http://schemas.microsoft.com/office/drawing/2014/main" id="{27B028E9-B1BC-4269-8753-7BDD94F06A75}"/>
                        </a:ext>
                      </a:extLst>
                    </p:cNvPr>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4" name="Rectangle 881">
                      <a:extLst>
                        <a:ext uri="{FF2B5EF4-FFF2-40B4-BE49-F238E27FC236}">
                          <a16:creationId xmlns:a16="http://schemas.microsoft.com/office/drawing/2014/main" id="{8F2A8AEF-64AA-4BA6-AA47-C6E1D89D3482}"/>
                        </a:ext>
                      </a:extLst>
                    </p:cNvPr>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5" name="Freeform 882">
                      <a:extLst>
                        <a:ext uri="{FF2B5EF4-FFF2-40B4-BE49-F238E27FC236}">
                          <a16:creationId xmlns:a16="http://schemas.microsoft.com/office/drawing/2014/main" id="{A9318B37-C963-4CBD-8513-2C4F6A604D99}"/>
                        </a:ext>
                      </a:extLst>
                    </p:cNvPr>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6" name="Freeform 883">
                      <a:extLst>
                        <a:ext uri="{FF2B5EF4-FFF2-40B4-BE49-F238E27FC236}">
                          <a16:creationId xmlns:a16="http://schemas.microsoft.com/office/drawing/2014/main" id="{BE877316-8DB3-46D8-A50F-C5CD68853527}"/>
                        </a:ext>
                      </a:extLst>
                    </p:cNvPr>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7" name="Freeform 884">
                      <a:extLst>
                        <a:ext uri="{FF2B5EF4-FFF2-40B4-BE49-F238E27FC236}">
                          <a16:creationId xmlns:a16="http://schemas.microsoft.com/office/drawing/2014/main" id="{D624343E-AF62-4EE8-9F63-8D619ADB7167}"/>
                        </a:ext>
                      </a:extLst>
                    </p:cNvPr>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8" name="Rectangle 885">
                      <a:extLst>
                        <a:ext uri="{FF2B5EF4-FFF2-40B4-BE49-F238E27FC236}">
                          <a16:creationId xmlns:a16="http://schemas.microsoft.com/office/drawing/2014/main" id="{F539F4A2-99CB-469C-986D-9F773CF7711D}"/>
                        </a:ext>
                      </a:extLst>
                    </p:cNvPr>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9" name="Rectangle 887">
                      <a:extLst>
                        <a:ext uri="{FF2B5EF4-FFF2-40B4-BE49-F238E27FC236}">
                          <a16:creationId xmlns:a16="http://schemas.microsoft.com/office/drawing/2014/main" id="{BCA569D8-6974-4FC3-A0E6-88CBD8EFFBAC}"/>
                        </a:ext>
                      </a:extLst>
                    </p:cNvPr>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70" name="Freeform 888">
                      <a:extLst>
                        <a:ext uri="{FF2B5EF4-FFF2-40B4-BE49-F238E27FC236}">
                          <a16:creationId xmlns:a16="http://schemas.microsoft.com/office/drawing/2014/main" id="{BFDEFF38-09AB-442F-8E37-9AC73B2858FF}"/>
                        </a:ext>
                      </a:extLst>
                    </p:cNvPr>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261" name="Vrije vorm 71">
                    <a:extLst>
                      <a:ext uri="{FF2B5EF4-FFF2-40B4-BE49-F238E27FC236}">
                        <a16:creationId xmlns:a16="http://schemas.microsoft.com/office/drawing/2014/main" id="{66A0CA1C-398D-4E3D-B43D-093163B3F5FA}"/>
                      </a:ext>
                    </a:extLst>
                  </p:cNvPr>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242" name="Groep 241">
                <a:extLst>
                  <a:ext uri="{FF2B5EF4-FFF2-40B4-BE49-F238E27FC236}">
                    <a16:creationId xmlns:a16="http://schemas.microsoft.com/office/drawing/2014/main" id="{8493ACD2-511B-4770-B930-F5BE4868DB24}"/>
                  </a:ext>
                </a:extLst>
              </p:cNvPr>
              <p:cNvGrpSpPr/>
              <p:nvPr/>
            </p:nvGrpSpPr>
            <p:grpSpPr>
              <a:xfrm>
                <a:off x="12468521" y="6356844"/>
                <a:ext cx="133446" cy="114786"/>
                <a:chOff x="14587469" y="6356844"/>
                <a:chExt cx="133446" cy="114786"/>
              </a:xfrm>
            </p:grpSpPr>
            <p:sp>
              <p:nvSpPr>
                <p:cNvPr id="248" name="Rectangle 6">
                  <a:extLst>
                    <a:ext uri="{FF2B5EF4-FFF2-40B4-BE49-F238E27FC236}">
                      <a16:creationId xmlns:a16="http://schemas.microsoft.com/office/drawing/2014/main" id="{4404ADD4-D834-4232-833D-D99837A9BD36}"/>
                    </a:ext>
                  </a:extLst>
                </p:cNvPr>
                <p:cNvSpPr>
                  <a:spLocks noChangeArrowheads="1"/>
                </p:cNvSpPr>
                <p:nvPr userDrawn="1"/>
              </p:nvSpPr>
              <p:spPr bwMode="auto">
                <a:xfrm>
                  <a:off x="14588703" y="6379233"/>
                  <a:ext cx="130780" cy="91699"/>
                </a:xfrm>
                <a:prstGeom prst="rect">
                  <a:avLst/>
                </a:prstGeom>
                <a:solidFill>
                  <a:srgbClr val="F2FAFF"/>
                </a:solidFill>
                <a:ln w="0">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249" name="Rectangle 15">
                  <a:extLst>
                    <a:ext uri="{FF2B5EF4-FFF2-40B4-BE49-F238E27FC236}">
                      <a16:creationId xmlns:a16="http://schemas.microsoft.com/office/drawing/2014/main" id="{65863C32-8108-41DA-A8F1-0990F4C0FD32}"/>
                    </a:ext>
                  </a:extLst>
                </p:cNvPr>
                <p:cNvSpPr>
                  <a:spLocks noChangeArrowheads="1"/>
                </p:cNvSpPr>
                <p:nvPr userDrawn="1"/>
              </p:nvSpPr>
              <p:spPr bwMode="auto">
                <a:xfrm>
                  <a:off x="14587469" y="6423761"/>
                  <a:ext cx="131076" cy="1446"/>
                </a:xfrm>
                <a:prstGeom prst="rect">
                  <a:avLst/>
                </a:prstGeom>
                <a:gradFill flip="none" rotWithShape="1">
                  <a:gsLst>
                    <a:gs pos="20000">
                      <a:srgbClr val="0039AC"/>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250" name="Freeform 14">
                  <a:extLst>
                    <a:ext uri="{FF2B5EF4-FFF2-40B4-BE49-F238E27FC236}">
                      <a16:creationId xmlns:a16="http://schemas.microsoft.com/office/drawing/2014/main" id="{6C0752F6-610C-44EA-AFBB-51A9DB98E490}"/>
                    </a:ext>
                  </a:extLst>
                </p:cNvPr>
                <p:cNvSpPr>
                  <a:spLocks noEditPoints="1"/>
                </p:cNvSpPr>
                <p:nvPr userDrawn="1"/>
              </p:nvSpPr>
              <p:spPr bwMode="auto">
                <a:xfrm>
                  <a:off x="14588901" y="6356844"/>
                  <a:ext cx="132014" cy="114786"/>
                </a:xfrm>
                <a:custGeom>
                  <a:avLst/>
                  <a:gdLst>
                    <a:gd name="T0" fmla="*/ 48 w 5347"/>
                    <a:gd name="T1" fmla="*/ 48 h 4605"/>
                    <a:gd name="T2" fmla="*/ 48 w 5347"/>
                    <a:gd name="T3" fmla="*/ 4557 h 4605"/>
                    <a:gd name="T4" fmla="*/ 5299 w 5347"/>
                    <a:gd name="T5" fmla="*/ 4557 h 4605"/>
                    <a:gd name="T6" fmla="*/ 5299 w 5347"/>
                    <a:gd name="T7" fmla="*/ 48 h 4605"/>
                    <a:gd name="T8" fmla="*/ 48 w 5347"/>
                    <a:gd name="T9" fmla="*/ 48 h 4605"/>
                    <a:gd name="T10" fmla="*/ 0 w 5347"/>
                    <a:gd name="T11" fmla="*/ 0 h 4605"/>
                    <a:gd name="T12" fmla="*/ 5347 w 5347"/>
                    <a:gd name="T13" fmla="*/ 0 h 4605"/>
                    <a:gd name="T14" fmla="*/ 5347 w 5347"/>
                    <a:gd name="T15" fmla="*/ 4605 h 4605"/>
                    <a:gd name="T16" fmla="*/ 0 w 5347"/>
                    <a:gd name="T17" fmla="*/ 4605 h 4605"/>
                    <a:gd name="T18" fmla="*/ 0 w 5347"/>
                    <a:gd name="T19" fmla="*/ 0 h 4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7" h="4605">
                      <a:moveTo>
                        <a:pt x="48" y="48"/>
                      </a:moveTo>
                      <a:lnTo>
                        <a:pt x="48" y="4557"/>
                      </a:lnTo>
                      <a:lnTo>
                        <a:pt x="5299" y="4557"/>
                      </a:lnTo>
                      <a:lnTo>
                        <a:pt x="5299" y="48"/>
                      </a:lnTo>
                      <a:lnTo>
                        <a:pt x="48" y="48"/>
                      </a:lnTo>
                      <a:close/>
                      <a:moveTo>
                        <a:pt x="0" y="0"/>
                      </a:moveTo>
                      <a:lnTo>
                        <a:pt x="5347" y="0"/>
                      </a:lnTo>
                      <a:lnTo>
                        <a:pt x="5347" y="4605"/>
                      </a:lnTo>
                      <a:lnTo>
                        <a:pt x="0" y="4605"/>
                      </a:lnTo>
                      <a:lnTo>
                        <a:pt x="0" y="0"/>
                      </a:lnTo>
                      <a:close/>
                    </a:path>
                  </a:pathLst>
                </a:custGeom>
                <a:solidFill>
                  <a:srgbClr val="2E5D8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cxnSp>
              <p:nvCxnSpPr>
                <p:cNvPr id="251" name="Rechte verbindingslijn 250">
                  <a:extLst>
                    <a:ext uri="{FF2B5EF4-FFF2-40B4-BE49-F238E27FC236}">
                      <a16:creationId xmlns:a16="http://schemas.microsoft.com/office/drawing/2014/main" id="{0AD4A78F-F319-4C74-B6EA-C59B4FAD6781}"/>
                    </a:ext>
                  </a:extLst>
                </p:cNvPr>
                <p:cNvCxnSpPr/>
                <p:nvPr userDrawn="1"/>
              </p:nvCxnSpPr>
              <p:spPr>
                <a:xfrm flipH="1">
                  <a:off x="14654334" y="6382168"/>
                  <a:ext cx="162"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2" name="Rechte verbindingslijn 251">
                  <a:extLst>
                    <a:ext uri="{FF2B5EF4-FFF2-40B4-BE49-F238E27FC236}">
                      <a16:creationId xmlns:a16="http://schemas.microsoft.com/office/drawing/2014/main" id="{8515D2EE-CC38-4A5B-976B-A975463C4378}"/>
                    </a:ext>
                  </a:extLst>
                </p:cNvPr>
                <p:cNvCxnSpPr/>
                <p:nvPr userDrawn="1"/>
              </p:nvCxnSpPr>
              <p:spPr>
                <a:xfrm>
                  <a:off x="14689188" y="6382168"/>
                  <a:ext cx="0"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3" name="Rechte verbindingslijn 252">
                  <a:extLst>
                    <a:ext uri="{FF2B5EF4-FFF2-40B4-BE49-F238E27FC236}">
                      <a16:creationId xmlns:a16="http://schemas.microsoft.com/office/drawing/2014/main" id="{2529B67A-BAD6-46C2-A587-FA13DB44C22D}"/>
                    </a:ext>
                  </a:extLst>
                </p:cNvPr>
                <p:cNvCxnSpPr/>
                <p:nvPr userDrawn="1"/>
              </p:nvCxnSpPr>
              <p:spPr>
                <a:xfrm>
                  <a:off x="14619892" y="6382040"/>
                  <a:ext cx="0" cy="8577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4" name="Rechte verbindingslijn 253">
                  <a:extLst>
                    <a:ext uri="{FF2B5EF4-FFF2-40B4-BE49-F238E27FC236}">
                      <a16:creationId xmlns:a16="http://schemas.microsoft.com/office/drawing/2014/main" id="{1413967A-86C5-46B4-BADC-2671CAF79C15}"/>
                    </a:ext>
                  </a:extLst>
                </p:cNvPr>
                <p:cNvCxnSpPr/>
                <p:nvPr userDrawn="1"/>
              </p:nvCxnSpPr>
              <p:spPr>
                <a:xfrm flipH="1">
                  <a:off x="14593115" y="6400164"/>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5" name="Rechte verbindingslijn 254">
                  <a:extLst>
                    <a:ext uri="{FF2B5EF4-FFF2-40B4-BE49-F238E27FC236}">
                      <a16:creationId xmlns:a16="http://schemas.microsoft.com/office/drawing/2014/main" id="{C4E4373B-E324-40EF-9683-A62A7168432F}"/>
                    </a:ext>
                  </a:extLst>
                </p:cNvPr>
                <p:cNvCxnSpPr/>
                <p:nvPr userDrawn="1"/>
              </p:nvCxnSpPr>
              <p:spPr>
                <a:xfrm flipH="1">
                  <a:off x="14593115" y="6423860"/>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6" name="Rechte verbindingslijn 255">
                  <a:extLst>
                    <a:ext uri="{FF2B5EF4-FFF2-40B4-BE49-F238E27FC236}">
                      <a16:creationId xmlns:a16="http://schemas.microsoft.com/office/drawing/2014/main" id="{C5F955D2-8CDA-4786-97EC-BBCD1D2CE944}"/>
                    </a:ext>
                  </a:extLst>
                </p:cNvPr>
                <p:cNvCxnSpPr/>
                <p:nvPr userDrawn="1"/>
              </p:nvCxnSpPr>
              <p:spPr>
                <a:xfrm flipH="1">
                  <a:off x="14593115" y="6447556"/>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57" name="Rectangle 13">
                  <a:extLst>
                    <a:ext uri="{FF2B5EF4-FFF2-40B4-BE49-F238E27FC236}">
                      <a16:creationId xmlns:a16="http://schemas.microsoft.com/office/drawing/2014/main" id="{5A06D9EF-B1EA-41AB-ACC1-CC40EF09A31F}"/>
                    </a:ext>
                  </a:extLst>
                </p:cNvPr>
                <p:cNvSpPr>
                  <a:spLocks noChangeArrowheads="1"/>
                </p:cNvSpPr>
                <p:nvPr userDrawn="1"/>
              </p:nvSpPr>
              <p:spPr bwMode="auto">
                <a:xfrm>
                  <a:off x="14590283" y="6359138"/>
                  <a:ext cx="128657" cy="19347"/>
                </a:xfrm>
                <a:prstGeom prst="rect">
                  <a:avLst/>
                </a:prstGeom>
                <a:gradFill flip="none" rotWithShape="1">
                  <a:gsLst>
                    <a:gs pos="0">
                      <a:srgbClr val="1929FF"/>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grpSp>
          <p:grpSp>
            <p:nvGrpSpPr>
              <p:cNvPr id="243" name="Groep 242">
                <a:extLst>
                  <a:ext uri="{FF2B5EF4-FFF2-40B4-BE49-F238E27FC236}">
                    <a16:creationId xmlns:a16="http://schemas.microsoft.com/office/drawing/2014/main" id="{B3A19BEE-2381-423F-8242-40F3CE321AF3}"/>
                  </a:ext>
                </a:extLst>
              </p:cNvPr>
              <p:cNvGrpSpPr/>
              <p:nvPr/>
            </p:nvGrpSpPr>
            <p:grpSpPr>
              <a:xfrm>
                <a:off x="12529899" y="6421402"/>
                <a:ext cx="97399" cy="97399"/>
                <a:chOff x="14546483" y="5323041"/>
                <a:chExt cx="242460" cy="242460"/>
              </a:xfrm>
            </p:grpSpPr>
            <p:sp>
              <p:nvSpPr>
                <p:cNvPr id="244" name="Rechthoek 243">
                  <a:extLst>
                    <a:ext uri="{FF2B5EF4-FFF2-40B4-BE49-F238E27FC236}">
                      <a16:creationId xmlns:a16="http://schemas.microsoft.com/office/drawing/2014/main" id="{8F746931-53A6-4205-97E4-AF5256C9DC0C}"/>
                    </a:ext>
                  </a:extLst>
                </p:cNvPr>
                <p:cNvSpPr/>
                <p:nvPr userDrawn="1"/>
              </p:nvSpPr>
              <p:spPr>
                <a:xfrm>
                  <a:off x="14546483" y="5323041"/>
                  <a:ext cx="242460" cy="242460"/>
                </a:xfrm>
                <a:prstGeom prst="rect">
                  <a:avLst/>
                </a:prstGeom>
                <a:solidFill>
                  <a:schemeClr val="bg1"/>
                </a:solidFill>
                <a:ln w="6350">
                  <a:solidFill>
                    <a:srgbClr val="00A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nvGrpSpPr>
                <p:cNvPr id="245" name="Groep 244">
                  <a:extLst>
                    <a:ext uri="{FF2B5EF4-FFF2-40B4-BE49-F238E27FC236}">
                      <a16:creationId xmlns:a16="http://schemas.microsoft.com/office/drawing/2014/main" id="{41BAD178-BEBC-4B18-B2E7-ED972EFF85C4}"/>
                    </a:ext>
                  </a:extLst>
                </p:cNvPr>
                <p:cNvGrpSpPr/>
                <p:nvPr/>
              </p:nvGrpSpPr>
              <p:grpSpPr>
                <a:xfrm>
                  <a:off x="14568035" y="5357818"/>
                  <a:ext cx="199836" cy="175226"/>
                  <a:chOff x="14559757" y="5349611"/>
                  <a:chExt cx="216392" cy="191641"/>
                </a:xfrm>
              </p:grpSpPr>
              <p:sp>
                <p:nvSpPr>
                  <p:cNvPr id="246" name="Parallellogram 245">
                    <a:extLst>
                      <a:ext uri="{FF2B5EF4-FFF2-40B4-BE49-F238E27FC236}">
                        <a16:creationId xmlns:a16="http://schemas.microsoft.com/office/drawing/2014/main" id="{57D56FDE-84AA-4363-9771-EC200749B227}"/>
                      </a:ext>
                    </a:extLst>
                  </p:cNvPr>
                  <p:cNvSpPr/>
                  <p:nvPr/>
                </p:nvSpPr>
                <p:spPr>
                  <a:xfrm>
                    <a:off x="14559757" y="5369222"/>
                    <a:ext cx="214316" cy="147762"/>
                  </a:xfrm>
                  <a:prstGeom prst="parallelogram">
                    <a:avLst>
                      <a:gd name="adj" fmla="val 93909"/>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247" name="Parallellogram 246">
                    <a:extLst>
                      <a:ext uri="{FF2B5EF4-FFF2-40B4-BE49-F238E27FC236}">
                        <a16:creationId xmlns:a16="http://schemas.microsoft.com/office/drawing/2014/main" id="{9118CEDC-46D1-45EC-81C9-ED4693A67650}"/>
                      </a:ext>
                    </a:extLst>
                  </p:cNvPr>
                  <p:cNvSpPr/>
                  <p:nvPr/>
                </p:nvSpPr>
                <p:spPr>
                  <a:xfrm flipH="1">
                    <a:off x="14561833" y="5349611"/>
                    <a:ext cx="214316" cy="191641"/>
                  </a:xfrm>
                  <a:prstGeom prst="parallelogram">
                    <a:avLst>
                      <a:gd name="adj" fmla="val 68946"/>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grpSp>
        </p:grpSp>
        <p:sp>
          <p:nvSpPr>
            <p:cNvPr id="234" name="Tekstvak 33">
              <a:extLst>
                <a:ext uri="{FF2B5EF4-FFF2-40B4-BE49-F238E27FC236}">
                  <a16:creationId xmlns:a16="http://schemas.microsoft.com/office/drawing/2014/main" id="{60937FC8-50C8-47EB-A47F-42A598854EBA}"/>
                </a:ext>
              </a:extLst>
            </p:cNvPr>
            <p:cNvSpPr txBox="1"/>
            <p:nvPr userDrawn="1"/>
          </p:nvSpPr>
          <p:spPr>
            <a:xfrm>
              <a:off x="12537681" y="5123358"/>
              <a:ext cx="2588841" cy="646331"/>
            </a:xfrm>
            <a:prstGeom prst="rect">
              <a:avLst/>
            </a:prstGeom>
            <a:noFill/>
          </p:spPr>
          <p:txBody>
            <a:bodyPr wrap="square" lIns="0" tIns="0" rIns="0" bIns="0" rtlCol="0" anchor="t">
              <a:spAutoFit/>
            </a:bodyPr>
            <a:lstStyle>
              <a:defPPr>
                <a:defRPr lang="nl-NL"/>
              </a:defPPr>
              <a:lvl1pPr marR="0" lvl="0" indent="0" defTabSz="914400" fontAlgn="auto">
                <a:lnSpc>
                  <a:spcPct val="100000"/>
                </a:lnSpc>
                <a:spcBef>
                  <a:spcPts val="0"/>
                </a:spcBef>
                <a:spcAft>
                  <a:spcPts val="0"/>
                </a:spcAft>
                <a:buClrTx/>
                <a:buSzTx/>
                <a:buFontTx/>
                <a:buNone/>
                <a:tabLst/>
                <a:defRPr kumimoji="0" sz="1400" b="0" i="0" u="none" strike="noStrike" kern="0" cap="none" spc="0" normalizeH="0" baseline="0">
                  <a:ln>
                    <a:noFill/>
                  </a:ln>
                  <a:effectLst/>
                  <a:uLnTx/>
                  <a:uFillTx/>
                  <a:latin typeface="Calibri"/>
                  <a:ea typeface="Tahoma" pitchFamily="34" charset="0"/>
                  <a:cs typeface="Arial" pitchFamily="34" charset="0"/>
                </a:defRPr>
              </a:lvl1pPr>
            </a:lstStyle>
            <a:p>
              <a:pPr lvl="0"/>
              <a:r>
                <a:rPr lang="nl-NL" dirty="0">
                  <a:solidFill>
                    <a:schemeClr val="tx2"/>
                  </a:solidFill>
                  <a:latin typeface="+mn-lt"/>
                </a:rPr>
                <a:t>Selecteer de grafiek, klik op de rechter muisknop en kies </a:t>
              </a:r>
              <a:r>
                <a:rPr lang="nl-NL" b="0" dirty="0">
                  <a:solidFill>
                    <a:schemeClr val="tx2"/>
                  </a:solidFill>
                  <a:latin typeface="+mj-lt"/>
                </a:rPr>
                <a:t>‘Gegevens bewerken’</a:t>
              </a:r>
            </a:p>
          </p:txBody>
        </p:sp>
        <p:sp>
          <p:nvSpPr>
            <p:cNvPr id="235" name="Rechthoek 234">
              <a:extLst>
                <a:ext uri="{FF2B5EF4-FFF2-40B4-BE49-F238E27FC236}">
                  <a16:creationId xmlns:a16="http://schemas.microsoft.com/office/drawing/2014/main" id="{C9379AD7-BC64-4A2A-AE40-BEA76535A169}"/>
                </a:ext>
              </a:extLst>
            </p:cNvPr>
            <p:cNvSpPr/>
            <p:nvPr userDrawn="1"/>
          </p:nvSpPr>
          <p:spPr>
            <a:xfrm>
              <a:off x="12363871" y="4529047"/>
              <a:ext cx="2584447" cy="3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lvl="0"/>
              <a:r>
                <a:rPr lang="nl-NL" sz="1600" b="0" dirty="0">
                  <a:solidFill>
                    <a:schemeClr val="tx2"/>
                  </a:solidFill>
                  <a:latin typeface="+mj-lt"/>
                </a:rPr>
                <a:t>GRAFIEK BEWERKEN</a:t>
              </a:r>
            </a:p>
          </p:txBody>
        </p:sp>
        <p:pic>
          <p:nvPicPr>
            <p:cNvPr id="236" name="Picture 3">
              <a:extLst>
                <a:ext uri="{FF2B5EF4-FFF2-40B4-BE49-F238E27FC236}">
                  <a16:creationId xmlns:a16="http://schemas.microsoft.com/office/drawing/2014/main" id="{9A1DE6E1-00F8-4E8F-8B8F-098C6E0635E5}"/>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4262557" y="6394752"/>
              <a:ext cx="158644" cy="256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53" name="Groep 352">
            <a:extLst>
              <a:ext uri="{FF2B5EF4-FFF2-40B4-BE49-F238E27FC236}">
                <a16:creationId xmlns:a16="http://schemas.microsoft.com/office/drawing/2014/main" id="{EA8E4455-A23B-4953-B009-3BF97297453E}"/>
              </a:ext>
            </a:extLst>
          </p:cNvPr>
          <p:cNvGrpSpPr/>
          <p:nvPr userDrawn="1"/>
        </p:nvGrpSpPr>
        <p:grpSpPr>
          <a:xfrm>
            <a:off x="-2973833" y="0"/>
            <a:ext cx="2808312" cy="5805264"/>
            <a:chOff x="-2973833" y="0"/>
            <a:chExt cx="2808312" cy="5805264"/>
          </a:xfrm>
        </p:grpSpPr>
        <p:sp>
          <p:nvSpPr>
            <p:cNvPr id="354" name="Rechthoek 353">
              <a:extLst>
                <a:ext uri="{FF2B5EF4-FFF2-40B4-BE49-F238E27FC236}">
                  <a16:creationId xmlns:a16="http://schemas.microsoft.com/office/drawing/2014/main" id="{9CBDF756-EE5E-47B4-9597-77DD04743365}"/>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355" name="Textfield placeholder">
              <a:extLst>
                <a:ext uri="{FF2B5EF4-FFF2-40B4-BE49-F238E27FC236}">
                  <a16:creationId xmlns:a16="http://schemas.microsoft.com/office/drawing/2014/main" id="{F7A6FF74-49B4-47B7-87BB-750003B98FFD}"/>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356" name="Ovaal 355">
              <a:extLst>
                <a:ext uri="{FF2B5EF4-FFF2-40B4-BE49-F238E27FC236}">
                  <a16:creationId xmlns:a16="http://schemas.microsoft.com/office/drawing/2014/main" id="{88CDCE2C-A6C9-42C8-8F9A-0F9DA5692BF4}"/>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357" name="Ovaal 356">
              <a:extLst>
                <a:ext uri="{FF2B5EF4-FFF2-40B4-BE49-F238E27FC236}">
                  <a16:creationId xmlns:a16="http://schemas.microsoft.com/office/drawing/2014/main" id="{80CEEE5F-C420-46BC-9DAC-29810ACADE4B}"/>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358" name="Ovaal 357">
              <a:extLst>
                <a:ext uri="{FF2B5EF4-FFF2-40B4-BE49-F238E27FC236}">
                  <a16:creationId xmlns:a16="http://schemas.microsoft.com/office/drawing/2014/main" id="{909683DC-F541-484D-88A6-B891902003E7}"/>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359" name="Ovaal 358">
              <a:extLst>
                <a:ext uri="{FF2B5EF4-FFF2-40B4-BE49-F238E27FC236}">
                  <a16:creationId xmlns:a16="http://schemas.microsoft.com/office/drawing/2014/main" id="{284C1ABF-2CB5-4098-AE5E-34A3D209A489}"/>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360" name="Textfield placeholder">
              <a:extLst>
                <a:ext uri="{FF2B5EF4-FFF2-40B4-BE49-F238E27FC236}">
                  <a16:creationId xmlns:a16="http://schemas.microsoft.com/office/drawing/2014/main" id="{41E81EA0-932C-400B-A815-55C6AA2EB833}"/>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361" name="Textfield placeholder">
              <a:extLst>
                <a:ext uri="{FF2B5EF4-FFF2-40B4-BE49-F238E27FC236}">
                  <a16:creationId xmlns:a16="http://schemas.microsoft.com/office/drawing/2014/main" id="{BC33423E-2DB6-40B6-A813-DBE8BB5FCD0A}"/>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362" name="Textfield placeholder">
              <a:extLst>
                <a:ext uri="{FF2B5EF4-FFF2-40B4-BE49-F238E27FC236}">
                  <a16:creationId xmlns:a16="http://schemas.microsoft.com/office/drawing/2014/main" id="{2E0DB3BE-6BAC-4BF0-9E6E-26679A859D60}"/>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363" name="Rechte verbindingslijn 362">
              <a:extLst>
                <a:ext uri="{FF2B5EF4-FFF2-40B4-BE49-F238E27FC236}">
                  <a16:creationId xmlns:a16="http://schemas.microsoft.com/office/drawing/2014/main" id="{0841A44D-A83A-45EB-8023-B5F646E60760}"/>
                </a:ext>
              </a:extLst>
            </p:cNvPr>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4" name="Rechte verbindingslijn 363">
              <a:extLst>
                <a:ext uri="{FF2B5EF4-FFF2-40B4-BE49-F238E27FC236}">
                  <a16:creationId xmlns:a16="http://schemas.microsoft.com/office/drawing/2014/main" id="{5BDCFBFA-2555-48A0-825D-680716DF2705}"/>
                </a:ext>
              </a:extLst>
            </p:cNvPr>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5" name="Rechte verbindingslijn 364">
              <a:extLst>
                <a:ext uri="{FF2B5EF4-FFF2-40B4-BE49-F238E27FC236}">
                  <a16:creationId xmlns:a16="http://schemas.microsoft.com/office/drawing/2014/main" id="{FB1CD350-F3E1-4E8B-A216-ECF888DFCCFE}"/>
                </a:ext>
              </a:extLst>
            </p:cNvPr>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366" name="Picture 3">
              <a:extLst>
                <a:ext uri="{FF2B5EF4-FFF2-40B4-BE49-F238E27FC236}">
                  <a16:creationId xmlns:a16="http://schemas.microsoft.com/office/drawing/2014/main" id="{229ED008-BF40-4A36-9B45-4B5E1AACC04C}"/>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7" name="Picture 4">
              <a:extLst>
                <a:ext uri="{FF2B5EF4-FFF2-40B4-BE49-F238E27FC236}">
                  <a16:creationId xmlns:a16="http://schemas.microsoft.com/office/drawing/2014/main" id="{299F0989-F6B7-471F-B2F4-A711843F5EA0}"/>
                </a:ext>
              </a:extLst>
            </p:cNvPr>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68" name="Groep 367">
              <a:extLst>
                <a:ext uri="{FF2B5EF4-FFF2-40B4-BE49-F238E27FC236}">
                  <a16:creationId xmlns:a16="http://schemas.microsoft.com/office/drawing/2014/main" id="{773ACE66-ABC0-49A1-8901-2CC76D46318E}"/>
                </a:ext>
              </a:extLst>
            </p:cNvPr>
            <p:cNvGrpSpPr/>
            <p:nvPr userDrawn="1"/>
          </p:nvGrpSpPr>
          <p:grpSpPr>
            <a:xfrm>
              <a:off x="-2098870" y="523279"/>
              <a:ext cx="435437" cy="427699"/>
              <a:chOff x="-1085063" y="758027"/>
              <a:chExt cx="633800" cy="622540"/>
            </a:xfrm>
          </p:grpSpPr>
          <p:sp>
            <p:nvSpPr>
              <p:cNvPr id="409" name="Afgeronde rechthoek 133">
                <a:extLst>
                  <a:ext uri="{FF2B5EF4-FFF2-40B4-BE49-F238E27FC236}">
                    <a16:creationId xmlns:a16="http://schemas.microsoft.com/office/drawing/2014/main" id="{EDA0B930-B85C-40E1-94FF-1982DC4722F5}"/>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410" name="Groep 409">
                <a:extLst>
                  <a:ext uri="{FF2B5EF4-FFF2-40B4-BE49-F238E27FC236}">
                    <a16:creationId xmlns:a16="http://schemas.microsoft.com/office/drawing/2014/main" id="{0FFFB783-A9A9-498E-87E8-2E636D046982}"/>
                  </a:ext>
                </a:extLst>
              </p:cNvPr>
              <p:cNvGrpSpPr/>
              <p:nvPr userDrawn="1"/>
            </p:nvGrpSpPr>
            <p:grpSpPr>
              <a:xfrm>
                <a:off x="-977746" y="864082"/>
                <a:ext cx="419166" cy="410430"/>
                <a:chOff x="6366933" y="309013"/>
                <a:chExt cx="1901295" cy="1861668"/>
              </a:xfrm>
              <a:solidFill>
                <a:schemeClr val="tx1"/>
              </a:solidFill>
            </p:grpSpPr>
            <p:sp>
              <p:nvSpPr>
                <p:cNvPr id="411" name="Rechthoek 410">
                  <a:extLst>
                    <a:ext uri="{FF2B5EF4-FFF2-40B4-BE49-F238E27FC236}">
                      <a16:creationId xmlns:a16="http://schemas.microsoft.com/office/drawing/2014/main" id="{44CEC08D-CF26-4121-A0BE-B50D5AEFC113}"/>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2" name="Rechthoek 411">
                  <a:extLst>
                    <a:ext uri="{FF2B5EF4-FFF2-40B4-BE49-F238E27FC236}">
                      <a16:creationId xmlns:a16="http://schemas.microsoft.com/office/drawing/2014/main" id="{F57160A0-531D-478D-BC13-619F90A9EAF2}"/>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3" name="Rechthoek 412">
                  <a:extLst>
                    <a:ext uri="{FF2B5EF4-FFF2-40B4-BE49-F238E27FC236}">
                      <a16:creationId xmlns:a16="http://schemas.microsoft.com/office/drawing/2014/main" id="{5E287355-2F07-476A-A993-79472D96FA60}"/>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4" name="Rechthoek 413">
                  <a:extLst>
                    <a:ext uri="{FF2B5EF4-FFF2-40B4-BE49-F238E27FC236}">
                      <a16:creationId xmlns:a16="http://schemas.microsoft.com/office/drawing/2014/main" id="{0F2F2B2C-423A-4734-88F7-8A943B2E4996}"/>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5" name="Rechthoek 414">
                  <a:extLst>
                    <a:ext uri="{FF2B5EF4-FFF2-40B4-BE49-F238E27FC236}">
                      <a16:creationId xmlns:a16="http://schemas.microsoft.com/office/drawing/2014/main" id="{9C7C1DB1-C6C2-4C91-BBD9-D8BDF9ADF0DC}"/>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6" name="Rechthoek 415">
                  <a:extLst>
                    <a:ext uri="{FF2B5EF4-FFF2-40B4-BE49-F238E27FC236}">
                      <a16:creationId xmlns:a16="http://schemas.microsoft.com/office/drawing/2014/main" id="{9A9E1565-3D15-484E-B51E-6DA45CF19C49}"/>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7" name="Rechthoek 416">
                  <a:extLst>
                    <a:ext uri="{FF2B5EF4-FFF2-40B4-BE49-F238E27FC236}">
                      <a16:creationId xmlns:a16="http://schemas.microsoft.com/office/drawing/2014/main" id="{89A4C2F3-B20C-428D-BFF9-31B8C54D4CE6}"/>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8" name="Rechthoek 417">
                  <a:extLst>
                    <a:ext uri="{FF2B5EF4-FFF2-40B4-BE49-F238E27FC236}">
                      <a16:creationId xmlns:a16="http://schemas.microsoft.com/office/drawing/2014/main" id="{B73E23D3-EC1E-402A-A307-85E4CA2229DB}"/>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9" name="Rechthoek 418">
                  <a:extLst>
                    <a:ext uri="{FF2B5EF4-FFF2-40B4-BE49-F238E27FC236}">
                      <a16:creationId xmlns:a16="http://schemas.microsoft.com/office/drawing/2014/main" id="{83CA2BAC-E26D-4AC2-ABF1-56049FF3FBD3}"/>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20" name="Rechthoek 419">
                  <a:extLst>
                    <a:ext uri="{FF2B5EF4-FFF2-40B4-BE49-F238E27FC236}">
                      <a16:creationId xmlns:a16="http://schemas.microsoft.com/office/drawing/2014/main" id="{4D7195BD-ED2C-4C15-A105-346EFF2C0D47}"/>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21" name="Vrije vorm 145">
                  <a:extLst>
                    <a:ext uri="{FF2B5EF4-FFF2-40B4-BE49-F238E27FC236}">
                      <a16:creationId xmlns:a16="http://schemas.microsoft.com/office/drawing/2014/main" id="{7FC1152C-39C0-4D33-966E-04FEC0EC523B}"/>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369" name="Groep 368">
              <a:extLst>
                <a:ext uri="{FF2B5EF4-FFF2-40B4-BE49-F238E27FC236}">
                  <a16:creationId xmlns:a16="http://schemas.microsoft.com/office/drawing/2014/main" id="{045B0847-52E7-4876-B11C-93E9240F324B}"/>
                </a:ext>
              </a:extLst>
            </p:cNvPr>
            <p:cNvGrpSpPr/>
            <p:nvPr userDrawn="1"/>
          </p:nvGrpSpPr>
          <p:grpSpPr>
            <a:xfrm>
              <a:off x="-2095303" y="1071657"/>
              <a:ext cx="435437" cy="427699"/>
              <a:chOff x="-1845083" y="758027"/>
              <a:chExt cx="633800" cy="622540"/>
            </a:xfrm>
          </p:grpSpPr>
          <p:sp>
            <p:nvSpPr>
              <p:cNvPr id="396" name="Afgeronde rechthoek 120">
                <a:extLst>
                  <a:ext uri="{FF2B5EF4-FFF2-40B4-BE49-F238E27FC236}">
                    <a16:creationId xmlns:a16="http://schemas.microsoft.com/office/drawing/2014/main" id="{F11BA919-37E7-4220-9A3E-086EDB06281E}"/>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397" name="Groep 396">
                <a:extLst>
                  <a:ext uri="{FF2B5EF4-FFF2-40B4-BE49-F238E27FC236}">
                    <a16:creationId xmlns:a16="http://schemas.microsoft.com/office/drawing/2014/main" id="{32A7B9A8-750A-4A37-813A-CBF0B97B6360}"/>
                  </a:ext>
                </a:extLst>
              </p:cNvPr>
              <p:cNvGrpSpPr/>
              <p:nvPr userDrawn="1"/>
            </p:nvGrpSpPr>
            <p:grpSpPr>
              <a:xfrm>
                <a:off x="-1737766" y="864082"/>
                <a:ext cx="419166" cy="410430"/>
                <a:chOff x="3708400" y="309013"/>
                <a:chExt cx="1901295" cy="1861668"/>
              </a:xfrm>
              <a:solidFill>
                <a:schemeClr val="tx1"/>
              </a:solidFill>
            </p:grpSpPr>
            <p:sp>
              <p:nvSpPr>
                <p:cNvPr id="398" name="Rechthoek 397">
                  <a:extLst>
                    <a:ext uri="{FF2B5EF4-FFF2-40B4-BE49-F238E27FC236}">
                      <a16:creationId xmlns:a16="http://schemas.microsoft.com/office/drawing/2014/main" id="{8A60E5BF-32FB-434F-B815-AF6FA6A3CFA0}"/>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99" name="Rechthoek 398">
                  <a:extLst>
                    <a:ext uri="{FF2B5EF4-FFF2-40B4-BE49-F238E27FC236}">
                      <a16:creationId xmlns:a16="http://schemas.microsoft.com/office/drawing/2014/main" id="{AC5ABE15-B31B-40D3-9035-034C453750B9}"/>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0" name="Rechthoek 399">
                  <a:extLst>
                    <a:ext uri="{FF2B5EF4-FFF2-40B4-BE49-F238E27FC236}">
                      <a16:creationId xmlns:a16="http://schemas.microsoft.com/office/drawing/2014/main" id="{6D39C1A4-CEE8-4FF7-8520-0303AFF7F7AE}"/>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1" name="Rechthoek 400">
                  <a:extLst>
                    <a:ext uri="{FF2B5EF4-FFF2-40B4-BE49-F238E27FC236}">
                      <a16:creationId xmlns:a16="http://schemas.microsoft.com/office/drawing/2014/main" id="{9FE59CCB-A8F0-488F-8F23-A8CB81452A49}"/>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2" name="Rechthoek 401">
                  <a:extLst>
                    <a:ext uri="{FF2B5EF4-FFF2-40B4-BE49-F238E27FC236}">
                      <a16:creationId xmlns:a16="http://schemas.microsoft.com/office/drawing/2014/main" id="{20CD5965-0AB7-46BA-8E1B-8ACA8C95D687}"/>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3" name="Rechthoek 402">
                  <a:extLst>
                    <a:ext uri="{FF2B5EF4-FFF2-40B4-BE49-F238E27FC236}">
                      <a16:creationId xmlns:a16="http://schemas.microsoft.com/office/drawing/2014/main" id="{7C2ABD1B-5BE6-4DA5-8AFF-96CF724A693C}"/>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4" name="Rechthoek 403">
                  <a:extLst>
                    <a:ext uri="{FF2B5EF4-FFF2-40B4-BE49-F238E27FC236}">
                      <a16:creationId xmlns:a16="http://schemas.microsoft.com/office/drawing/2014/main" id="{C97022AA-EC86-4A7E-91D0-2F6F8B3C08D0}"/>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5" name="Rechthoek 404">
                  <a:extLst>
                    <a:ext uri="{FF2B5EF4-FFF2-40B4-BE49-F238E27FC236}">
                      <a16:creationId xmlns:a16="http://schemas.microsoft.com/office/drawing/2014/main" id="{66E0F211-DD38-403A-A244-2B979F6151B7}"/>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6" name="Rechthoek 405">
                  <a:extLst>
                    <a:ext uri="{FF2B5EF4-FFF2-40B4-BE49-F238E27FC236}">
                      <a16:creationId xmlns:a16="http://schemas.microsoft.com/office/drawing/2014/main" id="{D6A8D191-08DC-4AB9-AD31-AEC4D1D7A3D7}"/>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7" name="Rechthoek 406">
                  <a:extLst>
                    <a:ext uri="{FF2B5EF4-FFF2-40B4-BE49-F238E27FC236}">
                      <a16:creationId xmlns:a16="http://schemas.microsoft.com/office/drawing/2014/main" id="{AEF4EAAA-A3C9-4711-B5F8-DAE83A80DE3A}"/>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8" name="Vrije vorm 132">
                  <a:extLst>
                    <a:ext uri="{FF2B5EF4-FFF2-40B4-BE49-F238E27FC236}">
                      <a16:creationId xmlns:a16="http://schemas.microsoft.com/office/drawing/2014/main" id="{B8B015CA-32BF-4D48-A59D-7CE63FFD77A4}"/>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370" name="Rechte verbindingslijn 369">
              <a:extLst>
                <a:ext uri="{FF2B5EF4-FFF2-40B4-BE49-F238E27FC236}">
                  <a16:creationId xmlns:a16="http://schemas.microsoft.com/office/drawing/2014/main" id="{45A9DB1D-9874-4475-9691-4EA2EFB1E8FF}"/>
                </a:ext>
              </a:extLst>
            </p:cNvPr>
            <p:cNvCxnSpPr>
              <a:stCxn id="372" idx="2"/>
              <a:endCxn id="396"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371" name="Rechte verbindingslijn 370">
              <a:extLst>
                <a:ext uri="{FF2B5EF4-FFF2-40B4-BE49-F238E27FC236}">
                  <a16:creationId xmlns:a16="http://schemas.microsoft.com/office/drawing/2014/main" id="{5E3B643D-4DB9-482B-AC89-ABC131F9DFFA}"/>
                </a:ext>
              </a:extLst>
            </p:cNvPr>
            <p:cNvCxnSpPr>
              <a:stCxn id="373" idx="3"/>
              <a:endCxn id="409"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372" name="Ovaal 371">
              <a:extLst>
                <a:ext uri="{FF2B5EF4-FFF2-40B4-BE49-F238E27FC236}">
                  <a16:creationId xmlns:a16="http://schemas.microsoft.com/office/drawing/2014/main" id="{4680229C-98FC-4A8F-9CDF-6540C276FB6E}"/>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73" name="Ovaal 372">
              <a:extLst>
                <a:ext uri="{FF2B5EF4-FFF2-40B4-BE49-F238E27FC236}">
                  <a16:creationId xmlns:a16="http://schemas.microsoft.com/office/drawing/2014/main" id="{80A4C1E9-F53A-4C8D-8AD6-AB6704B95113}"/>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74" name="Textfield placeholder">
              <a:extLst>
                <a:ext uri="{FF2B5EF4-FFF2-40B4-BE49-F238E27FC236}">
                  <a16:creationId xmlns:a16="http://schemas.microsoft.com/office/drawing/2014/main" id="{E2527995-D1EE-48C3-8C5F-6FFAC9D6FB25}"/>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375" name="Textfield placeholder">
              <a:extLst>
                <a:ext uri="{FF2B5EF4-FFF2-40B4-BE49-F238E27FC236}">
                  <a16:creationId xmlns:a16="http://schemas.microsoft.com/office/drawing/2014/main" id="{D251BBE3-2CD3-4B44-B066-5B6AC3262A78}"/>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376" name="Ovaal 375">
              <a:extLst>
                <a:ext uri="{FF2B5EF4-FFF2-40B4-BE49-F238E27FC236}">
                  <a16:creationId xmlns:a16="http://schemas.microsoft.com/office/drawing/2014/main" id="{49F8C75B-67A8-4EC6-A313-5E7971845167}"/>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377" name="Ovaal 376">
              <a:extLst>
                <a:ext uri="{FF2B5EF4-FFF2-40B4-BE49-F238E27FC236}">
                  <a16:creationId xmlns:a16="http://schemas.microsoft.com/office/drawing/2014/main" id="{97396152-5FEB-4E08-A431-343DCE668427}"/>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378" name="Ovaal 377">
              <a:extLst>
                <a:ext uri="{FF2B5EF4-FFF2-40B4-BE49-F238E27FC236}">
                  <a16:creationId xmlns:a16="http://schemas.microsoft.com/office/drawing/2014/main" id="{46B22CFC-A15A-4892-BE79-AB9E236F340E}"/>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379" name="Ovaal 378">
              <a:extLst>
                <a:ext uri="{FF2B5EF4-FFF2-40B4-BE49-F238E27FC236}">
                  <a16:creationId xmlns:a16="http://schemas.microsoft.com/office/drawing/2014/main" id="{FE49D267-9FE1-4A55-ABC2-186E1749FDD6}"/>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380" name="Ovaal 379">
              <a:extLst>
                <a:ext uri="{FF2B5EF4-FFF2-40B4-BE49-F238E27FC236}">
                  <a16:creationId xmlns:a16="http://schemas.microsoft.com/office/drawing/2014/main" id="{9314C4FE-919B-4F84-9F78-3157CE761488}"/>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381" name="Textfield placeholder">
              <a:extLst>
                <a:ext uri="{FF2B5EF4-FFF2-40B4-BE49-F238E27FC236}">
                  <a16:creationId xmlns:a16="http://schemas.microsoft.com/office/drawing/2014/main" id="{F8DBDFD8-725D-4416-8E2B-6B79A90387C3}"/>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382" name="Textfield placeholder">
              <a:extLst>
                <a:ext uri="{FF2B5EF4-FFF2-40B4-BE49-F238E27FC236}">
                  <a16:creationId xmlns:a16="http://schemas.microsoft.com/office/drawing/2014/main" id="{1D75C245-4B77-4A70-9CBA-C90F26AA1CB4}"/>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383" name="Textfield placeholder">
              <a:extLst>
                <a:ext uri="{FF2B5EF4-FFF2-40B4-BE49-F238E27FC236}">
                  <a16:creationId xmlns:a16="http://schemas.microsoft.com/office/drawing/2014/main" id="{AB9D58C6-88A9-4BF7-B5BB-2DF8A226DF0B}"/>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384" name="Textfield placeholder">
              <a:extLst>
                <a:ext uri="{FF2B5EF4-FFF2-40B4-BE49-F238E27FC236}">
                  <a16:creationId xmlns:a16="http://schemas.microsoft.com/office/drawing/2014/main" id="{184BFB5C-0218-4176-9795-74817D6749D4}"/>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385" name="Textfield placeholder">
              <a:extLst>
                <a:ext uri="{FF2B5EF4-FFF2-40B4-BE49-F238E27FC236}">
                  <a16:creationId xmlns:a16="http://schemas.microsoft.com/office/drawing/2014/main" id="{65ADFC2D-B2FC-46A4-BA2A-5F29D92B01CD}"/>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386" name="Groep 385">
              <a:extLst>
                <a:ext uri="{FF2B5EF4-FFF2-40B4-BE49-F238E27FC236}">
                  <a16:creationId xmlns:a16="http://schemas.microsoft.com/office/drawing/2014/main" id="{BC07B0F0-C182-41E9-A31A-99C5C0B4580D}"/>
                </a:ext>
              </a:extLst>
            </p:cNvPr>
            <p:cNvGrpSpPr/>
            <p:nvPr userDrawn="1"/>
          </p:nvGrpSpPr>
          <p:grpSpPr>
            <a:xfrm>
              <a:off x="-950342" y="1837957"/>
              <a:ext cx="687412" cy="3758146"/>
              <a:chOff x="-740196" y="1837957"/>
              <a:chExt cx="1374825" cy="3758146"/>
            </a:xfrm>
          </p:grpSpPr>
          <p:sp>
            <p:nvSpPr>
              <p:cNvPr id="387" name="Textfield placeholder">
                <a:extLst>
                  <a:ext uri="{FF2B5EF4-FFF2-40B4-BE49-F238E27FC236}">
                    <a16:creationId xmlns:a16="http://schemas.microsoft.com/office/drawing/2014/main" id="{ACE43FBF-507F-495C-B86E-8B35DBD55150}"/>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388" name="Textfield placeholder">
                <a:extLst>
                  <a:ext uri="{FF2B5EF4-FFF2-40B4-BE49-F238E27FC236}">
                    <a16:creationId xmlns:a16="http://schemas.microsoft.com/office/drawing/2014/main" id="{1FE0A49F-D26F-4135-97FC-205CCEC1111E}"/>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389" name="Textfield placeholder">
                <a:extLst>
                  <a:ext uri="{FF2B5EF4-FFF2-40B4-BE49-F238E27FC236}">
                    <a16:creationId xmlns:a16="http://schemas.microsoft.com/office/drawing/2014/main" id="{C915F2D5-FCD8-4D1B-96DD-F9E54AB95799}"/>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90" name="Textfield placeholder">
                <a:extLst>
                  <a:ext uri="{FF2B5EF4-FFF2-40B4-BE49-F238E27FC236}">
                    <a16:creationId xmlns:a16="http://schemas.microsoft.com/office/drawing/2014/main" id="{656A2990-2D55-40E6-86C1-CD4F235A659A}"/>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391" name="Textfield placeholder">
                <a:extLst>
                  <a:ext uri="{FF2B5EF4-FFF2-40B4-BE49-F238E27FC236}">
                    <a16:creationId xmlns:a16="http://schemas.microsoft.com/office/drawing/2014/main" id="{FBCC6B77-E452-4B3A-94EE-708759E8A799}"/>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392" name="Textfield placeholder">
                <a:extLst>
                  <a:ext uri="{FF2B5EF4-FFF2-40B4-BE49-F238E27FC236}">
                    <a16:creationId xmlns:a16="http://schemas.microsoft.com/office/drawing/2014/main" id="{62387158-D078-4381-8CC4-DAC1A1B07367}"/>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93" name="Textfield placeholder">
                <a:extLst>
                  <a:ext uri="{FF2B5EF4-FFF2-40B4-BE49-F238E27FC236}">
                    <a16:creationId xmlns:a16="http://schemas.microsoft.com/office/drawing/2014/main" id="{EEBA86C9-1B9D-420F-9A6D-6B82A8FCD7E5}"/>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94" name="Textfield placeholder">
                <a:extLst>
                  <a:ext uri="{FF2B5EF4-FFF2-40B4-BE49-F238E27FC236}">
                    <a16:creationId xmlns:a16="http://schemas.microsoft.com/office/drawing/2014/main" id="{C6B9F15B-04CF-4E48-92A3-B8900407880C}"/>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395" name="Textfield placeholder">
                <a:extLst>
                  <a:ext uri="{FF2B5EF4-FFF2-40B4-BE49-F238E27FC236}">
                    <a16:creationId xmlns:a16="http://schemas.microsoft.com/office/drawing/2014/main" id="{057E2103-E345-4130-84DA-A284F64635BD}"/>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spTree>
    <p:extLst>
      <p:ext uri="{BB962C8B-B14F-4D97-AF65-F5344CB8AC3E}">
        <p14:creationId xmlns:p14="http://schemas.microsoft.com/office/powerpoint/2010/main" val="859333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 Rechts + Object (L)">
    <p:spTree>
      <p:nvGrpSpPr>
        <p:cNvPr id="1" name=""/>
        <p:cNvGrpSpPr/>
        <p:nvPr/>
      </p:nvGrpSpPr>
      <p:grpSpPr>
        <a:xfrm>
          <a:off x="0" y="0"/>
          <a:ext cx="0" cy="0"/>
          <a:chOff x="0" y="0"/>
          <a:chExt cx="0" cy="0"/>
        </a:xfrm>
      </p:grpSpPr>
      <p:sp>
        <p:nvSpPr>
          <p:cNvPr id="148" name="Rechthoek 147"/>
          <p:cNvSpPr/>
          <p:nvPr userDrawn="1"/>
        </p:nvSpPr>
        <p:spPr>
          <a:xfrm>
            <a:off x="0" y="1420101"/>
            <a:ext cx="7545537" cy="455854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tel 1"/>
          <p:cNvSpPr>
            <a:spLocks noGrp="1"/>
          </p:cNvSpPr>
          <p:nvPr>
            <p:ph type="title"/>
          </p:nvPr>
        </p:nvSpPr>
        <p:spPr/>
        <p:txBody>
          <a:bodyPr/>
          <a:lstStyle/>
          <a:p>
            <a:r>
              <a:rPr lang="nl-NL"/>
              <a:t>Klik om stijl te bewerken</a:t>
            </a:r>
            <a:endParaRPr lang="en-GB"/>
          </a:p>
        </p:txBody>
      </p:sp>
      <p:sp>
        <p:nvSpPr>
          <p:cNvPr id="3" name="Tijdelijke aanduiding voor verticale tekst 2"/>
          <p:cNvSpPr>
            <a:spLocks noGrp="1"/>
          </p:cNvSpPr>
          <p:nvPr>
            <p:ph type="body" orient="vert" idx="1"/>
          </p:nvPr>
        </p:nvSpPr>
        <p:spPr>
          <a:xfrm>
            <a:off x="8035604" y="1420099"/>
            <a:ext cx="4159571" cy="4558535"/>
          </a:xfrm>
        </p:spPr>
        <p:txBody>
          <a:bodyPr vert="horz"/>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dirty="0"/>
          </a:p>
        </p:txBody>
      </p:sp>
      <p:sp>
        <p:nvSpPr>
          <p:cNvPr id="4" name="Tijdelijke aanduiding voor datum 3"/>
          <p:cNvSpPr>
            <a:spLocks noGrp="1"/>
          </p:cNvSpPr>
          <p:nvPr>
            <p:ph type="dt" sz="half" idx="10"/>
          </p:nvPr>
        </p:nvSpPr>
        <p:spPr/>
        <p:txBody>
          <a:bodyPr/>
          <a:lstStyle/>
          <a:p>
            <a:fld id="{E57AEC9B-75CF-4C69-815B-4B828311FA70}"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9" name="Tijdelijke aanduiding voor inhoud 2"/>
          <p:cNvSpPr>
            <a:spLocks noGrp="1"/>
          </p:cNvSpPr>
          <p:nvPr>
            <p:ph idx="14"/>
          </p:nvPr>
        </p:nvSpPr>
        <p:spPr>
          <a:xfrm>
            <a:off x="384200" y="1641026"/>
            <a:ext cx="6767671" cy="3599714"/>
          </a:xfrm>
          <a:noFill/>
        </p:spPr>
        <p:txBody>
          <a:bodyPr anchor="ctr"/>
          <a:lstStyle>
            <a:lvl1pPr algn="ctr">
              <a:defRPr sz="1200"/>
            </a:lvl1pPr>
          </a:lstStyle>
          <a:p>
            <a:pPr lvl="0"/>
            <a:r>
              <a:rPr lang="nl-NL"/>
              <a:t>Klikken om de tekststijl van het model te bewerken</a:t>
            </a:r>
          </a:p>
        </p:txBody>
      </p:sp>
      <p:sp>
        <p:nvSpPr>
          <p:cNvPr id="11" name="Tekstvak 10"/>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Tekst Rechts + Object (L) + onderschrift</a:t>
            </a:r>
          </a:p>
        </p:txBody>
      </p:sp>
      <p:sp>
        <p:nvSpPr>
          <p:cNvPr id="12" name="Tijdelijke aanduiding voor verticale tekst 2"/>
          <p:cNvSpPr>
            <a:spLocks noGrp="1"/>
          </p:cNvSpPr>
          <p:nvPr>
            <p:ph type="body" orient="vert" idx="15" hasCustomPrompt="1"/>
          </p:nvPr>
        </p:nvSpPr>
        <p:spPr>
          <a:xfrm>
            <a:off x="-9525" y="5476812"/>
            <a:ext cx="7555062" cy="504000"/>
          </a:xfrm>
          <a:solidFill>
            <a:schemeClr val="accent2"/>
          </a:solidFill>
        </p:spPr>
        <p:txBody>
          <a:bodyPr vert="horz" lIns="360000" tIns="36000" rIns="216000" bIns="0" anchor="ctr"/>
          <a:lstStyle>
            <a:lvl1pPr algn="r">
              <a:defRPr sz="1800" b="0">
                <a:solidFill>
                  <a:schemeClr val="tx2"/>
                </a:solidFill>
              </a:defRPr>
            </a:lvl1pPr>
          </a:lstStyle>
          <a:p>
            <a:pPr lvl="0"/>
            <a:r>
              <a:rPr lang="nl-NL" dirty="0"/>
              <a:t>Onderschrift</a:t>
            </a:r>
          </a:p>
        </p:txBody>
      </p:sp>
      <p:grpSp>
        <p:nvGrpSpPr>
          <p:cNvPr id="146" name="Groep 145">
            <a:extLst>
              <a:ext uri="{FF2B5EF4-FFF2-40B4-BE49-F238E27FC236}">
                <a16:creationId xmlns:a16="http://schemas.microsoft.com/office/drawing/2014/main" id="{74BD7321-02B8-4820-BF3F-43F44FEE8DE7}"/>
              </a:ext>
            </a:extLst>
          </p:cNvPr>
          <p:cNvGrpSpPr/>
          <p:nvPr userDrawn="1"/>
        </p:nvGrpSpPr>
        <p:grpSpPr>
          <a:xfrm>
            <a:off x="12353686" y="0"/>
            <a:ext cx="2808312" cy="5805264"/>
            <a:chOff x="-2973833" y="0"/>
            <a:chExt cx="2808312" cy="5805264"/>
          </a:xfrm>
        </p:grpSpPr>
        <p:sp>
          <p:nvSpPr>
            <p:cNvPr id="147" name="Rechthoek 146">
              <a:extLst>
                <a:ext uri="{FF2B5EF4-FFF2-40B4-BE49-F238E27FC236}">
                  <a16:creationId xmlns:a16="http://schemas.microsoft.com/office/drawing/2014/main" id="{4AC18FD9-AB8A-4401-9007-B7924456CA8E}"/>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284" name="Textfield placeholder">
              <a:extLst>
                <a:ext uri="{FF2B5EF4-FFF2-40B4-BE49-F238E27FC236}">
                  <a16:creationId xmlns:a16="http://schemas.microsoft.com/office/drawing/2014/main" id="{C7D287A0-3F2E-46C7-A7EF-ECDAB92DB654}"/>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285" name="Ovaal 284">
              <a:extLst>
                <a:ext uri="{FF2B5EF4-FFF2-40B4-BE49-F238E27FC236}">
                  <a16:creationId xmlns:a16="http://schemas.microsoft.com/office/drawing/2014/main" id="{64CDBB9C-2E20-4F7B-9C21-B0B7BFB62619}"/>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286" name="Ovaal 285">
              <a:extLst>
                <a:ext uri="{FF2B5EF4-FFF2-40B4-BE49-F238E27FC236}">
                  <a16:creationId xmlns:a16="http://schemas.microsoft.com/office/drawing/2014/main" id="{DB40971B-FF79-41E9-8825-3F40731CB9AB}"/>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287" name="Ovaal 286">
              <a:extLst>
                <a:ext uri="{FF2B5EF4-FFF2-40B4-BE49-F238E27FC236}">
                  <a16:creationId xmlns:a16="http://schemas.microsoft.com/office/drawing/2014/main" id="{97712D61-8437-40DC-BA7D-604247B56A88}"/>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288" name="Ovaal 287">
              <a:extLst>
                <a:ext uri="{FF2B5EF4-FFF2-40B4-BE49-F238E27FC236}">
                  <a16:creationId xmlns:a16="http://schemas.microsoft.com/office/drawing/2014/main" id="{EEA5C191-0DAA-45BC-A7BC-28501753D371}"/>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289" name="Textfield placeholder">
              <a:extLst>
                <a:ext uri="{FF2B5EF4-FFF2-40B4-BE49-F238E27FC236}">
                  <a16:creationId xmlns:a16="http://schemas.microsoft.com/office/drawing/2014/main" id="{6BEB7D8B-DCCD-4379-A1E6-7BFF80A5C406}"/>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290" name="Textfield placeholder">
              <a:extLst>
                <a:ext uri="{FF2B5EF4-FFF2-40B4-BE49-F238E27FC236}">
                  <a16:creationId xmlns:a16="http://schemas.microsoft.com/office/drawing/2014/main" id="{C9FDB087-CE61-45C9-8302-74F7B2BFA40F}"/>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291" name="Textfield placeholder">
              <a:extLst>
                <a:ext uri="{FF2B5EF4-FFF2-40B4-BE49-F238E27FC236}">
                  <a16:creationId xmlns:a16="http://schemas.microsoft.com/office/drawing/2014/main" id="{6EC76274-5E53-4C69-A5FC-CB6B26A3A5E2}"/>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292" name="Rechte verbindingslijn 291">
              <a:extLst>
                <a:ext uri="{FF2B5EF4-FFF2-40B4-BE49-F238E27FC236}">
                  <a16:creationId xmlns:a16="http://schemas.microsoft.com/office/drawing/2014/main" id="{F3D94FA6-1B3F-430A-9E6E-2D897F604EBC}"/>
                </a:ext>
              </a:extLst>
            </p:cNvPr>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3" name="Rechte verbindingslijn 292">
              <a:extLst>
                <a:ext uri="{FF2B5EF4-FFF2-40B4-BE49-F238E27FC236}">
                  <a16:creationId xmlns:a16="http://schemas.microsoft.com/office/drawing/2014/main" id="{09BF2EB5-806D-44CA-80ED-9A6154827555}"/>
                </a:ext>
              </a:extLst>
            </p:cNvPr>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4" name="Rechte verbindingslijn 293">
              <a:extLst>
                <a:ext uri="{FF2B5EF4-FFF2-40B4-BE49-F238E27FC236}">
                  <a16:creationId xmlns:a16="http://schemas.microsoft.com/office/drawing/2014/main" id="{F911262C-1F0D-4EE5-9CED-B50ED9921DF7}"/>
                </a:ext>
              </a:extLst>
            </p:cNvPr>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295" name="Picture 3">
              <a:extLst>
                <a:ext uri="{FF2B5EF4-FFF2-40B4-BE49-F238E27FC236}">
                  <a16:creationId xmlns:a16="http://schemas.microsoft.com/office/drawing/2014/main" id="{242B1C8E-6DAD-4D67-A4F7-0BBC795607E7}"/>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6" name="Picture 4">
              <a:extLst>
                <a:ext uri="{FF2B5EF4-FFF2-40B4-BE49-F238E27FC236}">
                  <a16:creationId xmlns:a16="http://schemas.microsoft.com/office/drawing/2014/main" id="{3D0803BF-8184-4214-B26D-C04CFD6D8E59}"/>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97" name="Groep 296">
              <a:extLst>
                <a:ext uri="{FF2B5EF4-FFF2-40B4-BE49-F238E27FC236}">
                  <a16:creationId xmlns:a16="http://schemas.microsoft.com/office/drawing/2014/main" id="{DD23F163-8810-4C8C-86D0-811DD86AB820}"/>
                </a:ext>
              </a:extLst>
            </p:cNvPr>
            <p:cNvGrpSpPr/>
            <p:nvPr userDrawn="1"/>
          </p:nvGrpSpPr>
          <p:grpSpPr>
            <a:xfrm>
              <a:off x="-2098870" y="523279"/>
              <a:ext cx="435437" cy="427699"/>
              <a:chOff x="-1085063" y="758027"/>
              <a:chExt cx="633800" cy="622540"/>
            </a:xfrm>
          </p:grpSpPr>
          <p:sp>
            <p:nvSpPr>
              <p:cNvPr id="338" name="Afgeronde rechthoek 133">
                <a:extLst>
                  <a:ext uri="{FF2B5EF4-FFF2-40B4-BE49-F238E27FC236}">
                    <a16:creationId xmlns:a16="http://schemas.microsoft.com/office/drawing/2014/main" id="{D9E150C9-963E-49CF-9AC0-77C64EF720F9}"/>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339" name="Groep 338">
                <a:extLst>
                  <a:ext uri="{FF2B5EF4-FFF2-40B4-BE49-F238E27FC236}">
                    <a16:creationId xmlns:a16="http://schemas.microsoft.com/office/drawing/2014/main" id="{B1FA6005-1C83-41E7-90AE-E2A5798F49D5}"/>
                  </a:ext>
                </a:extLst>
              </p:cNvPr>
              <p:cNvGrpSpPr/>
              <p:nvPr userDrawn="1"/>
            </p:nvGrpSpPr>
            <p:grpSpPr>
              <a:xfrm>
                <a:off x="-977746" y="864082"/>
                <a:ext cx="419166" cy="410430"/>
                <a:chOff x="6366933" y="309013"/>
                <a:chExt cx="1901295" cy="1861668"/>
              </a:xfrm>
              <a:solidFill>
                <a:schemeClr val="tx1"/>
              </a:solidFill>
            </p:grpSpPr>
            <p:sp>
              <p:nvSpPr>
                <p:cNvPr id="340" name="Rechthoek 339">
                  <a:extLst>
                    <a:ext uri="{FF2B5EF4-FFF2-40B4-BE49-F238E27FC236}">
                      <a16:creationId xmlns:a16="http://schemas.microsoft.com/office/drawing/2014/main" id="{792A823A-6520-4A7F-80C2-306E85429D47}"/>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1" name="Rechthoek 340">
                  <a:extLst>
                    <a:ext uri="{FF2B5EF4-FFF2-40B4-BE49-F238E27FC236}">
                      <a16:creationId xmlns:a16="http://schemas.microsoft.com/office/drawing/2014/main" id="{9E2C425E-B1EB-436E-8D9D-E0536CD60256}"/>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2" name="Rechthoek 341">
                  <a:extLst>
                    <a:ext uri="{FF2B5EF4-FFF2-40B4-BE49-F238E27FC236}">
                      <a16:creationId xmlns:a16="http://schemas.microsoft.com/office/drawing/2014/main" id="{C36B43D2-356A-4858-84D3-34673B01F269}"/>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3" name="Rechthoek 342">
                  <a:extLst>
                    <a:ext uri="{FF2B5EF4-FFF2-40B4-BE49-F238E27FC236}">
                      <a16:creationId xmlns:a16="http://schemas.microsoft.com/office/drawing/2014/main" id="{7C09D5C6-F02A-4980-A953-FF2B33E32992}"/>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4" name="Rechthoek 343">
                  <a:extLst>
                    <a:ext uri="{FF2B5EF4-FFF2-40B4-BE49-F238E27FC236}">
                      <a16:creationId xmlns:a16="http://schemas.microsoft.com/office/drawing/2014/main" id="{6ACD4D3D-3BE2-42A9-A823-E46538C05927}"/>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5" name="Rechthoek 344">
                  <a:extLst>
                    <a:ext uri="{FF2B5EF4-FFF2-40B4-BE49-F238E27FC236}">
                      <a16:creationId xmlns:a16="http://schemas.microsoft.com/office/drawing/2014/main" id="{D65C7DED-A67C-4284-8D02-8F88A601A2CF}"/>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6" name="Rechthoek 345">
                  <a:extLst>
                    <a:ext uri="{FF2B5EF4-FFF2-40B4-BE49-F238E27FC236}">
                      <a16:creationId xmlns:a16="http://schemas.microsoft.com/office/drawing/2014/main" id="{23112437-EBAD-49E4-85FF-E2EEBEE56E2F}"/>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7" name="Rechthoek 346">
                  <a:extLst>
                    <a:ext uri="{FF2B5EF4-FFF2-40B4-BE49-F238E27FC236}">
                      <a16:creationId xmlns:a16="http://schemas.microsoft.com/office/drawing/2014/main" id="{0B2D5A55-7713-4A0A-84C1-8A2CD3CD187D}"/>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8" name="Rechthoek 347">
                  <a:extLst>
                    <a:ext uri="{FF2B5EF4-FFF2-40B4-BE49-F238E27FC236}">
                      <a16:creationId xmlns:a16="http://schemas.microsoft.com/office/drawing/2014/main" id="{8BCCDF4E-9091-4401-8E17-F96200A4861C}"/>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9" name="Rechthoek 348">
                  <a:extLst>
                    <a:ext uri="{FF2B5EF4-FFF2-40B4-BE49-F238E27FC236}">
                      <a16:creationId xmlns:a16="http://schemas.microsoft.com/office/drawing/2014/main" id="{2563BCE7-3F4A-4A29-839D-AACFAF60BBD5}"/>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50" name="Vrije vorm 145">
                  <a:extLst>
                    <a:ext uri="{FF2B5EF4-FFF2-40B4-BE49-F238E27FC236}">
                      <a16:creationId xmlns:a16="http://schemas.microsoft.com/office/drawing/2014/main" id="{809EAFC8-4824-413C-9864-1BCD6F68B309}"/>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298" name="Groep 297">
              <a:extLst>
                <a:ext uri="{FF2B5EF4-FFF2-40B4-BE49-F238E27FC236}">
                  <a16:creationId xmlns:a16="http://schemas.microsoft.com/office/drawing/2014/main" id="{B82FB579-C765-47C5-94E8-982CB7F0F47A}"/>
                </a:ext>
              </a:extLst>
            </p:cNvPr>
            <p:cNvGrpSpPr/>
            <p:nvPr userDrawn="1"/>
          </p:nvGrpSpPr>
          <p:grpSpPr>
            <a:xfrm>
              <a:off x="-2095303" y="1071657"/>
              <a:ext cx="435437" cy="427699"/>
              <a:chOff x="-1845083" y="758027"/>
              <a:chExt cx="633800" cy="622540"/>
            </a:xfrm>
          </p:grpSpPr>
          <p:sp>
            <p:nvSpPr>
              <p:cNvPr id="325" name="Afgeronde rechthoek 120">
                <a:extLst>
                  <a:ext uri="{FF2B5EF4-FFF2-40B4-BE49-F238E27FC236}">
                    <a16:creationId xmlns:a16="http://schemas.microsoft.com/office/drawing/2014/main" id="{C67B8A04-6A58-4818-9895-72EDAC320EAB}"/>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326" name="Groep 325">
                <a:extLst>
                  <a:ext uri="{FF2B5EF4-FFF2-40B4-BE49-F238E27FC236}">
                    <a16:creationId xmlns:a16="http://schemas.microsoft.com/office/drawing/2014/main" id="{3B4D6C8C-22B1-49B7-8B09-0657CBD4138C}"/>
                  </a:ext>
                </a:extLst>
              </p:cNvPr>
              <p:cNvGrpSpPr/>
              <p:nvPr userDrawn="1"/>
            </p:nvGrpSpPr>
            <p:grpSpPr>
              <a:xfrm>
                <a:off x="-1737766" y="864082"/>
                <a:ext cx="419166" cy="410430"/>
                <a:chOff x="3708400" y="309013"/>
                <a:chExt cx="1901295" cy="1861668"/>
              </a:xfrm>
              <a:solidFill>
                <a:schemeClr val="tx1"/>
              </a:solidFill>
            </p:grpSpPr>
            <p:sp>
              <p:nvSpPr>
                <p:cNvPr id="327" name="Rechthoek 326">
                  <a:extLst>
                    <a:ext uri="{FF2B5EF4-FFF2-40B4-BE49-F238E27FC236}">
                      <a16:creationId xmlns:a16="http://schemas.microsoft.com/office/drawing/2014/main" id="{205B63B5-3303-4B22-9627-F647C5284380}"/>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28" name="Rechthoek 327">
                  <a:extLst>
                    <a:ext uri="{FF2B5EF4-FFF2-40B4-BE49-F238E27FC236}">
                      <a16:creationId xmlns:a16="http://schemas.microsoft.com/office/drawing/2014/main" id="{3320FC98-17E0-4806-810D-46D35A0FC3A9}"/>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29" name="Rechthoek 328">
                  <a:extLst>
                    <a:ext uri="{FF2B5EF4-FFF2-40B4-BE49-F238E27FC236}">
                      <a16:creationId xmlns:a16="http://schemas.microsoft.com/office/drawing/2014/main" id="{4DE26CC4-3DAD-4AA5-9567-26FCA5AB4BF3}"/>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0" name="Rechthoek 329">
                  <a:extLst>
                    <a:ext uri="{FF2B5EF4-FFF2-40B4-BE49-F238E27FC236}">
                      <a16:creationId xmlns:a16="http://schemas.microsoft.com/office/drawing/2014/main" id="{F42666AF-AE72-479C-A65B-F54236CD74CD}"/>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1" name="Rechthoek 330">
                  <a:extLst>
                    <a:ext uri="{FF2B5EF4-FFF2-40B4-BE49-F238E27FC236}">
                      <a16:creationId xmlns:a16="http://schemas.microsoft.com/office/drawing/2014/main" id="{BAF3D8CE-3247-47DA-8772-632A1281C3E5}"/>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2" name="Rechthoek 331">
                  <a:extLst>
                    <a:ext uri="{FF2B5EF4-FFF2-40B4-BE49-F238E27FC236}">
                      <a16:creationId xmlns:a16="http://schemas.microsoft.com/office/drawing/2014/main" id="{72F21263-E214-44FD-821E-DA3ACAC44902}"/>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3" name="Rechthoek 332">
                  <a:extLst>
                    <a:ext uri="{FF2B5EF4-FFF2-40B4-BE49-F238E27FC236}">
                      <a16:creationId xmlns:a16="http://schemas.microsoft.com/office/drawing/2014/main" id="{45877AF4-B75D-40A6-9223-455294B5D256}"/>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4" name="Rechthoek 333">
                  <a:extLst>
                    <a:ext uri="{FF2B5EF4-FFF2-40B4-BE49-F238E27FC236}">
                      <a16:creationId xmlns:a16="http://schemas.microsoft.com/office/drawing/2014/main" id="{88B77477-9370-4E9B-830A-B192618696BB}"/>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5" name="Rechthoek 334">
                  <a:extLst>
                    <a:ext uri="{FF2B5EF4-FFF2-40B4-BE49-F238E27FC236}">
                      <a16:creationId xmlns:a16="http://schemas.microsoft.com/office/drawing/2014/main" id="{197B7046-3AFC-459A-8191-1D603C6AD609}"/>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6" name="Rechthoek 335">
                  <a:extLst>
                    <a:ext uri="{FF2B5EF4-FFF2-40B4-BE49-F238E27FC236}">
                      <a16:creationId xmlns:a16="http://schemas.microsoft.com/office/drawing/2014/main" id="{B8AD3400-FF87-480E-903D-B63628E684EC}"/>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7" name="Vrije vorm 132">
                  <a:extLst>
                    <a:ext uri="{FF2B5EF4-FFF2-40B4-BE49-F238E27FC236}">
                      <a16:creationId xmlns:a16="http://schemas.microsoft.com/office/drawing/2014/main" id="{036566B8-A9F4-4D0D-9FF8-1AC80645FF22}"/>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299" name="Rechte verbindingslijn 298">
              <a:extLst>
                <a:ext uri="{FF2B5EF4-FFF2-40B4-BE49-F238E27FC236}">
                  <a16:creationId xmlns:a16="http://schemas.microsoft.com/office/drawing/2014/main" id="{185BE3E9-88FE-4C5B-B5B1-6894F0E30577}"/>
                </a:ext>
              </a:extLst>
            </p:cNvPr>
            <p:cNvCxnSpPr>
              <a:stCxn id="301" idx="2"/>
              <a:endCxn id="325"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300" name="Rechte verbindingslijn 299">
              <a:extLst>
                <a:ext uri="{FF2B5EF4-FFF2-40B4-BE49-F238E27FC236}">
                  <a16:creationId xmlns:a16="http://schemas.microsoft.com/office/drawing/2014/main" id="{D5421474-7359-43B3-A7AF-D0FF419CEFFF}"/>
                </a:ext>
              </a:extLst>
            </p:cNvPr>
            <p:cNvCxnSpPr>
              <a:stCxn id="302" idx="3"/>
              <a:endCxn id="338"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301" name="Ovaal 300">
              <a:extLst>
                <a:ext uri="{FF2B5EF4-FFF2-40B4-BE49-F238E27FC236}">
                  <a16:creationId xmlns:a16="http://schemas.microsoft.com/office/drawing/2014/main" id="{669EE226-3B74-4DFD-8E69-C5AA670773F5}"/>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02" name="Ovaal 301">
              <a:extLst>
                <a:ext uri="{FF2B5EF4-FFF2-40B4-BE49-F238E27FC236}">
                  <a16:creationId xmlns:a16="http://schemas.microsoft.com/office/drawing/2014/main" id="{D3D72392-9563-43C8-A9FB-87A3C37D1837}"/>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03" name="Textfield placeholder">
              <a:extLst>
                <a:ext uri="{FF2B5EF4-FFF2-40B4-BE49-F238E27FC236}">
                  <a16:creationId xmlns:a16="http://schemas.microsoft.com/office/drawing/2014/main" id="{DAC84667-D5C5-4F24-B502-BA0A47A277F6}"/>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latin typeface="+mn-lt"/>
                </a:rPr>
                <a:t>Niveau</a:t>
              </a:r>
              <a:r>
                <a:rPr lang="en-GB" sz="1200" b="0" dirty="0">
                  <a:solidFill>
                    <a:schemeClr val="tx1"/>
                  </a:solidFill>
                  <a:latin typeface="+mn-lt"/>
                </a:rPr>
                <a:t> vooruit</a:t>
              </a:r>
            </a:p>
          </p:txBody>
        </p:sp>
        <p:sp>
          <p:nvSpPr>
            <p:cNvPr id="304" name="Textfield placeholder">
              <a:extLst>
                <a:ext uri="{FF2B5EF4-FFF2-40B4-BE49-F238E27FC236}">
                  <a16:creationId xmlns:a16="http://schemas.microsoft.com/office/drawing/2014/main" id="{8D411E67-CE66-4EB8-B7A8-A941546FB0B3}"/>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latin typeface="+mn-lt"/>
                </a:rPr>
                <a:t>Niveau</a:t>
              </a:r>
              <a:r>
                <a:rPr lang="en-GB" sz="1200" b="0" dirty="0">
                  <a:solidFill>
                    <a:schemeClr val="tx1"/>
                  </a:solidFill>
                  <a:latin typeface="+mn-lt"/>
                </a:rPr>
                <a:t> terug</a:t>
              </a:r>
            </a:p>
          </p:txBody>
        </p:sp>
        <p:sp>
          <p:nvSpPr>
            <p:cNvPr id="305" name="Ovaal 304">
              <a:extLst>
                <a:ext uri="{FF2B5EF4-FFF2-40B4-BE49-F238E27FC236}">
                  <a16:creationId xmlns:a16="http://schemas.microsoft.com/office/drawing/2014/main" id="{F38CF7C1-A1B4-4199-A982-57D7560BA7C7}"/>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306" name="Ovaal 305">
              <a:extLst>
                <a:ext uri="{FF2B5EF4-FFF2-40B4-BE49-F238E27FC236}">
                  <a16:creationId xmlns:a16="http://schemas.microsoft.com/office/drawing/2014/main" id="{755754C4-D7F4-45EF-B16A-F39B280E5CF6}"/>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307" name="Ovaal 306">
              <a:extLst>
                <a:ext uri="{FF2B5EF4-FFF2-40B4-BE49-F238E27FC236}">
                  <a16:creationId xmlns:a16="http://schemas.microsoft.com/office/drawing/2014/main" id="{0FBFAF95-3363-4CFF-8FED-A27ED56025BA}"/>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308" name="Ovaal 307">
              <a:extLst>
                <a:ext uri="{FF2B5EF4-FFF2-40B4-BE49-F238E27FC236}">
                  <a16:creationId xmlns:a16="http://schemas.microsoft.com/office/drawing/2014/main" id="{CA1060D4-4D6E-4C9C-8D47-9F58CBF1E6CE}"/>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309" name="Ovaal 308">
              <a:extLst>
                <a:ext uri="{FF2B5EF4-FFF2-40B4-BE49-F238E27FC236}">
                  <a16:creationId xmlns:a16="http://schemas.microsoft.com/office/drawing/2014/main" id="{926AFA1C-CD2F-4060-8DF6-A3400FB0533D}"/>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310" name="Textfield placeholder">
              <a:extLst>
                <a:ext uri="{FF2B5EF4-FFF2-40B4-BE49-F238E27FC236}">
                  <a16:creationId xmlns:a16="http://schemas.microsoft.com/office/drawing/2014/main" id="{1A42585A-4D43-4D08-8D85-2D9963487216}"/>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311" name="Textfield placeholder">
              <a:extLst>
                <a:ext uri="{FF2B5EF4-FFF2-40B4-BE49-F238E27FC236}">
                  <a16:creationId xmlns:a16="http://schemas.microsoft.com/office/drawing/2014/main" id="{CAB88798-6140-4C10-93D5-35C06387AFA5}"/>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312" name="Textfield placeholder">
              <a:extLst>
                <a:ext uri="{FF2B5EF4-FFF2-40B4-BE49-F238E27FC236}">
                  <a16:creationId xmlns:a16="http://schemas.microsoft.com/office/drawing/2014/main" id="{8EBC99CE-FBE5-4222-94F9-D73E4A1AEF0E}"/>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313" name="Textfield placeholder">
              <a:extLst>
                <a:ext uri="{FF2B5EF4-FFF2-40B4-BE49-F238E27FC236}">
                  <a16:creationId xmlns:a16="http://schemas.microsoft.com/office/drawing/2014/main" id="{481656E1-3105-488E-8A55-430676D1EF0B}"/>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314" name="Textfield placeholder">
              <a:extLst>
                <a:ext uri="{FF2B5EF4-FFF2-40B4-BE49-F238E27FC236}">
                  <a16:creationId xmlns:a16="http://schemas.microsoft.com/office/drawing/2014/main" id="{ABBA9358-4FA3-46D4-B927-389D6C349F8C}"/>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315" name="Groep 314">
              <a:extLst>
                <a:ext uri="{FF2B5EF4-FFF2-40B4-BE49-F238E27FC236}">
                  <a16:creationId xmlns:a16="http://schemas.microsoft.com/office/drawing/2014/main" id="{F6F4F0D2-D79B-445E-834D-A38102D68227}"/>
                </a:ext>
              </a:extLst>
            </p:cNvPr>
            <p:cNvGrpSpPr/>
            <p:nvPr userDrawn="1"/>
          </p:nvGrpSpPr>
          <p:grpSpPr>
            <a:xfrm>
              <a:off x="-950342" y="1837957"/>
              <a:ext cx="687412" cy="3758146"/>
              <a:chOff x="-740196" y="1837957"/>
              <a:chExt cx="1374825" cy="3758146"/>
            </a:xfrm>
          </p:grpSpPr>
          <p:sp>
            <p:nvSpPr>
              <p:cNvPr id="316" name="Textfield placeholder">
                <a:extLst>
                  <a:ext uri="{FF2B5EF4-FFF2-40B4-BE49-F238E27FC236}">
                    <a16:creationId xmlns:a16="http://schemas.microsoft.com/office/drawing/2014/main" id="{6656A5AF-7792-4FC9-B907-6FF8CBA38041}"/>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317" name="Textfield placeholder">
                <a:extLst>
                  <a:ext uri="{FF2B5EF4-FFF2-40B4-BE49-F238E27FC236}">
                    <a16:creationId xmlns:a16="http://schemas.microsoft.com/office/drawing/2014/main" id="{B7B37DB5-4723-4C7B-A182-D3BEF5326351}"/>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318" name="Textfield placeholder">
                <a:extLst>
                  <a:ext uri="{FF2B5EF4-FFF2-40B4-BE49-F238E27FC236}">
                    <a16:creationId xmlns:a16="http://schemas.microsoft.com/office/drawing/2014/main" id="{208B722E-2FF2-40FF-A1F0-872E948B1F7F}"/>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19" name="Textfield placeholder">
                <a:extLst>
                  <a:ext uri="{FF2B5EF4-FFF2-40B4-BE49-F238E27FC236}">
                    <a16:creationId xmlns:a16="http://schemas.microsoft.com/office/drawing/2014/main" id="{E2520ECF-07B9-400A-BDF2-5036AFCC9013}"/>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320" name="Textfield placeholder">
                <a:extLst>
                  <a:ext uri="{FF2B5EF4-FFF2-40B4-BE49-F238E27FC236}">
                    <a16:creationId xmlns:a16="http://schemas.microsoft.com/office/drawing/2014/main" id="{5DE9B19A-3E12-4EEA-B43F-AD51D8620998}"/>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321" name="Textfield placeholder">
                <a:extLst>
                  <a:ext uri="{FF2B5EF4-FFF2-40B4-BE49-F238E27FC236}">
                    <a16:creationId xmlns:a16="http://schemas.microsoft.com/office/drawing/2014/main" id="{4C3835D2-C2A1-405B-A02D-9206734E7570}"/>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22" name="Textfield placeholder">
                <a:extLst>
                  <a:ext uri="{FF2B5EF4-FFF2-40B4-BE49-F238E27FC236}">
                    <a16:creationId xmlns:a16="http://schemas.microsoft.com/office/drawing/2014/main" id="{62816B50-E322-4518-9B86-716534554C7F}"/>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23" name="Textfield placeholder">
                <a:extLst>
                  <a:ext uri="{FF2B5EF4-FFF2-40B4-BE49-F238E27FC236}">
                    <a16:creationId xmlns:a16="http://schemas.microsoft.com/office/drawing/2014/main" id="{670D1E58-6741-4BDF-8E61-F5C7F164D60B}"/>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324" name="Textfield placeholder">
                <a:extLst>
                  <a:ext uri="{FF2B5EF4-FFF2-40B4-BE49-F238E27FC236}">
                    <a16:creationId xmlns:a16="http://schemas.microsoft.com/office/drawing/2014/main" id="{9769BE5A-F10D-4EBC-A4C9-429A528F6DEE}"/>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grpSp>
        <p:nvGrpSpPr>
          <p:cNvPr id="351" name="Groep 350">
            <a:extLst>
              <a:ext uri="{FF2B5EF4-FFF2-40B4-BE49-F238E27FC236}">
                <a16:creationId xmlns:a16="http://schemas.microsoft.com/office/drawing/2014/main" id="{2B6CA9C1-74DA-44E7-A606-CE6255B73A85}"/>
              </a:ext>
            </a:extLst>
          </p:cNvPr>
          <p:cNvGrpSpPr/>
          <p:nvPr userDrawn="1"/>
        </p:nvGrpSpPr>
        <p:grpSpPr>
          <a:xfrm>
            <a:off x="-3216859" y="-26002"/>
            <a:ext cx="3064812" cy="6864697"/>
            <a:chOff x="12363871" y="-26002"/>
            <a:chExt cx="3064812" cy="6864697"/>
          </a:xfrm>
        </p:grpSpPr>
        <p:sp>
          <p:nvSpPr>
            <p:cNvPr id="352" name="Tekstvak 33">
              <a:extLst>
                <a:ext uri="{FF2B5EF4-FFF2-40B4-BE49-F238E27FC236}">
                  <a16:creationId xmlns:a16="http://schemas.microsoft.com/office/drawing/2014/main" id="{5960B6C1-197F-48E9-B54B-B388C12CB8CD}"/>
                </a:ext>
              </a:extLst>
            </p:cNvPr>
            <p:cNvSpPr txBox="1"/>
            <p:nvPr userDrawn="1"/>
          </p:nvSpPr>
          <p:spPr>
            <a:xfrm>
              <a:off x="12537681" y="1001584"/>
              <a:ext cx="2285302" cy="430887"/>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 om een grafiek in te voegen</a:t>
              </a:r>
            </a:p>
          </p:txBody>
        </p:sp>
        <p:sp>
          <p:nvSpPr>
            <p:cNvPr id="353" name="Tekstvak 33">
              <a:extLst>
                <a:ext uri="{FF2B5EF4-FFF2-40B4-BE49-F238E27FC236}">
                  <a16:creationId xmlns:a16="http://schemas.microsoft.com/office/drawing/2014/main" id="{61C8BB9E-D76A-462A-8D57-E7C1DA3E98C4}"/>
                </a:ext>
              </a:extLst>
            </p:cNvPr>
            <p:cNvSpPr txBox="1"/>
            <p:nvPr userDrawn="1"/>
          </p:nvSpPr>
          <p:spPr>
            <a:xfrm>
              <a:off x="12537681"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Selecteer de grafiek die u wilt invoegen en klik op </a:t>
              </a:r>
              <a:r>
                <a:rPr kumimoji="0" lang="nl-NL" sz="1400" b="1"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p>
          </p:txBody>
        </p:sp>
        <p:sp>
          <p:nvSpPr>
            <p:cNvPr id="354" name="Ovaal 353">
              <a:extLst>
                <a:ext uri="{FF2B5EF4-FFF2-40B4-BE49-F238E27FC236}">
                  <a16:creationId xmlns:a16="http://schemas.microsoft.com/office/drawing/2014/main" id="{36CE209A-ADC1-47DE-85AA-34339FA87AF4}"/>
                </a:ext>
              </a:extLst>
            </p:cNvPr>
            <p:cNvSpPr/>
            <p:nvPr userDrawn="1"/>
          </p:nvSpPr>
          <p:spPr>
            <a:xfrm>
              <a:off x="12494665"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355" name="Ovaal 354">
              <a:extLst>
                <a:ext uri="{FF2B5EF4-FFF2-40B4-BE49-F238E27FC236}">
                  <a16:creationId xmlns:a16="http://schemas.microsoft.com/office/drawing/2014/main" id="{26C6DB34-6DA7-4A82-A5B8-BB785D4EF0A5}"/>
                </a:ext>
              </a:extLst>
            </p:cNvPr>
            <p:cNvSpPr/>
            <p:nvPr userDrawn="1"/>
          </p:nvSpPr>
          <p:spPr>
            <a:xfrm>
              <a:off x="12494665"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356" name="Picture 3">
              <a:extLst>
                <a:ext uri="{FF2B5EF4-FFF2-40B4-BE49-F238E27FC236}">
                  <a16:creationId xmlns:a16="http://schemas.microsoft.com/office/drawing/2014/main" id="{BD4DB066-1AD9-41A4-AA8E-6703C408CB2B}"/>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l="4630" t="13535" r="3470" b="13927"/>
            <a:stretch/>
          </p:blipFill>
          <p:spPr bwMode="auto">
            <a:xfrm>
              <a:off x="12535130"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357" name="Picture 3">
              <a:extLst>
                <a:ext uri="{FF2B5EF4-FFF2-40B4-BE49-F238E27FC236}">
                  <a16:creationId xmlns:a16="http://schemas.microsoft.com/office/drawing/2014/main" id="{86F3376F-5F06-4DCD-88AB-8B7017489774}"/>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2604588"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358" name="Tekstvak 357">
              <a:extLst>
                <a:ext uri="{FF2B5EF4-FFF2-40B4-BE49-F238E27FC236}">
                  <a16:creationId xmlns:a16="http://schemas.microsoft.com/office/drawing/2014/main" id="{871B993C-742B-4AB2-B4F3-FEE387A6713A}"/>
                </a:ext>
              </a:extLst>
            </p:cNvPr>
            <p:cNvSpPr txBox="1"/>
            <p:nvPr userDrawn="1"/>
          </p:nvSpPr>
          <p:spPr>
            <a:xfrm>
              <a:off x="12560359" y="4020160"/>
              <a:ext cx="88636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outerShdw blurRad="25400" algn="ctr" rotWithShape="0">
                      <a:prstClr val="white"/>
                    </a:outerShdw>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outerShdw blurRad="25400" algn="ctr" rotWithShape="0">
                    <a:prstClr val="white"/>
                  </a:outerShdw>
                </a:effectLst>
                <a:uLnTx/>
                <a:uFillTx/>
                <a:latin typeface="+mj-lt"/>
              </a:endParaRPr>
            </a:p>
          </p:txBody>
        </p:sp>
        <p:sp>
          <p:nvSpPr>
            <p:cNvPr id="359" name="Rechthoek 358">
              <a:extLst>
                <a:ext uri="{FF2B5EF4-FFF2-40B4-BE49-F238E27FC236}">
                  <a16:creationId xmlns:a16="http://schemas.microsoft.com/office/drawing/2014/main" id="{BD312DA5-7019-4355-8A6F-1D757DEEF370}"/>
                </a:ext>
              </a:extLst>
            </p:cNvPr>
            <p:cNvSpPr/>
            <p:nvPr userDrawn="1"/>
          </p:nvSpPr>
          <p:spPr>
            <a:xfrm>
              <a:off x="12363871"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GRAFIEK INVOEGEN</a:t>
              </a:r>
            </a:p>
          </p:txBody>
        </p:sp>
        <p:cxnSp>
          <p:nvCxnSpPr>
            <p:cNvPr id="360" name="Rechte verbindingslijn 359">
              <a:extLst>
                <a:ext uri="{FF2B5EF4-FFF2-40B4-BE49-F238E27FC236}">
                  <a16:creationId xmlns:a16="http://schemas.microsoft.com/office/drawing/2014/main" id="{F1B152B8-2610-472E-96E9-5D2531BE8967}"/>
                </a:ext>
              </a:extLst>
            </p:cNvPr>
            <p:cNvCxnSpPr/>
            <p:nvPr userDrawn="1"/>
          </p:nvCxnSpPr>
          <p:spPr>
            <a:xfrm>
              <a:off x="12507575" y="33168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1" name="Rechte verbindingslijn 360">
              <a:extLst>
                <a:ext uri="{FF2B5EF4-FFF2-40B4-BE49-F238E27FC236}">
                  <a16:creationId xmlns:a16="http://schemas.microsoft.com/office/drawing/2014/main" id="{DA24FD4C-8616-4968-B03C-6D69DB69D1DC}"/>
                </a:ext>
              </a:extLst>
            </p:cNvPr>
            <p:cNvCxnSpPr/>
            <p:nvPr userDrawn="1"/>
          </p:nvCxnSpPr>
          <p:spPr>
            <a:xfrm>
              <a:off x="12507211" y="253760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2" name="Rechte verbindingslijn 361">
              <a:extLst>
                <a:ext uri="{FF2B5EF4-FFF2-40B4-BE49-F238E27FC236}">
                  <a16:creationId xmlns:a16="http://schemas.microsoft.com/office/drawing/2014/main" id="{62403BB3-6E39-4F01-BA6E-4A448AA9292C}"/>
                </a:ext>
              </a:extLst>
            </p:cNvPr>
            <p:cNvCxnSpPr/>
            <p:nvPr userDrawn="1"/>
          </p:nvCxnSpPr>
          <p:spPr>
            <a:xfrm>
              <a:off x="12507575" y="4423040"/>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3" name="Rechte verbindingslijn 362">
              <a:extLst>
                <a:ext uri="{FF2B5EF4-FFF2-40B4-BE49-F238E27FC236}">
                  <a16:creationId xmlns:a16="http://schemas.microsoft.com/office/drawing/2014/main" id="{CB966BB1-9FCE-45F4-B90B-BD0E44CF8A47}"/>
                </a:ext>
              </a:extLst>
            </p:cNvPr>
            <p:cNvCxnSpPr/>
            <p:nvPr userDrawn="1"/>
          </p:nvCxnSpPr>
          <p:spPr>
            <a:xfrm>
              <a:off x="12507575" y="6838695"/>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4" name="Rechte verbindingslijn 363">
              <a:extLst>
                <a:ext uri="{FF2B5EF4-FFF2-40B4-BE49-F238E27FC236}">
                  <a16:creationId xmlns:a16="http://schemas.microsoft.com/office/drawing/2014/main" id="{53ECDC71-845C-4B9B-BA89-867142EC5489}"/>
                </a:ext>
              </a:extLst>
            </p:cNvPr>
            <p:cNvCxnSpPr/>
            <p:nvPr userDrawn="1"/>
          </p:nvCxnSpPr>
          <p:spPr>
            <a:xfrm>
              <a:off x="12507211" y="4898666"/>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65" name="Groep 364">
              <a:extLst>
                <a:ext uri="{FF2B5EF4-FFF2-40B4-BE49-F238E27FC236}">
                  <a16:creationId xmlns:a16="http://schemas.microsoft.com/office/drawing/2014/main" id="{E941C7E5-3FF2-4A9F-B6B0-F5A6F2D3592A}"/>
                </a:ext>
              </a:extLst>
            </p:cNvPr>
            <p:cNvGrpSpPr/>
            <p:nvPr userDrawn="1"/>
          </p:nvGrpSpPr>
          <p:grpSpPr>
            <a:xfrm>
              <a:off x="12436353" y="1728359"/>
              <a:ext cx="689983" cy="573048"/>
              <a:chOff x="15171969" y="1587338"/>
              <a:chExt cx="755407" cy="627385"/>
            </a:xfrm>
          </p:grpSpPr>
          <p:sp>
            <p:nvSpPr>
              <p:cNvPr id="404" name="Rechthoek 962">
                <a:extLst>
                  <a:ext uri="{FF2B5EF4-FFF2-40B4-BE49-F238E27FC236}">
                    <a16:creationId xmlns:a16="http://schemas.microsoft.com/office/drawing/2014/main" id="{DA7DC16C-DDDA-47E4-B084-9BA45AA34793}"/>
                  </a:ext>
                </a:extLst>
              </p:cNvPr>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405" name="Groep 404">
                <a:extLst>
                  <a:ext uri="{FF2B5EF4-FFF2-40B4-BE49-F238E27FC236}">
                    <a16:creationId xmlns:a16="http://schemas.microsoft.com/office/drawing/2014/main" id="{AAA9713B-622B-464B-898F-200D99E4257F}"/>
                  </a:ext>
                </a:extLst>
              </p:cNvPr>
              <p:cNvGrpSpPr/>
              <p:nvPr userDrawn="1"/>
            </p:nvGrpSpPr>
            <p:grpSpPr>
              <a:xfrm>
                <a:off x="15281106" y="1587338"/>
                <a:ext cx="511775" cy="560304"/>
                <a:chOff x="10604642" y="969717"/>
                <a:chExt cx="1290643" cy="1427163"/>
              </a:xfrm>
            </p:grpSpPr>
            <p:grpSp>
              <p:nvGrpSpPr>
                <p:cNvPr id="406" name="Group 879">
                  <a:extLst>
                    <a:ext uri="{FF2B5EF4-FFF2-40B4-BE49-F238E27FC236}">
                      <a16:creationId xmlns:a16="http://schemas.microsoft.com/office/drawing/2014/main" id="{E97F02D1-06F5-43CC-B568-43261958C068}"/>
                    </a:ext>
                  </a:extLst>
                </p:cNvPr>
                <p:cNvGrpSpPr>
                  <a:grpSpLocks noChangeAspect="1"/>
                </p:cNvGrpSpPr>
                <p:nvPr userDrawn="1"/>
              </p:nvGrpSpPr>
              <p:grpSpPr bwMode="auto">
                <a:xfrm>
                  <a:off x="10604642" y="969717"/>
                  <a:ext cx="1290643" cy="1427163"/>
                  <a:chOff x="4798" y="1515"/>
                  <a:chExt cx="813" cy="899"/>
                </a:xfrm>
              </p:grpSpPr>
              <p:sp>
                <p:nvSpPr>
                  <p:cNvPr id="408" name="Freeform 886">
                    <a:extLst>
                      <a:ext uri="{FF2B5EF4-FFF2-40B4-BE49-F238E27FC236}">
                        <a16:creationId xmlns:a16="http://schemas.microsoft.com/office/drawing/2014/main" id="{61997601-963A-4B48-89B4-C125F8466344}"/>
                      </a:ext>
                    </a:extLst>
                  </p:cNvPr>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09" name="Rectangle 880">
                    <a:extLst>
                      <a:ext uri="{FF2B5EF4-FFF2-40B4-BE49-F238E27FC236}">
                        <a16:creationId xmlns:a16="http://schemas.microsoft.com/office/drawing/2014/main" id="{880D458C-937A-40D4-B8CF-DFEACB86EFA3}"/>
                      </a:ext>
                    </a:extLst>
                  </p:cNvPr>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10" name="Rectangle 881">
                    <a:extLst>
                      <a:ext uri="{FF2B5EF4-FFF2-40B4-BE49-F238E27FC236}">
                        <a16:creationId xmlns:a16="http://schemas.microsoft.com/office/drawing/2014/main" id="{19CAB519-A782-4775-9988-5BE144210D33}"/>
                      </a:ext>
                    </a:extLst>
                  </p:cNvPr>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11" name="Freeform 882">
                    <a:extLst>
                      <a:ext uri="{FF2B5EF4-FFF2-40B4-BE49-F238E27FC236}">
                        <a16:creationId xmlns:a16="http://schemas.microsoft.com/office/drawing/2014/main" id="{671D9CFA-7694-44A2-9830-4D77919C7398}"/>
                      </a:ext>
                    </a:extLst>
                  </p:cNvPr>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12" name="Freeform 883">
                    <a:extLst>
                      <a:ext uri="{FF2B5EF4-FFF2-40B4-BE49-F238E27FC236}">
                        <a16:creationId xmlns:a16="http://schemas.microsoft.com/office/drawing/2014/main" id="{EA9566B5-4C87-4D60-9F6E-BC18C708A0FC}"/>
                      </a:ext>
                    </a:extLst>
                  </p:cNvPr>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13" name="Freeform 884">
                    <a:extLst>
                      <a:ext uri="{FF2B5EF4-FFF2-40B4-BE49-F238E27FC236}">
                        <a16:creationId xmlns:a16="http://schemas.microsoft.com/office/drawing/2014/main" id="{137F4D72-BCC0-42B5-AA05-CBC01DBA4AB9}"/>
                      </a:ext>
                    </a:extLst>
                  </p:cNvPr>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14" name="Rectangle 885">
                    <a:extLst>
                      <a:ext uri="{FF2B5EF4-FFF2-40B4-BE49-F238E27FC236}">
                        <a16:creationId xmlns:a16="http://schemas.microsoft.com/office/drawing/2014/main" id="{70C4340B-DD24-45FE-AD88-8423979C098D}"/>
                      </a:ext>
                    </a:extLst>
                  </p:cNvPr>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15" name="Rectangle 887">
                    <a:extLst>
                      <a:ext uri="{FF2B5EF4-FFF2-40B4-BE49-F238E27FC236}">
                        <a16:creationId xmlns:a16="http://schemas.microsoft.com/office/drawing/2014/main" id="{2BB778B9-2888-4D59-B90C-F780647E5C6F}"/>
                      </a:ext>
                    </a:extLst>
                  </p:cNvPr>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16" name="Freeform 888">
                    <a:extLst>
                      <a:ext uri="{FF2B5EF4-FFF2-40B4-BE49-F238E27FC236}">
                        <a16:creationId xmlns:a16="http://schemas.microsoft.com/office/drawing/2014/main" id="{C557E622-8AE3-45E8-99A2-638B68875DBE}"/>
                      </a:ext>
                    </a:extLst>
                  </p:cNvPr>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407" name="Vrije vorm 84">
                  <a:extLst>
                    <a:ext uri="{FF2B5EF4-FFF2-40B4-BE49-F238E27FC236}">
                      <a16:creationId xmlns:a16="http://schemas.microsoft.com/office/drawing/2014/main" id="{00D9A10A-00A5-41E0-885A-E5B802EED83E}"/>
                    </a:ext>
                  </a:extLst>
                </p:cNvPr>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366" name="Groep 365">
              <a:extLst>
                <a:ext uri="{FF2B5EF4-FFF2-40B4-BE49-F238E27FC236}">
                  <a16:creationId xmlns:a16="http://schemas.microsoft.com/office/drawing/2014/main" id="{CE03B5FA-EAC1-4114-8259-F96F1E2DFB87}"/>
                </a:ext>
              </a:extLst>
            </p:cNvPr>
            <p:cNvGrpSpPr/>
            <p:nvPr userDrawn="1"/>
          </p:nvGrpSpPr>
          <p:grpSpPr>
            <a:xfrm>
              <a:off x="12548778" y="6003628"/>
              <a:ext cx="1980859" cy="542924"/>
              <a:chOff x="12390702" y="6054428"/>
              <a:chExt cx="1980859" cy="542924"/>
            </a:xfrm>
          </p:grpSpPr>
          <p:sp>
            <p:nvSpPr>
              <p:cNvPr id="370" name="Rechthoek 369">
                <a:extLst>
                  <a:ext uri="{FF2B5EF4-FFF2-40B4-BE49-F238E27FC236}">
                    <a16:creationId xmlns:a16="http://schemas.microsoft.com/office/drawing/2014/main" id="{1F3A0596-688C-44A9-A16B-C4391FA1B186}"/>
                  </a:ext>
                </a:extLst>
              </p:cNvPr>
              <p:cNvSpPr/>
              <p:nvPr/>
            </p:nvSpPr>
            <p:spPr>
              <a:xfrm>
                <a:off x="12402284" y="6054428"/>
                <a:ext cx="1969277" cy="542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371" name="Rechthoek 370">
                <a:extLst>
                  <a:ext uri="{FF2B5EF4-FFF2-40B4-BE49-F238E27FC236}">
                    <a16:creationId xmlns:a16="http://schemas.microsoft.com/office/drawing/2014/main" id="{4831484B-2F9D-4FEF-9B5D-4F0852B13970}"/>
                  </a:ext>
                </a:extLst>
              </p:cNvPr>
              <p:cNvSpPr/>
              <p:nvPr/>
            </p:nvSpPr>
            <p:spPr>
              <a:xfrm>
                <a:off x="12662053" y="6062530"/>
                <a:ext cx="1452642" cy="261610"/>
              </a:xfrm>
              <a:prstGeom prst="rect">
                <a:avLst/>
              </a:prstGeom>
            </p:spPr>
            <p:txBody>
              <a:bodyPr wrap="none">
                <a:spAutoFit/>
              </a:bodyPr>
              <a:lstStyle/>
              <a:p>
                <a:r>
                  <a:rPr lang="en-US" sz="1100" dirty="0">
                    <a:latin typeface="+mn-lt"/>
                    <a:ea typeface="Adobe Heiti Std R" panose="020B0400000000000000" pitchFamily="34" charset="-128"/>
                    <a:cs typeface="Segoe UI Light" panose="020B0502040204020203" pitchFamily="34" charset="0"/>
                  </a:rPr>
                  <a:t>Ander </a:t>
                </a:r>
                <a:r>
                  <a:rPr lang="en-US" sz="1100" dirty="0" err="1">
                    <a:latin typeface="+mn-lt"/>
                    <a:ea typeface="Adobe Heiti Std R" panose="020B0400000000000000" pitchFamily="34" charset="-128"/>
                    <a:cs typeface="Segoe UI Light" panose="020B0502040204020203" pitchFamily="34" charset="0"/>
                  </a:rPr>
                  <a:t>grafiektype</a:t>
                </a:r>
                <a:r>
                  <a:rPr lang="en-US" sz="1100" dirty="0">
                    <a:latin typeface="+mn-lt"/>
                    <a:ea typeface="Adobe Heiti Std R" panose="020B0400000000000000" pitchFamily="34" charset="-128"/>
                    <a:cs typeface="Segoe UI Light" panose="020B0502040204020203" pitchFamily="34" charset="0"/>
                  </a:rPr>
                  <a:t>…</a:t>
                </a:r>
              </a:p>
            </p:txBody>
          </p:sp>
          <p:sp>
            <p:nvSpPr>
              <p:cNvPr id="372" name="Gelijkbenige driehoek 371">
                <a:extLst>
                  <a:ext uri="{FF2B5EF4-FFF2-40B4-BE49-F238E27FC236}">
                    <a16:creationId xmlns:a16="http://schemas.microsoft.com/office/drawing/2014/main" id="{EF1A090E-C39E-4560-B176-18001811CD58}"/>
                  </a:ext>
                </a:extLst>
              </p:cNvPr>
              <p:cNvSpPr/>
              <p:nvPr/>
            </p:nvSpPr>
            <p:spPr>
              <a:xfrm rot="5400000">
                <a:off x="14210471" y="6150144"/>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n-lt"/>
                  <a:ea typeface="Adobe Heiti Std R" panose="020B0400000000000000" pitchFamily="34" charset="-128"/>
                  <a:cs typeface="Segoe UI Light" panose="020B0502040204020203" pitchFamily="34" charset="0"/>
                </a:endParaRPr>
              </a:p>
            </p:txBody>
          </p:sp>
          <p:sp>
            <p:nvSpPr>
              <p:cNvPr id="373" name="Afgeronde rechthoek 50">
                <a:extLst>
                  <a:ext uri="{FF2B5EF4-FFF2-40B4-BE49-F238E27FC236}">
                    <a16:creationId xmlns:a16="http://schemas.microsoft.com/office/drawing/2014/main" id="{F96263B8-3B20-48E6-89CA-8A123AD6F8F3}"/>
                  </a:ext>
                </a:extLst>
              </p:cNvPr>
              <p:cNvSpPr/>
              <p:nvPr/>
            </p:nvSpPr>
            <p:spPr>
              <a:xfrm>
                <a:off x="12390702" y="6322741"/>
                <a:ext cx="1973675" cy="268314"/>
              </a:xfrm>
              <a:prstGeom prst="roundRect">
                <a:avLst/>
              </a:prstGeom>
              <a:gradFill>
                <a:gsLst>
                  <a:gs pos="0">
                    <a:srgbClr val="FFF2BD"/>
                  </a:gs>
                  <a:gs pos="34000">
                    <a:srgbClr val="FFE98B"/>
                  </a:gs>
                  <a:gs pos="78000">
                    <a:srgbClr val="FFF5C9"/>
                  </a:gs>
                  <a:gs pos="59000">
                    <a:srgbClr val="FFE98B"/>
                  </a:gs>
                </a:gsLst>
                <a:lin ang="5400000" scaled="0"/>
              </a:gra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1200" dirty="0" err="1">
                    <a:solidFill>
                      <a:schemeClr val="tx1"/>
                    </a:solidFill>
                    <a:latin typeface="+mn-lt"/>
                    <a:ea typeface="Adobe Heiti Std R" panose="020B0400000000000000" pitchFamily="34" charset="-128"/>
                    <a:cs typeface="Segoe UI Light" panose="020B0502040204020203" pitchFamily="34" charset="0"/>
                  </a:rPr>
                  <a:t>Gegevens</a:t>
                </a:r>
                <a:r>
                  <a:rPr lang="en-US" sz="1200" dirty="0">
                    <a:solidFill>
                      <a:schemeClr val="tx1"/>
                    </a:solidFill>
                    <a:latin typeface="+mn-lt"/>
                    <a:ea typeface="Adobe Heiti Std R" panose="020B0400000000000000" pitchFamily="34" charset="-128"/>
                    <a:cs typeface="Segoe UI Light" panose="020B0502040204020203" pitchFamily="34" charset="0"/>
                  </a:rPr>
                  <a:t> </a:t>
                </a:r>
                <a:r>
                  <a:rPr lang="en-US" sz="1200" dirty="0" err="1">
                    <a:solidFill>
                      <a:schemeClr val="tx1"/>
                    </a:solidFill>
                    <a:latin typeface="+mn-lt"/>
                    <a:ea typeface="Adobe Heiti Std R" panose="020B0400000000000000" pitchFamily="34" charset="-128"/>
                    <a:cs typeface="Segoe UI Light" panose="020B0502040204020203" pitchFamily="34" charset="0"/>
                  </a:rPr>
                  <a:t>bewerken</a:t>
                </a:r>
                <a:r>
                  <a:rPr lang="en-US" sz="1200" dirty="0">
                    <a:solidFill>
                      <a:schemeClr val="tx1"/>
                    </a:solidFill>
                    <a:latin typeface="+mn-lt"/>
                    <a:ea typeface="Adobe Heiti Std R" panose="020B0400000000000000" pitchFamily="34" charset="-128"/>
                    <a:cs typeface="Segoe UI Light" panose="020B0502040204020203" pitchFamily="34" charset="0"/>
                  </a:rPr>
                  <a:t>…</a:t>
                </a:r>
              </a:p>
            </p:txBody>
          </p:sp>
          <p:grpSp>
            <p:nvGrpSpPr>
              <p:cNvPr id="374" name="Groep 373">
                <a:extLst>
                  <a:ext uri="{FF2B5EF4-FFF2-40B4-BE49-F238E27FC236}">
                    <a16:creationId xmlns:a16="http://schemas.microsoft.com/office/drawing/2014/main" id="{A3AC4EF3-61E6-44D7-8256-8603FC8065EC}"/>
                  </a:ext>
                </a:extLst>
              </p:cNvPr>
              <p:cNvGrpSpPr/>
              <p:nvPr/>
            </p:nvGrpSpPr>
            <p:grpSpPr>
              <a:xfrm>
                <a:off x="12461788" y="6100223"/>
                <a:ext cx="204691" cy="170000"/>
                <a:chOff x="15171969" y="1587338"/>
                <a:chExt cx="755407" cy="627385"/>
              </a:xfrm>
            </p:grpSpPr>
            <p:sp>
              <p:nvSpPr>
                <p:cNvPr id="391" name="Rechthoek 962">
                  <a:extLst>
                    <a:ext uri="{FF2B5EF4-FFF2-40B4-BE49-F238E27FC236}">
                      <a16:creationId xmlns:a16="http://schemas.microsoft.com/office/drawing/2014/main" id="{0F8E5E6B-EC9A-43F0-AE92-04ADB4A11F7B}"/>
                    </a:ext>
                  </a:extLst>
                </p:cNvPr>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392" name="Groep 391">
                  <a:extLst>
                    <a:ext uri="{FF2B5EF4-FFF2-40B4-BE49-F238E27FC236}">
                      <a16:creationId xmlns:a16="http://schemas.microsoft.com/office/drawing/2014/main" id="{DF33A2AA-0CB2-4616-9FA2-07BFC31AB81B}"/>
                    </a:ext>
                  </a:extLst>
                </p:cNvPr>
                <p:cNvGrpSpPr/>
                <p:nvPr userDrawn="1"/>
              </p:nvGrpSpPr>
              <p:grpSpPr>
                <a:xfrm>
                  <a:off x="15281106" y="1587338"/>
                  <a:ext cx="511775" cy="560304"/>
                  <a:chOff x="10604642" y="969717"/>
                  <a:chExt cx="1290643" cy="1427163"/>
                </a:xfrm>
              </p:grpSpPr>
              <p:grpSp>
                <p:nvGrpSpPr>
                  <p:cNvPr id="393" name="Group 879">
                    <a:extLst>
                      <a:ext uri="{FF2B5EF4-FFF2-40B4-BE49-F238E27FC236}">
                        <a16:creationId xmlns:a16="http://schemas.microsoft.com/office/drawing/2014/main" id="{C1AC1269-25B6-4D7E-92A5-030E7D40D774}"/>
                      </a:ext>
                    </a:extLst>
                  </p:cNvPr>
                  <p:cNvGrpSpPr>
                    <a:grpSpLocks noChangeAspect="1"/>
                  </p:cNvGrpSpPr>
                  <p:nvPr userDrawn="1"/>
                </p:nvGrpSpPr>
                <p:grpSpPr bwMode="auto">
                  <a:xfrm>
                    <a:off x="10604642" y="969717"/>
                    <a:ext cx="1290643" cy="1427163"/>
                    <a:chOff x="4798" y="1515"/>
                    <a:chExt cx="813" cy="899"/>
                  </a:xfrm>
                </p:grpSpPr>
                <p:sp>
                  <p:nvSpPr>
                    <p:cNvPr id="395" name="Freeform 886">
                      <a:extLst>
                        <a:ext uri="{FF2B5EF4-FFF2-40B4-BE49-F238E27FC236}">
                          <a16:creationId xmlns:a16="http://schemas.microsoft.com/office/drawing/2014/main" id="{9D7B5040-2BC4-44C8-BAF1-29AF4D7F68DB}"/>
                        </a:ext>
                      </a:extLst>
                    </p:cNvPr>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96" name="Rectangle 880">
                      <a:extLst>
                        <a:ext uri="{FF2B5EF4-FFF2-40B4-BE49-F238E27FC236}">
                          <a16:creationId xmlns:a16="http://schemas.microsoft.com/office/drawing/2014/main" id="{E86533B9-2A92-404F-9441-86549CFF1DAE}"/>
                        </a:ext>
                      </a:extLst>
                    </p:cNvPr>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97" name="Rectangle 881">
                      <a:extLst>
                        <a:ext uri="{FF2B5EF4-FFF2-40B4-BE49-F238E27FC236}">
                          <a16:creationId xmlns:a16="http://schemas.microsoft.com/office/drawing/2014/main" id="{C7DE02F0-7181-4D8E-BB7A-8393928D2ECD}"/>
                        </a:ext>
                      </a:extLst>
                    </p:cNvPr>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98" name="Freeform 882">
                      <a:extLst>
                        <a:ext uri="{FF2B5EF4-FFF2-40B4-BE49-F238E27FC236}">
                          <a16:creationId xmlns:a16="http://schemas.microsoft.com/office/drawing/2014/main" id="{0A40929A-850B-401B-B3C8-CCE914D526A7}"/>
                        </a:ext>
                      </a:extLst>
                    </p:cNvPr>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99" name="Freeform 883">
                      <a:extLst>
                        <a:ext uri="{FF2B5EF4-FFF2-40B4-BE49-F238E27FC236}">
                          <a16:creationId xmlns:a16="http://schemas.microsoft.com/office/drawing/2014/main" id="{8B0BAA1D-04F7-4168-9D3E-53599030386D}"/>
                        </a:ext>
                      </a:extLst>
                    </p:cNvPr>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00" name="Freeform 884">
                      <a:extLst>
                        <a:ext uri="{FF2B5EF4-FFF2-40B4-BE49-F238E27FC236}">
                          <a16:creationId xmlns:a16="http://schemas.microsoft.com/office/drawing/2014/main" id="{CDF81E6E-4977-42B6-8658-B231B01562B5}"/>
                        </a:ext>
                      </a:extLst>
                    </p:cNvPr>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01" name="Rectangle 885">
                      <a:extLst>
                        <a:ext uri="{FF2B5EF4-FFF2-40B4-BE49-F238E27FC236}">
                          <a16:creationId xmlns:a16="http://schemas.microsoft.com/office/drawing/2014/main" id="{BEDA0770-FE14-4363-BE61-D371E8D9366F}"/>
                        </a:ext>
                      </a:extLst>
                    </p:cNvPr>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02" name="Rectangle 887">
                      <a:extLst>
                        <a:ext uri="{FF2B5EF4-FFF2-40B4-BE49-F238E27FC236}">
                          <a16:creationId xmlns:a16="http://schemas.microsoft.com/office/drawing/2014/main" id="{9BE87B69-B969-4FC2-96F7-6204D40FE970}"/>
                        </a:ext>
                      </a:extLst>
                    </p:cNvPr>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03" name="Freeform 888">
                      <a:extLst>
                        <a:ext uri="{FF2B5EF4-FFF2-40B4-BE49-F238E27FC236}">
                          <a16:creationId xmlns:a16="http://schemas.microsoft.com/office/drawing/2014/main" id="{137CD917-C000-4945-91FC-8FB4024B1B2A}"/>
                        </a:ext>
                      </a:extLst>
                    </p:cNvPr>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394" name="Vrije vorm 71">
                    <a:extLst>
                      <a:ext uri="{FF2B5EF4-FFF2-40B4-BE49-F238E27FC236}">
                        <a16:creationId xmlns:a16="http://schemas.microsoft.com/office/drawing/2014/main" id="{1D172460-A00A-48B8-BA4C-48BEE249C22A}"/>
                      </a:ext>
                    </a:extLst>
                  </p:cNvPr>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375" name="Groep 374">
                <a:extLst>
                  <a:ext uri="{FF2B5EF4-FFF2-40B4-BE49-F238E27FC236}">
                    <a16:creationId xmlns:a16="http://schemas.microsoft.com/office/drawing/2014/main" id="{B0A0972E-4D5D-4606-AF39-2A513B82CFB0}"/>
                  </a:ext>
                </a:extLst>
              </p:cNvPr>
              <p:cNvGrpSpPr/>
              <p:nvPr/>
            </p:nvGrpSpPr>
            <p:grpSpPr>
              <a:xfrm>
                <a:off x="12468521" y="6356844"/>
                <a:ext cx="133446" cy="114786"/>
                <a:chOff x="14587469" y="6356844"/>
                <a:chExt cx="133446" cy="114786"/>
              </a:xfrm>
            </p:grpSpPr>
            <p:sp>
              <p:nvSpPr>
                <p:cNvPr id="381" name="Rectangle 6">
                  <a:extLst>
                    <a:ext uri="{FF2B5EF4-FFF2-40B4-BE49-F238E27FC236}">
                      <a16:creationId xmlns:a16="http://schemas.microsoft.com/office/drawing/2014/main" id="{513DD0BD-42CD-4375-A363-53813A396C7A}"/>
                    </a:ext>
                  </a:extLst>
                </p:cNvPr>
                <p:cNvSpPr>
                  <a:spLocks noChangeArrowheads="1"/>
                </p:cNvSpPr>
                <p:nvPr userDrawn="1"/>
              </p:nvSpPr>
              <p:spPr bwMode="auto">
                <a:xfrm>
                  <a:off x="14588703" y="6379233"/>
                  <a:ext cx="130780" cy="91699"/>
                </a:xfrm>
                <a:prstGeom prst="rect">
                  <a:avLst/>
                </a:prstGeom>
                <a:solidFill>
                  <a:srgbClr val="F2FAFF"/>
                </a:solidFill>
                <a:ln w="0">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382" name="Rectangle 15">
                  <a:extLst>
                    <a:ext uri="{FF2B5EF4-FFF2-40B4-BE49-F238E27FC236}">
                      <a16:creationId xmlns:a16="http://schemas.microsoft.com/office/drawing/2014/main" id="{3D977FCC-066F-404C-9AEB-99C58ABDF53F}"/>
                    </a:ext>
                  </a:extLst>
                </p:cNvPr>
                <p:cNvSpPr>
                  <a:spLocks noChangeArrowheads="1"/>
                </p:cNvSpPr>
                <p:nvPr userDrawn="1"/>
              </p:nvSpPr>
              <p:spPr bwMode="auto">
                <a:xfrm>
                  <a:off x="14587469" y="6423761"/>
                  <a:ext cx="131076" cy="1446"/>
                </a:xfrm>
                <a:prstGeom prst="rect">
                  <a:avLst/>
                </a:prstGeom>
                <a:gradFill flip="none" rotWithShape="1">
                  <a:gsLst>
                    <a:gs pos="20000">
                      <a:srgbClr val="0039AC"/>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383" name="Freeform 14">
                  <a:extLst>
                    <a:ext uri="{FF2B5EF4-FFF2-40B4-BE49-F238E27FC236}">
                      <a16:creationId xmlns:a16="http://schemas.microsoft.com/office/drawing/2014/main" id="{DA1A72B4-75C9-4929-9255-452E21D8F457}"/>
                    </a:ext>
                  </a:extLst>
                </p:cNvPr>
                <p:cNvSpPr>
                  <a:spLocks noEditPoints="1"/>
                </p:cNvSpPr>
                <p:nvPr userDrawn="1"/>
              </p:nvSpPr>
              <p:spPr bwMode="auto">
                <a:xfrm>
                  <a:off x="14588901" y="6356844"/>
                  <a:ext cx="132014" cy="114786"/>
                </a:xfrm>
                <a:custGeom>
                  <a:avLst/>
                  <a:gdLst>
                    <a:gd name="T0" fmla="*/ 48 w 5347"/>
                    <a:gd name="T1" fmla="*/ 48 h 4605"/>
                    <a:gd name="T2" fmla="*/ 48 w 5347"/>
                    <a:gd name="T3" fmla="*/ 4557 h 4605"/>
                    <a:gd name="T4" fmla="*/ 5299 w 5347"/>
                    <a:gd name="T5" fmla="*/ 4557 h 4605"/>
                    <a:gd name="T6" fmla="*/ 5299 w 5347"/>
                    <a:gd name="T7" fmla="*/ 48 h 4605"/>
                    <a:gd name="T8" fmla="*/ 48 w 5347"/>
                    <a:gd name="T9" fmla="*/ 48 h 4605"/>
                    <a:gd name="T10" fmla="*/ 0 w 5347"/>
                    <a:gd name="T11" fmla="*/ 0 h 4605"/>
                    <a:gd name="T12" fmla="*/ 5347 w 5347"/>
                    <a:gd name="T13" fmla="*/ 0 h 4605"/>
                    <a:gd name="T14" fmla="*/ 5347 w 5347"/>
                    <a:gd name="T15" fmla="*/ 4605 h 4605"/>
                    <a:gd name="T16" fmla="*/ 0 w 5347"/>
                    <a:gd name="T17" fmla="*/ 4605 h 4605"/>
                    <a:gd name="T18" fmla="*/ 0 w 5347"/>
                    <a:gd name="T19" fmla="*/ 0 h 4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7" h="4605">
                      <a:moveTo>
                        <a:pt x="48" y="48"/>
                      </a:moveTo>
                      <a:lnTo>
                        <a:pt x="48" y="4557"/>
                      </a:lnTo>
                      <a:lnTo>
                        <a:pt x="5299" y="4557"/>
                      </a:lnTo>
                      <a:lnTo>
                        <a:pt x="5299" y="48"/>
                      </a:lnTo>
                      <a:lnTo>
                        <a:pt x="48" y="48"/>
                      </a:lnTo>
                      <a:close/>
                      <a:moveTo>
                        <a:pt x="0" y="0"/>
                      </a:moveTo>
                      <a:lnTo>
                        <a:pt x="5347" y="0"/>
                      </a:lnTo>
                      <a:lnTo>
                        <a:pt x="5347" y="4605"/>
                      </a:lnTo>
                      <a:lnTo>
                        <a:pt x="0" y="4605"/>
                      </a:lnTo>
                      <a:lnTo>
                        <a:pt x="0" y="0"/>
                      </a:lnTo>
                      <a:close/>
                    </a:path>
                  </a:pathLst>
                </a:custGeom>
                <a:solidFill>
                  <a:srgbClr val="2E5D8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cxnSp>
              <p:nvCxnSpPr>
                <p:cNvPr id="384" name="Rechte verbindingslijn 383">
                  <a:extLst>
                    <a:ext uri="{FF2B5EF4-FFF2-40B4-BE49-F238E27FC236}">
                      <a16:creationId xmlns:a16="http://schemas.microsoft.com/office/drawing/2014/main" id="{AC0D50BB-2B5F-41E4-A06E-09F275018D4E}"/>
                    </a:ext>
                  </a:extLst>
                </p:cNvPr>
                <p:cNvCxnSpPr/>
                <p:nvPr userDrawn="1"/>
              </p:nvCxnSpPr>
              <p:spPr>
                <a:xfrm flipH="1">
                  <a:off x="14654334" y="6382168"/>
                  <a:ext cx="162"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55C07ED0-7E27-4A6D-B74F-E6DDDF68A3B5}"/>
                    </a:ext>
                  </a:extLst>
                </p:cNvPr>
                <p:cNvCxnSpPr/>
                <p:nvPr userDrawn="1"/>
              </p:nvCxnSpPr>
              <p:spPr>
                <a:xfrm>
                  <a:off x="14689188" y="6382168"/>
                  <a:ext cx="0"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2E0D9B71-55CA-46F0-975D-112EEB2A5411}"/>
                    </a:ext>
                  </a:extLst>
                </p:cNvPr>
                <p:cNvCxnSpPr/>
                <p:nvPr userDrawn="1"/>
              </p:nvCxnSpPr>
              <p:spPr>
                <a:xfrm>
                  <a:off x="14619892" y="6382040"/>
                  <a:ext cx="0" cy="8577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369F3BF6-AAB8-4120-B68D-1676A165BA1A}"/>
                    </a:ext>
                  </a:extLst>
                </p:cNvPr>
                <p:cNvCxnSpPr/>
                <p:nvPr userDrawn="1"/>
              </p:nvCxnSpPr>
              <p:spPr>
                <a:xfrm flipH="1">
                  <a:off x="14593115" y="6400164"/>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88" name="Rechte verbindingslijn 387">
                  <a:extLst>
                    <a:ext uri="{FF2B5EF4-FFF2-40B4-BE49-F238E27FC236}">
                      <a16:creationId xmlns:a16="http://schemas.microsoft.com/office/drawing/2014/main" id="{10ED7469-7F80-4947-A6DB-929E80DEDA05}"/>
                    </a:ext>
                  </a:extLst>
                </p:cNvPr>
                <p:cNvCxnSpPr/>
                <p:nvPr userDrawn="1"/>
              </p:nvCxnSpPr>
              <p:spPr>
                <a:xfrm flipH="1">
                  <a:off x="14593115" y="6423860"/>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89" name="Rechte verbindingslijn 388">
                  <a:extLst>
                    <a:ext uri="{FF2B5EF4-FFF2-40B4-BE49-F238E27FC236}">
                      <a16:creationId xmlns:a16="http://schemas.microsoft.com/office/drawing/2014/main" id="{B45CC02B-954D-432F-A9C7-0044376A02E5}"/>
                    </a:ext>
                  </a:extLst>
                </p:cNvPr>
                <p:cNvCxnSpPr/>
                <p:nvPr userDrawn="1"/>
              </p:nvCxnSpPr>
              <p:spPr>
                <a:xfrm flipH="1">
                  <a:off x="14593115" y="6447556"/>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390" name="Rectangle 13">
                  <a:extLst>
                    <a:ext uri="{FF2B5EF4-FFF2-40B4-BE49-F238E27FC236}">
                      <a16:creationId xmlns:a16="http://schemas.microsoft.com/office/drawing/2014/main" id="{ECD93E7C-5A67-4D62-AEAC-C641EE017DEF}"/>
                    </a:ext>
                  </a:extLst>
                </p:cNvPr>
                <p:cNvSpPr>
                  <a:spLocks noChangeArrowheads="1"/>
                </p:cNvSpPr>
                <p:nvPr userDrawn="1"/>
              </p:nvSpPr>
              <p:spPr bwMode="auto">
                <a:xfrm>
                  <a:off x="14590283" y="6359138"/>
                  <a:ext cx="128657" cy="19347"/>
                </a:xfrm>
                <a:prstGeom prst="rect">
                  <a:avLst/>
                </a:prstGeom>
                <a:gradFill flip="none" rotWithShape="1">
                  <a:gsLst>
                    <a:gs pos="0">
                      <a:srgbClr val="1929FF"/>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grpSp>
          <p:grpSp>
            <p:nvGrpSpPr>
              <p:cNvPr id="376" name="Groep 375">
                <a:extLst>
                  <a:ext uri="{FF2B5EF4-FFF2-40B4-BE49-F238E27FC236}">
                    <a16:creationId xmlns:a16="http://schemas.microsoft.com/office/drawing/2014/main" id="{9A4BCC3E-C777-43B4-88E3-9BA220381766}"/>
                  </a:ext>
                </a:extLst>
              </p:cNvPr>
              <p:cNvGrpSpPr/>
              <p:nvPr/>
            </p:nvGrpSpPr>
            <p:grpSpPr>
              <a:xfrm>
                <a:off x="12529899" y="6421402"/>
                <a:ext cx="97399" cy="97399"/>
                <a:chOff x="14546483" y="5323041"/>
                <a:chExt cx="242460" cy="242460"/>
              </a:xfrm>
            </p:grpSpPr>
            <p:sp>
              <p:nvSpPr>
                <p:cNvPr id="377" name="Rechthoek 376">
                  <a:extLst>
                    <a:ext uri="{FF2B5EF4-FFF2-40B4-BE49-F238E27FC236}">
                      <a16:creationId xmlns:a16="http://schemas.microsoft.com/office/drawing/2014/main" id="{1109BE75-D0E2-493C-9C4B-A0B110E13CDA}"/>
                    </a:ext>
                  </a:extLst>
                </p:cNvPr>
                <p:cNvSpPr/>
                <p:nvPr userDrawn="1"/>
              </p:nvSpPr>
              <p:spPr>
                <a:xfrm>
                  <a:off x="14546483" y="5323041"/>
                  <a:ext cx="242460" cy="242460"/>
                </a:xfrm>
                <a:prstGeom prst="rect">
                  <a:avLst/>
                </a:prstGeom>
                <a:solidFill>
                  <a:schemeClr val="bg1"/>
                </a:solidFill>
                <a:ln w="6350">
                  <a:solidFill>
                    <a:srgbClr val="00A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nvGrpSpPr>
                <p:cNvPr id="378" name="Groep 377">
                  <a:extLst>
                    <a:ext uri="{FF2B5EF4-FFF2-40B4-BE49-F238E27FC236}">
                      <a16:creationId xmlns:a16="http://schemas.microsoft.com/office/drawing/2014/main" id="{3F360B7D-C540-43D4-94FF-4A80247C5C6C}"/>
                    </a:ext>
                  </a:extLst>
                </p:cNvPr>
                <p:cNvGrpSpPr/>
                <p:nvPr/>
              </p:nvGrpSpPr>
              <p:grpSpPr>
                <a:xfrm>
                  <a:off x="14568035" y="5357818"/>
                  <a:ext cx="199836" cy="175226"/>
                  <a:chOff x="14559757" y="5349611"/>
                  <a:chExt cx="216392" cy="191641"/>
                </a:xfrm>
              </p:grpSpPr>
              <p:sp>
                <p:nvSpPr>
                  <p:cNvPr id="379" name="Parallellogram 378">
                    <a:extLst>
                      <a:ext uri="{FF2B5EF4-FFF2-40B4-BE49-F238E27FC236}">
                        <a16:creationId xmlns:a16="http://schemas.microsoft.com/office/drawing/2014/main" id="{462C2A28-1D6B-4362-AB50-8F6629A13645}"/>
                      </a:ext>
                    </a:extLst>
                  </p:cNvPr>
                  <p:cNvSpPr/>
                  <p:nvPr/>
                </p:nvSpPr>
                <p:spPr>
                  <a:xfrm>
                    <a:off x="14559757" y="5369222"/>
                    <a:ext cx="214316" cy="147762"/>
                  </a:xfrm>
                  <a:prstGeom prst="parallelogram">
                    <a:avLst>
                      <a:gd name="adj" fmla="val 93909"/>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380" name="Parallellogram 379">
                    <a:extLst>
                      <a:ext uri="{FF2B5EF4-FFF2-40B4-BE49-F238E27FC236}">
                        <a16:creationId xmlns:a16="http://schemas.microsoft.com/office/drawing/2014/main" id="{DA0AEE7F-DC55-45BD-8F55-58249DA49FF8}"/>
                      </a:ext>
                    </a:extLst>
                  </p:cNvPr>
                  <p:cNvSpPr/>
                  <p:nvPr/>
                </p:nvSpPr>
                <p:spPr>
                  <a:xfrm flipH="1">
                    <a:off x="14561833" y="5349611"/>
                    <a:ext cx="214316" cy="191641"/>
                  </a:xfrm>
                  <a:prstGeom prst="parallelogram">
                    <a:avLst>
                      <a:gd name="adj" fmla="val 68946"/>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grpSp>
        </p:grpSp>
        <p:sp>
          <p:nvSpPr>
            <p:cNvPr id="367" name="Tekstvak 33">
              <a:extLst>
                <a:ext uri="{FF2B5EF4-FFF2-40B4-BE49-F238E27FC236}">
                  <a16:creationId xmlns:a16="http://schemas.microsoft.com/office/drawing/2014/main" id="{2060F20D-944E-44F9-A715-539863EA4594}"/>
                </a:ext>
              </a:extLst>
            </p:cNvPr>
            <p:cNvSpPr txBox="1"/>
            <p:nvPr userDrawn="1"/>
          </p:nvSpPr>
          <p:spPr>
            <a:xfrm>
              <a:off x="12537681" y="5123358"/>
              <a:ext cx="2588841" cy="646331"/>
            </a:xfrm>
            <a:prstGeom prst="rect">
              <a:avLst/>
            </a:prstGeom>
            <a:noFill/>
          </p:spPr>
          <p:txBody>
            <a:bodyPr wrap="square" lIns="0" tIns="0" rIns="0" bIns="0" rtlCol="0" anchor="t">
              <a:spAutoFit/>
            </a:bodyPr>
            <a:lstStyle>
              <a:defPPr>
                <a:defRPr lang="nl-NL"/>
              </a:defPPr>
              <a:lvl1pPr marR="0" lvl="0" indent="0" defTabSz="914400" fontAlgn="auto">
                <a:lnSpc>
                  <a:spcPct val="100000"/>
                </a:lnSpc>
                <a:spcBef>
                  <a:spcPts val="0"/>
                </a:spcBef>
                <a:spcAft>
                  <a:spcPts val="0"/>
                </a:spcAft>
                <a:buClrTx/>
                <a:buSzTx/>
                <a:buFontTx/>
                <a:buNone/>
                <a:tabLst/>
                <a:defRPr kumimoji="0" sz="1400" b="0" i="0" u="none" strike="noStrike" kern="0" cap="none" spc="0" normalizeH="0" baseline="0">
                  <a:ln>
                    <a:noFill/>
                  </a:ln>
                  <a:effectLst/>
                  <a:uLnTx/>
                  <a:uFillTx/>
                  <a:latin typeface="Calibri"/>
                  <a:ea typeface="Tahoma" pitchFamily="34" charset="0"/>
                  <a:cs typeface="Arial" pitchFamily="34" charset="0"/>
                </a:defRPr>
              </a:lvl1pPr>
            </a:lstStyle>
            <a:p>
              <a:pPr lvl="0"/>
              <a:r>
                <a:rPr lang="nl-NL" dirty="0">
                  <a:solidFill>
                    <a:schemeClr val="tx2"/>
                  </a:solidFill>
                  <a:latin typeface="+mn-lt"/>
                </a:rPr>
                <a:t>Selecteer de grafiek, klik op de rechter muisknop en kies </a:t>
              </a:r>
              <a:r>
                <a:rPr lang="nl-NL" b="0" dirty="0">
                  <a:solidFill>
                    <a:schemeClr val="tx2"/>
                  </a:solidFill>
                  <a:latin typeface="+mj-lt"/>
                </a:rPr>
                <a:t>‘Gegevens bewerken’</a:t>
              </a:r>
            </a:p>
          </p:txBody>
        </p:sp>
        <p:sp>
          <p:nvSpPr>
            <p:cNvPr id="368" name="Rechthoek 367">
              <a:extLst>
                <a:ext uri="{FF2B5EF4-FFF2-40B4-BE49-F238E27FC236}">
                  <a16:creationId xmlns:a16="http://schemas.microsoft.com/office/drawing/2014/main" id="{7F3E7C69-CDF8-4E33-8FB4-5608BB1A33F4}"/>
                </a:ext>
              </a:extLst>
            </p:cNvPr>
            <p:cNvSpPr/>
            <p:nvPr userDrawn="1"/>
          </p:nvSpPr>
          <p:spPr>
            <a:xfrm>
              <a:off x="12363871" y="4529047"/>
              <a:ext cx="2584447" cy="3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lvl="0"/>
              <a:r>
                <a:rPr lang="nl-NL" sz="1600" b="0" dirty="0">
                  <a:solidFill>
                    <a:schemeClr val="tx2"/>
                  </a:solidFill>
                  <a:latin typeface="+mj-lt"/>
                </a:rPr>
                <a:t>GRAFIEK BEWERKEN</a:t>
              </a:r>
            </a:p>
          </p:txBody>
        </p:sp>
        <p:pic>
          <p:nvPicPr>
            <p:cNvPr id="369" name="Picture 3">
              <a:extLst>
                <a:ext uri="{FF2B5EF4-FFF2-40B4-BE49-F238E27FC236}">
                  <a16:creationId xmlns:a16="http://schemas.microsoft.com/office/drawing/2014/main" id="{8F2FB3B1-D1FC-4947-B32F-66B755CA35BF}"/>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4262557" y="6394752"/>
              <a:ext cx="158644" cy="256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3167376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 slide met 2 kolommen (lichtblauw)">
    <p:spTree>
      <p:nvGrpSpPr>
        <p:cNvPr id="1" name=""/>
        <p:cNvGrpSpPr/>
        <p:nvPr/>
      </p:nvGrpSpPr>
      <p:grpSpPr>
        <a:xfrm>
          <a:off x="0" y="0"/>
          <a:ext cx="0" cy="0"/>
          <a:chOff x="0" y="0"/>
          <a:chExt cx="0" cy="0"/>
        </a:xfrm>
      </p:grpSpPr>
      <p:sp>
        <p:nvSpPr>
          <p:cNvPr id="2" name="Titel 1"/>
          <p:cNvSpPr>
            <a:spLocks noGrp="1"/>
          </p:cNvSpPr>
          <p:nvPr>
            <p:ph type="title"/>
          </p:nvPr>
        </p:nvSpPr>
        <p:spPr>
          <a:xfrm>
            <a:off x="471685" y="192001"/>
            <a:ext cx="11250000" cy="648000"/>
          </a:xfrm>
        </p:spPr>
        <p:txBody>
          <a:bodyPr/>
          <a:lstStyle/>
          <a:p>
            <a:r>
              <a:rPr lang="nl-NL"/>
              <a:t>Klik om stijl te bewerken</a:t>
            </a:r>
            <a:endParaRPr lang="en-GB"/>
          </a:p>
        </p:txBody>
      </p:sp>
      <p:sp>
        <p:nvSpPr>
          <p:cNvPr id="4" name="Tijdelijke aanduiding voor datum 3"/>
          <p:cNvSpPr>
            <a:spLocks noGrp="1"/>
          </p:cNvSpPr>
          <p:nvPr>
            <p:ph type="dt" sz="half" idx="10"/>
          </p:nvPr>
        </p:nvSpPr>
        <p:spPr/>
        <p:txBody>
          <a:bodyPr/>
          <a:lstStyle/>
          <a:p>
            <a:fld id="{4BA0FDA7-4E3A-43F3-ABCE-75352378CAD8}"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Tekst in 2 kolommen</a:t>
            </a:r>
          </a:p>
        </p:txBody>
      </p:sp>
      <p:sp>
        <p:nvSpPr>
          <p:cNvPr id="7" name="Tijdelijke aanduiding voor tekst 6"/>
          <p:cNvSpPr>
            <a:spLocks noGrp="1"/>
          </p:cNvSpPr>
          <p:nvPr>
            <p:ph type="body" sz="quarter" idx="21"/>
          </p:nvPr>
        </p:nvSpPr>
        <p:spPr>
          <a:xfrm>
            <a:off x="471685" y="1420813"/>
            <a:ext cx="5364000" cy="4556446"/>
          </a:xfrm>
        </p:spPr>
        <p:txBody>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3" name="Tijdelijke aanduiding voor tekst 12"/>
          <p:cNvSpPr>
            <a:spLocks noGrp="1"/>
          </p:cNvSpPr>
          <p:nvPr>
            <p:ph type="body" sz="quarter" idx="23"/>
          </p:nvPr>
        </p:nvSpPr>
        <p:spPr>
          <a:xfrm>
            <a:off x="6343998" y="1420813"/>
            <a:ext cx="5364000" cy="4556446"/>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grpSp>
        <p:nvGrpSpPr>
          <p:cNvPr id="179" name="Groep 178">
            <a:extLst>
              <a:ext uri="{FF2B5EF4-FFF2-40B4-BE49-F238E27FC236}">
                <a16:creationId xmlns:a16="http://schemas.microsoft.com/office/drawing/2014/main" id="{B4F83672-4793-4DAC-81CB-A376E0BC883C}"/>
              </a:ext>
            </a:extLst>
          </p:cNvPr>
          <p:cNvGrpSpPr/>
          <p:nvPr userDrawn="1"/>
        </p:nvGrpSpPr>
        <p:grpSpPr>
          <a:xfrm>
            <a:off x="-2973833" y="0"/>
            <a:ext cx="2808312" cy="5805264"/>
            <a:chOff x="-2973833" y="0"/>
            <a:chExt cx="2808312" cy="5805264"/>
          </a:xfrm>
        </p:grpSpPr>
        <p:sp>
          <p:nvSpPr>
            <p:cNvPr id="180" name="Rechthoek 179">
              <a:extLst>
                <a:ext uri="{FF2B5EF4-FFF2-40B4-BE49-F238E27FC236}">
                  <a16:creationId xmlns:a16="http://schemas.microsoft.com/office/drawing/2014/main" id="{56B59DDE-DDB9-49EE-B7E5-CF1DF1A39E25}"/>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181" name="Textfield placeholder">
              <a:extLst>
                <a:ext uri="{FF2B5EF4-FFF2-40B4-BE49-F238E27FC236}">
                  <a16:creationId xmlns:a16="http://schemas.microsoft.com/office/drawing/2014/main" id="{345F001E-ECBA-48BB-B84E-C80182BD4EBB}"/>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182" name="Ovaal 181">
              <a:extLst>
                <a:ext uri="{FF2B5EF4-FFF2-40B4-BE49-F238E27FC236}">
                  <a16:creationId xmlns:a16="http://schemas.microsoft.com/office/drawing/2014/main" id="{61D2C285-D11C-4A48-9D8C-0084DF77AAA5}"/>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183" name="Ovaal 182">
              <a:extLst>
                <a:ext uri="{FF2B5EF4-FFF2-40B4-BE49-F238E27FC236}">
                  <a16:creationId xmlns:a16="http://schemas.microsoft.com/office/drawing/2014/main" id="{6EB2FA6D-E5E9-4826-A92B-5354006E8363}"/>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184" name="Ovaal 183">
              <a:extLst>
                <a:ext uri="{FF2B5EF4-FFF2-40B4-BE49-F238E27FC236}">
                  <a16:creationId xmlns:a16="http://schemas.microsoft.com/office/drawing/2014/main" id="{D7DC24D6-E7BC-4473-9707-E9D54F969619}"/>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185" name="Ovaal 184">
              <a:extLst>
                <a:ext uri="{FF2B5EF4-FFF2-40B4-BE49-F238E27FC236}">
                  <a16:creationId xmlns:a16="http://schemas.microsoft.com/office/drawing/2014/main" id="{30246820-A8FF-42FC-B55C-03F4FD58F137}"/>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186" name="Textfield placeholder">
              <a:extLst>
                <a:ext uri="{FF2B5EF4-FFF2-40B4-BE49-F238E27FC236}">
                  <a16:creationId xmlns:a16="http://schemas.microsoft.com/office/drawing/2014/main" id="{A82FB6F4-B48D-44D5-9E9D-A388F92C2CB7}"/>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187" name="Textfield placeholder">
              <a:extLst>
                <a:ext uri="{FF2B5EF4-FFF2-40B4-BE49-F238E27FC236}">
                  <a16:creationId xmlns:a16="http://schemas.microsoft.com/office/drawing/2014/main" id="{329FDC98-2997-4921-A202-449DC6FF346F}"/>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188" name="Textfield placeholder">
              <a:extLst>
                <a:ext uri="{FF2B5EF4-FFF2-40B4-BE49-F238E27FC236}">
                  <a16:creationId xmlns:a16="http://schemas.microsoft.com/office/drawing/2014/main" id="{B6BE7B91-567D-4D3D-864F-5F97DF28A987}"/>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189" name="Rechte verbindingslijn 188">
              <a:extLst>
                <a:ext uri="{FF2B5EF4-FFF2-40B4-BE49-F238E27FC236}">
                  <a16:creationId xmlns:a16="http://schemas.microsoft.com/office/drawing/2014/main" id="{60805347-3BDE-4172-BD49-A9DCD33E72A8}"/>
                </a:ext>
              </a:extLst>
            </p:cNvPr>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0" name="Rechte verbindingslijn 189">
              <a:extLst>
                <a:ext uri="{FF2B5EF4-FFF2-40B4-BE49-F238E27FC236}">
                  <a16:creationId xmlns:a16="http://schemas.microsoft.com/office/drawing/2014/main" id="{4C629F66-6A91-4E96-A052-6E5115DE21EF}"/>
                </a:ext>
              </a:extLst>
            </p:cNvPr>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1" name="Rechte verbindingslijn 190">
              <a:extLst>
                <a:ext uri="{FF2B5EF4-FFF2-40B4-BE49-F238E27FC236}">
                  <a16:creationId xmlns:a16="http://schemas.microsoft.com/office/drawing/2014/main" id="{6E2374BE-CC26-4A4E-BF82-8A90782BFCA0}"/>
                </a:ext>
              </a:extLst>
            </p:cNvPr>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92" name="Picture 3">
              <a:extLst>
                <a:ext uri="{FF2B5EF4-FFF2-40B4-BE49-F238E27FC236}">
                  <a16:creationId xmlns:a16="http://schemas.microsoft.com/office/drawing/2014/main" id="{43A1A940-516B-42DB-A2DF-B9EA71677304}"/>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3" name="Picture 4">
              <a:extLst>
                <a:ext uri="{FF2B5EF4-FFF2-40B4-BE49-F238E27FC236}">
                  <a16:creationId xmlns:a16="http://schemas.microsoft.com/office/drawing/2014/main" id="{BDDA6164-64B7-4857-98C2-0C31DA2DE828}"/>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94" name="Groep 193">
              <a:extLst>
                <a:ext uri="{FF2B5EF4-FFF2-40B4-BE49-F238E27FC236}">
                  <a16:creationId xmlns:a16="http://schemas.microsoft.com/office/drawing/2014/main" id="{EAC48BF9-4135-46B2-BAAD-94C04418A1F2}"/>
                </a:ext>
              </a:extLst>
            </p:cNvPr>
            <p:cNvGrpSpPr/>
            <p:nvPr userDrawn="1"/>
          </p:nvGrpSpPr>
          <p:grpSpPr>
            <a:xfrm>
              <a:off x="-2098870" y="523279"/>
              <a:ext cx="435437" cy="427699"/>
              <a:chOff x="-1085063" y="758027"/>
              <a:chExt cx="633800" cy="622540"/>
            </a:xfrm>
          </p:grpSpPr>
          <p:sp>
            <p:nvSpPr>
              <p:cNvPr id="235" name="Afgeronde rechthoek 133">
                <a:extLst>
                  <a:ext uri="{FF2B5EF4-FFF2-40B4-BE49-F238E27FC236}">
                    <a16:creationId xmlns:a16="http://schemas.microsoft.com/office/drawing/2014/main" id="{EED846B0-BED3-4E0D-B4B4-C49B7F333530}"/>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236" name="Groep 235">
                <a:extLst>
                  <a:ext uri="{FF2B5EF4-FFF2-40B4-BE49-F238E27FC236}">
                    <a16:creationId xmlns:a16="http://schemas.microsoft.com/office/drawing/2014/main" id="{0D7551FF-C16B-4E92-912E-3BDDDE425DE2}"/>
                  </a:ext>
                </a:extLst>
              </p:cNvPr>
              <p:cNvGrpSpPr/>
              <p:nvPr userDrawn="1"/>
            </p:nvGrpSpPr>
            <p:grpSpPr>
              <a:xfrm>
                <a:off x="-977746" y="864082"/>
                <a:ext cx="419166" cy="410430"/>
                <a:chOff x="6366933" y="309013"/>
                <a:chExt cx="1901295" cy="1861668"/>
              </a:xfrm>
              <a:solidFill>
                <a:schemeClr val="tx1"/>
              </a:solidFill>
            </p:grpSpPr>
            <p:sp>
              <p:nvSpPr>
                <p:cNvPr id="237" name="Rechthoek 236">
                  <a:extLst>
                    <a:ext uri="{FF2B5EF4-FFF2-40B4-BE49-F238E27FC236}">
                      <a16:creationId xmlns:a16="http://schemas.microsoft.com/office/drawing/2014/main" id="{41AABEDF-46F8-4F2F-8E69-FC0E509BCD43}"/>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8" name="Rechthoek 237">
                  <a:extLst>
                    <a:ext uri="{FF2B5EF4-FFF2-40B4-BE49-F238E27FC236}">
                      <a16:creationId xmlns:a16="http://schemas.microsoft.com/office/drawing/2014/main" id="{46C1C53A-57CF-4EBE-B7D5-7AA9BEA7A8A1}"/>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9" name="Rechthoek 238">
                  <a:extLst>
                    <a:ext uri="{FF2B5EF4-FFF2-40B4-BE49-F238E27FC236}">
                      <a16:creationId xmlns:a16="http://schemas.microsoft.com/office/drawing/2014/main" id="{4A788E72-4D8D-41BF-81D8-C01B32B5E63F}"/>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0" name="Rechthoek 239">
                  <a:extLst>
                    <a:ext uri="{FF2B5EF4-FFF2-40B4-BE49-F238E27FC236}">
                      <a16:creationId xmlns:a16="http://schemas.microsoft.com/office/drawing/2014/main" id="{ED9DB13A-2358-4A6F-906D-BE80C87602A5}"/>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1" name="Rechthoek 240">
                  <a:extLst>
                    <a:ext uri="{FF2B5EF4-FFF2-40B4-BE49-F238E27FC236}">
                      <a16:creationId xmlns:a16="http://schemas.microsoft.com/office/drawing/2014/main" id="{0F0B2C3C-C538-40A6-B1F8-A04A5193DE13}"/>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2" name="Rechthoek 241">
                  <a:extLst>
                    <a:ext uri="{FF2B5EF4-FFF2-40B4-BE49-F238E27FC236}">
                      <a16:creationId xmlns:a16="http://schemas.microsoft.com/office/drawing/2014/main" id="{96F8A2E4-21BB-421A-BF71-F70A01335F1A}"/>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3" name="Rechthoek 242">
                  <a:extLst>
                    <a:ext uri="{FF2B5EF4-FFF2-40B4-BE49-F238E27FC236}">
                      <a16:creationId xmlns:a16="http://schemas.microsoft.com/office/drawing/2014/main" id="{B593CAD2-ADDA-48D1-A789-41C14D5F957A}"/>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4" name="Rechthoek 243">
                  <a:extLst>
                    <a:ext uri="{FF2B5EF4-FFF2-40B4-BE49-F238E27FC236}">
                      <a16:creationId xmlns:a16="http://schemas.microsoft.com/office/drawing/2014/main" id="{9E370E81-5F5E-45CC-AAA7-BC36DFCFD931}"/>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5" name="Rechthoek 244">
                  <a:extLst>
                    <a:ext uri="{FF2B5EF4-FFF2-40B4-BE49-F238E27FC236}">
                      <a16:creationId xmlns:a16="http://schemas.microsoft.com/office/drawing/2014/main" id="{8090C6A7-FB9D-4A35-8DF5-A7D562BF5AF1}"/>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6" name="Rechthoek 245">
                  <a:extLst>
                    <a:ext uri="{FF2B5EF4-FFF2-40B4-BE49-F238E27FC236}">
                      <a16:creationId xmlns:a16="http://schemas.microsoft.com/office/drawing/2014/main" id="{480ABEEB-C319-4961-B4A6-DE0FDEE5FB5A}"/>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7" name="Vrije vorm 145">
                  <a:extLst>
                    <a:ext uri="{FF2B5EF4-FFF2-40B4-BE49-F238E27FC236}">
                      <a16:creationId xmlns:a16="http://schemas.microsoft.com/office/drawing/2014/main" id="{D9156611-0CD1-4A9F-B8FF-F43C1D277690}"/>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195" name="Groep 194">
              <a:extLst>
                <a:ext uri="{FF2B5EF4-FFF2-40B4-BE49-F238E27FC236}">
                  <a16:creationId xmlns:a16="http://schemas.microsoft.com/office/drawing/2014/main" id="{1EA8B708-9177-446C-9741-82C7A93291F6}"/>
                </a:ext>
              </a:extLst>
            </p:cNvPr>
            <p:cNvGrpSpPr/>
            <p:nvPr userDrawn="1"/>
          </p:nvGrpSpPr>
          <p:grpSpPr>
            <a:xfrm>
              <a:off x="-2095303" y="1071657"/>
              <a:ext cx="435437" cy="427699"/>
              <a:chOff x="-1845083" y="758027"/>
              <a:chExt cx="633800" cy="622540"/>
            </a:xfrm>
          </p:grpSpPr>
          <p:sp>
            <p:nvSpPr>
              <p:cNvPr id="222" name="Afgeronde rechthoek 120">
                <a:extLst>
                  <a:ext uri="{FF2B5EF4-FFF2-40B4-BE49-F238E27FC236}">
                    <a16:creationId xmlns:a16="http://schemas.microsoft.com/office/drawing/2014/main" id="{B5129AAB-EA98-4F01-AD1C-9E58FC76409F}"/>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223" name="Groep 222">
                <a:extLst>
                  <a:ext uri="{FF2B5EF4-FFF2-40B4-BE49-F238E27FC236}">
                    <a16:creationId xmlns:a16="http://schemas.microsoft.com/office/drawing/2014/main" id="{CB5D7646-5D82-4F60-AE5B-FA7CA7751165}"/>
                  </a:ext>
                </a:extLst>
              </p:cNvPr>
              <p:cNvGrpSpPr/>
              <p:nvPr userDrawn="1"/>
            </p:nvGrpSpPr>
            <p:grpSpPr>
              <a:xfrm>
                <a:off x="-1737766" y="864082"/>
                <a:ext cx="419166" cy="410430"/>
                <a:chOff x="3708400" y="309013"/>
                <a:chExt cx="1901295" cy="1861668"/>
              </a:xfrm>
              <a:solidFill>
                <a:schemeClr val="tx1"/>
              </a:solidFill>
            </p:grpSpPr>
            <p:sp>
              <p:nvSpPr>
                <p:cNvPr id="224" name="Rechthoek 223">
                  <a:extLst>
                    <a:ext uri="{FF2B5EF4-FFF2-40B4-BE49-F238E27FC236}">
                      <a16:creationId xmlns:a16="http://schemas.microsoft.com/office/drawing/2014/main" id="{880C2665-75C7-4BF7-B1C9-E6CB80988222}"/>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5" name="Rechthoek 224">
                  <a:extLst>
                    <a:ext uri="{FF2B5EF4-FFF2-40B4-BE49-F238E27FC236}">
                      <a16:creationId xmlns:a16="http://schemas.microsoft.com/office/drawing/2014/main" id="{BF2AAFEF-2182-463A-9670-B7B1A05C2D28}"/>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6" name="Rechthoek 225">
                  <a:extLst>
                    <a:ext uri="{FF2B5EF4-FFF2-40B4-BE49-F238E27FC236}">
                      <a16:creationId xmlns:a16="http://schemas.microsoft.com/office/drawing/2014/main" id="{1D81E571-C9A5-404B-968E-77BB7840D7A5}"/>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7" name="Rechthoek 226">
                  <a:extLst>
                    <a:ext uri="{FF2B5EF4-FFF2-40B4-BE49-F238E27FC236}">
                      <a16:creationId xmlns:a16="http://schemas.microsoft.com/office/drawing/2014/main" id="{5C54EE29-04AA-4B95-8888-AE88623593B1}"/>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8" name="Rechthoek 227">
                  <a:extLst>
                    <a:ext uri="{FF2B5EF4-FFF2-40B4-BE49-F238E27FC236}">
                      <a16:creationId xmlns:a16="http://schemas.microsoft.com/office/drawing/2014/main" id="{18073981-04E2-449D-912A-862C9ADBFE51}"/>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9" name="Rechthoek 228">
                  <a:extLst>
                    <a:ext uri="{FF2B5EF4-FFF2-40B4-BE49-F238E27FC236}">
                      <a16:creationId xmlns:a16="http://schemas.microsoft.com/office/drawing/2014/main" id="{FC2AB5BE-9F5A-4AFB-83FB-A905FE461F50}"/>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0" name="Rechthoek 229">
                  <a:extLst>
                    <a:ext uri="{FF2B5EF4-FFF2-40B4-BE49-F238E27FC236}">
                      <a16:creationId xmlns:a16="http://schemas.microsoft.com/office/drawing/2014/main" id="{30119F5D-647E-4E1C-9E29-EF27BF141073}"/>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1" name="Rechthoek 230">
                  <a:extLst>
                    <a:ext uri="{FF2B5EF4-FFF2-40B4-BE49-F238E27FC236}">
                      <a16:creationId xmlns:a16="http://schemas.microsoft.com/office/drawing/2014/main" id="{4006D2BF-94B7-4288-8957-5CC9141B842A}"/>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2" name="Rechthoek 231">
                  <a:extLst>
                    <a:ext uri="{FF2B5EF4-FFF2-40B4-BE49-F238E27FC236}">
                      <a16:creationId xmlns:a16="http://schemas.microsoft.com/office/drawing/2014/main" id="{5E8B7B49-0918-42B3-81C0-D96C9F9ECDD5}"/>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3" name="Rechthoek 232">
                  <a:extLst>
                    <a:ext uri="{FF2B5EF4-FFF2-40B4-BE49-F238E27FC236}">
                      <a16:creationId xmlns:a16="http://schemas.microsoft.com/office/drawing/2014/main" id="{3AE367B0-D8C3-4049-B0F5-A77BAC6B7CCB}"/>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4" name="Vrije vorm 132">
                  <a:extLst>
                    <a:ext uri="{FF2B5EF4-FFF2-40B4-BE49-F238E27FC236}">
                      <a16:creationId xmlns:a16="http://schemas.microsoft.com/office/drawing/2014/main" id="{75BA5C6C-2893-4771-BD39-13F2F8F513E1}"/>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196" name="Rechte verbindingslijn 195">
              <a:extLst>
                <a:ext uri="{FF2B5EF4-FFF2-40B4-BE49-F238E27FC236}">
                  <a16:creationId xmlns:a16="http://schemas.microsoft.com/office/drawing/2014/main" id="{2D04F23C-512C-4A50-9261-3F3AB4E53EE1}"/>
                </a:ext>
              </a:extLst>
            </p:cNvPr>
            <p:cNvCxnSpPr>
              <a:stCxn id="198" idx="2"/>
              <a:endCxn id="222"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7" name="Rechte verbindingslijn 196">
              <a:extLst>
                <a:ext uri="{FF2B5EF4-FFF2-40B4-BE49-F238E27FC236}">
                  <a16:creationId xmlns:a16="http://schemas.microsoft.com/office/drawing/2014/main" id="{FA5E6868-5C11-4F8E-BF0F-6EDC9BEF2AAD}"/>
                </a:ext>
              </a:extLst>
            </p:cNvPr>
            <p:cNvCxnSpPr>
              <a:stCxn id="199" idx="3"/>
              <a:endCxn id="235"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98" name="Ovaal 197">
              <a:extLst>
                <a:ext uri="{FF2B5EF4-FFF2-40B4-BE49-F238E27FC236}">
                  <a16:creationId xmlns:a16="http://schemas.microsoft.com/office/drawing/2014/main" id="{2FFAFD10-0127-4617-B88B-3BCD27D8762D}"/>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99" name="Ovaal 198">
              <a:extLst>
                <a:ext uri="{FF2B5EF4-FFF2-40B4-BE49-F238E27FC236}">
                  <a16:creationId xmlns:a16="http://schemas.microsoft.com/office/drawing/2014/main" id="{FB9438F1-A477-44B7-8039-D44D2361FDE9}"/>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00" name="Textfield placeholder">
              <a:extLst>
                <a:ext uri="{FF2B5EF4-FFF2-40B4-BE49-F238E27FC236}">
                  <a16:creationId xmlns:a16="http://schemas.microsoft.com/office/drawing/2014/main" id="{22351F74-2DAA-4423-B809-207B5CB3C49E}"/>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201" name="Textfield placeholder">
              <a:extLst>
                <a:ext uri="{FF2B5EF4-FFF2-40B4-BE49-F238E27FC236}">
                  <a16:creationId xmlns:a16="http://schemas.microsoft.com/office/drawing/2014/main" id="{0062F922-4AF8-4DF8-BA83-239586FDE483}"/>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202" name="Ovaal 201">
              <a:extLst>
                <a:ext uri="{FF2B5EF4-FFF2-40B4-BE49-F238E27FC236}">
                  <a16:creationId xmlns:a16="http://schemas.microsoft.com/office/drawing/2014/main" id="{4357E607-DF33-422A-B42F-29612AA48054}"/>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203" name="Ovaal 202">
              <a:extLst>
                <a:ext uri="{FF2B5EF4-FFF2-40B4-BE49-F238E27FC236}">
                  <a16:creationId xmlns:a16="http://schemas.microsoft.com/office/drawing/2014/main" id="{53F0CC5A-FFC3-4250-9903-9EE4070EA47B}"/>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204" name="Ovaal 203">
              <a:extLst>
                <a:ext uri="{FF2B5EF4-FFF2-40B4-BE49-F238E27FC236}">
                  <a16:creationId xmlns:a16="http://schemas.microsoft.com/office/drawing/2014/main" id="{EE58D107-C1FC-4E11-B871-0112DC08C469}"/>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205" name="Ovaal 204">
              <a:extLst>
                <a:ext uri="{FF2B5EF4-FFF2-40B4-BE49-F238E27FC236}">
                  <a16:creationId xmlns:a16="http://schemas.microsoft.com/office/drawing/2014/main" id="{B1870245-58CB-4BB8-9FD7-13B0443E5879}"/>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206" name="Ovaal 205">
              <a:extLst>
                <a:ext uri="{FF2B5EF4-FFF2-40B4-BE49-F238E27FC236}">
                  <a16:creationId xmlns:a16="http://schemas.microsoft.com/office/drawing/2014/main" id="{6D17D85C-13AB-4431-96F6-E4594CB3D91B}"/>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207" name="Textfield placeholder">
              <a:extLst>
                <a:ext uri="{FF2B5EF4-FFF2-40B4-BE49-F238E27FC236}">
                  <a16:creationId xmlns:a16="http://schemas.microsoft.com/office/drawing/2014/main" id="{8E79CC3E-7262-47BD-B3A3-A063E276197D}"/>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08" name="Textfield placeholder">
              <a:extLst>
                <a:ext uri="{FF2B5EF4-FFF2-40B4-BE49-F238E27FC236}">
                  <a16:creationId xmlns:a16="http://schemas.microsoft.com/office/drawing/2014/main" id="{DC433892-FB78-4863-81C3-251F676FDBF0}"/>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09" name="Textfield placeholder">
              <a:extLst>
                <a:ext uri="{FF2B5EF4-FFF2-40B4-BE49-F238E27FC236}">
                  <a16:creationId xmlns:a16="http://schemas.microsoft.com/office/drawing/2014/main" id="{278EA40F-FB80-47ED-A732-07C2EBD109FD}"/>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10" name="Textfield placeholder">
              <a:extLst>
                <a:ext uri="{FF2B5EF4-FFF2-40B4-BE49-F238E27FC236}">
                  <a16:creationId xmlns:a16="http://schemas.microsoft.com/office/drawing/2014/main" id="{31661A34-8FEC-48CD-9D8C-3E4CFA8246EE}"/>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211" name="Textfield placeholder">
              <a:extLst>
                <a:ext uri="{FF2B5EF4-FFF2-40B4-BE49-F238E27FC236}">
                  <a16:creationId xmlns:a16="http://schemas.microsoft.com/office/drawing/2014/main" id="{799EEDDB-2B20-4D77-8E39-2637EC2B0248}"/>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12" name="Groep 211">
              <a:extLst>
                <a:ext uri="{FF2B5EF4-FFF2-40B4-BE49-F238E27FC236}">
                  <a16:creationId xmlns:a16="http://schemas.microsoft.com/office/drawing/2014/main" id="{167D3B8D-80E1-4ED4-8233-BFB0B5A77F60}"/>
                </a:ext>
              </a:extLst>
            </p:cNvPr>
            <p:cNvGrpSpPr/>
            <p:nvPr userDrawn="1"/>
          </p:nvGrpSpPr>
          <p:grpSpPr>
            <a:xfrm>
              <a:off x="-950342" y="1837957"/>
              <a:ext cx="687412" cy="3758146"/>
              <a:chOff x="-740196" y="1837957"/>
              <a:chExt cx="1374825" cy="3758146"/>
            </a:xfrm>
          </p:grpSpPr>
          <p:sp>
            <p:nvSpPr>
              <p:cNvPr id="213" name="Textfield placeholder">
                <a:extLst>
                  <a:ext uri="{FF2B5EF4-FFF2-40B4-BE49-F238E27FC236}">
                    <a16:creationId xmlns:a16="http://schemas.microsoft.com/office/drawing/2014/main" id="{7E82E73F-59EA-43F4-8C96-F4AAA213B8A4}"/>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14" name="Textfield placeholder">
                <a:extLst>
                  <a:ext uri="{FF2B5EF4-FFF2-40B4-BE49-F238E27FC236}">
                    <a16:creationId xmlns:a16="http://schemas.microsoft.com/office/drawing/2014/main" id="{FE85B239-1762-46F3-AEA5-E6AF7CA1EB10}"/>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15" name="Textfield placeholder">
                <a:extLst>
                  <a:ext uri="{FF2B5EF4-FFF2-40B4-BE49-F238E27FC236}">
                    <a16:creationId xmlns:a16="http://schemas.microsoft.com/office/drawing/2014/main" id="{49ED74E1-4E9C-4110-8787-D8CA1818714E}"/>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6" name="Textfield placeholder">
                <a:extLst>
                  <a:ext uri="{FF2B5EF4-FFF2-40B4-BE49-F238E27FC236}">
                    <a16:creationId xmlns:a16="http://schemas.microsoft.com/office/drawing/2014/main" id="{FCB243E4-7A88-44F9-B968-C5838AE7CAEC}"/>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217" name="Textfield placeholder">
                <a:extLst>
                  <a:ext uri="{FF2B5EF4-FFF2-40B4-BE49-F238E27FC236}">
                    <a16:creationId xmlns:a16="http://schemas.microsoft.com/office/drawing/2014/main" id="{49997D55-2C0B-40AC-ADE0-F40E3D02E6B4}"/>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218" name="Textfield placeholder">
                <a:extLst>
                  <a:ext uri="{FF2B5EF4-FFF2-40B4-BE49-F238E27FC236}">
                    <a16:creationId xmlns:a16="http://schemas.microsoft.com/office/drawing/2014/main" id="{83C7537A-DB69-400B-8BEA-52C4037C18AC}"/>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9" name="Textfield placeholder">
                <a:extLst>
                  <a:ext uri="{FF2B5EF4-FFF2-40B4-BE49-F238E27FC236}">
                    <a16:creationId xmlns:a16="http://schemas.microsoft.com/office/drawing/2014/main" id="{C5114959-B1B5-4AE9-B667-3863C392A195}"/>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20" name="Textfield placeholder">
                <a:extLst>
                  <a:ext uri="{FF2B5EF4-FFF2-40B4-BE49-F238E27FC236}">
                    <a16:creationId xmlns:a16="http://schemas.microsoft.com/office/drawing/2014/main" id="{B5E7F061-2CA3-4866-B127-A14FED8E0901}"/>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221" name="Textfield placeholder">
                <a:extLst>
                  <a:ext uri="{FF2B5EF4-FFF2-40B4-BE49-F238E27FC236}">
                    <a16:creationId xmlns:a16="http://schemas.microsoft.com/office/drawing/2014/main" id="{C565C1E1-D928-482F-B963-BAAD0F41DA60}"/>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spTree>
    <p:extLst>
      <p:ext uri="{BB962C8B-B14F-4D97-AF65-F5344CB8AC3E}">
        <p14:creationId xmlns:p14="http://schemas.microsoft.com/office/powerpoint/2010/main" val="1124215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 slide met 3 kolommen (lichtblauw)">
    <p:spTree>
      <p:nvGrpSpPr>
        <p:cNvPr id="1" name=""/>
        <p:cNvGrpSpPr/>
        <p:nvPr/>
      </p:nvGrpSpPr>
      <p:grpSpPr>
        <a:xfrm>
          <a:off x="0" y="0"/>
          <a:ext cx="0" cy="0"/>
          <a:chOff x="0" y="0"/>
          <a:chExt cx="0" cy="0"/>
        </a:xfrm>
      </p:grpSpPr>
      <p:sp>
        <p:nvSpPr>
          <p:cNvPr id="2" name="Titel 1"/>
          <p:cNvSpPr>
            <a:spLocks noGrp="1"/>
          </p:cNvSpPr>
          <p:nvPr>
            <p:ph type="title"/>
          </p:nvPr>
        </p:nvSpPr>
        <p:spPr>
          <a:xfrm>
            <a:off x="471685" y="192001"/>
            <a:ext cx="11250000" cy="648000"/>
          </a:xfrm>
        </p:spPr>
        <p:txBody>
          <a:bodyPr/>
          <a:lstStyle/>
          <a:p>
            <a:r>
              <a:rPr lang="nl-NL" dirty="0"/>
              <a:t>Klik om stijl te bewerken</a:t>
            </a:r>
            <a:endParaRPr lang="en-GB" dirty="0"/>
          </a:p>
        </p:txBody>
      </p:sp>
      <p:sp>
        <p:nvSpPr>
          <p:cNvPr id="4" name="Tijdelijke aanduiding voor datum 3"/>
          <p:cNvSpPr>
            <a:spLocks noGrp="1"/>
          </p:cNvSpPr>
          <p:nvPr>
            <p:ph type="dt" sz="half" idx="10"/>
          </p:nvPr>
        </p:nvSpPr>
        <p:spPr/>
        <p:txBody>
          <a:bodyPr/>
          <a:lstStyle/>
          <a:p>
            <a:fld id="{D8C51771-F542-469A-BFC4-D89C9F696251}" type="datetime4">
              <a:rPr lang="en-GB" smtClean="0"/>
              <a:t>29 May 2020</a:t>
            </a:fld>
            <a:endParaRPr lang="en-GB" dirty="0"/>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dirty="0"/>
          </a:p>
        </p:txBody>
      </p:sp>
      <p:sp>
        <p:nvSpPr>
          <p:cNvPr id="10" name="Tekstvak 9"/>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Tekst in 3 kolommen</a:t>
            </a:r>
          </a:p>
        </p:txBody>
      </p:sp>
      <p:sp>
        <p:nvSpPr>
          <p:cNvPr id="7" name="Tijdelijke aanduiding voor tekst 6"/>
          <p:cNvSpPr>
            <a:spLocks noGrp="1"/>
          </p:cNvSpPr>
          <p:nvPr>
            <p:ph type="body" sz="quarter" idx="21"/>
          </p:nvPr>
        </p:nvSpPr>
        <p:spPr>
          <a:xfrm>
            <a:off x="471685" y="1420813"/>
            <a:ext cx="3420000" cy="4555104"/>
          </a:xfrm>
        </p:spPr>
        <p:txBody>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1" name="Tijdelijke aanduiding voor tekst 10"/>
          <p:cNvSpPr>
            <a:spLocks noGrp="1"/>
          </p:cNvSpPr>
          <p:nvPr>
            <p:ph type="body" sz="quarter" idx="22"/>
          </p:nvPr>
        </p:nvSpPr>
        <p:spPr>
          <a:xfrm>
            <a:off x="4387294" y="1420813"/>
            <a:ext cx="3420000" cy="4555114"/>
          </a:xfrm>
        </p:spPr>
        <p:txBody>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3" name="Tijdelijke aanduiding voor tekst 12"/>
          <p:cNvSpPr>
            <a:spLocks noGrp="1"/>
          </p:cNvSpPr>
          <p:nvPr>
            <p:ph type="body" sz="quarter" idx="23"/>
          </p:nvPr>
        </p:nvSpPr>
        <p:spPr>
          <a:xfrm>
            <a:off x="8302902" y="1420812"/>
            <a:ext cx="3420000" cy="455511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grpSp>
        <p:nvGrpSpPr>
          <p:cNvPr id="179" name="Groep 178">
            <a:extLst>
              <a:ext uri="{FF2B5EF4-FFF2-40B4-BE49-F238E27FC236}">
                <a16:creationId xmlns:a16="http://schemas.microsoft.com/office/drawing/2014/main" id="{5EFDCF9A-7E15-4B18-A954-1200CA16B023}"/>
              </a:ext>
            </a:extLst>
          </p:cNvPr>
          <p:cNvGrpSpPr/>
          <p:nvPr userDrawn="1"/>
        </p:nvGrpSpPr>
        <p:grpSpPr>
          <a:xfrm>
            <a:off x="-2973833" y="0"/>
            <a:ext cx="2808312" cy="5805264"/>
            <a:chOff x="-2973833" y="0"/>
            <a:chExt cx="2808312" cy="5805264"/>
          </a:xfrm>
        </p:grpSpPr>
        <p:sp>
          <p:nvSpPr>
            <p:cNvPr id="180" name="Rechthoek 179">
              <a:extLst>
                <a:ext uri="{FF2B5EF4-FFF2-40B4-BE49-F238E27FC236}">
                  <a16:creationId xmlns:a16="http://schemas.microsoft.com/office/drawing/2014/main" id="{447DDA0E-4836-4D56-95A0-887AFC9D16E3}"/>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181" name="Textfield placeholder">
              <a:extLst>
                <a:ext uri="{FF2B5EF4-FFF2-40B4-BE49-F238E27FC236}">
                  <a16:creationId xmlns:a16="http://schemas.microsoft.com/office/drawing/2014/main" id="{AAA7E046-61D2-46C0-BA21-2CBCCE2C253F}"/>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182" name="Ovaal 181">
              <a:extLst>
                <a:ext uri="{FF2B5EF4-FFF2-40B4-BE49-F238E27FC236}">
                  <a16:creationId xmlns:a16="http://schemas.microsoft.com/office/drawing/2014/main" id="{C96B82A0-D22E-4F41-938E-0D222D44B784}"/>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183" name="Ovaal 182">
              <a:extLst>
                <a:ext uri="{FF2B5EF4-FFF2-40B4-BE49-F238E27FC236}">
                  <a16:creationId xmlns:a16="http://schemas.microsoft.com/office/drawing/2014/main" id="{1560A6CF-114F-45A6-9781-D618B1942F2C}"/>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184" name="Ovaal 183">
              <a:extLst>
                <a:ext uri="{FF2B5EF4-FFF2-40B4-BE49-F238E27FC236}">
                  <a16:creationId xmlns:a16="http://schemas.microsoft.com/office/drawing/2014/main" id="{15996319-7056-44A3-AFC3-908AB5361E05}"/>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185" name="Ovaal 184">
              <a:extLst>
                <a:ext uri="{FF2B5EF4-FFF2-40B4-BE49-F238E27FC236}">
                  <a16:creationId xmlns:a16="http://schemas.microsoft.com/office/drawing/2014/main" id="{0287112B-7A74-4E13-B133-2C19C7884299}"/>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186" name="Textfield placeholder">
              <a:extLst>
                <a:ext uri="{FF2B5EF4-FFF2-40B4-BE49-F238E27FC236}">
                  <a16:creationId xmlns:a16="http://schemas.microsoft.com/office/drawing/2014/main" id="{AD438314-A515-4E52-98A4-79DDB04F8370}"/>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187" name="Textfield placeholder">
              <a:extLst>
                <a:ext uri="{FF2B5EF4-FFF2-40B4-BE49-F238E27FC236}">
                  <a16:creationId xmlns:a16="http://schemas.microsoft.com/office/drawing/2014/main" id="{EF3B33F7-D9F0-449E-A812-EC4791C816E3}"/>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188" name="Textfield placeholder">
              <a:extLst>
                <a:ext uri="{FF2B5EF4-FFF2-40B4-BE49-F238E27FC236}">
                  <a16:creationId xmlns:a16="http://schemas.microsoft.com/office/drawing/2014/main" id="{E9159ECD-9378-4A7E-8718-C8D11CEA6067}"/>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189" name="Rechte verbindingslijn 188">
              <a:extLst>
                <a:ext uri="{FF2B5EF4-FFF2-40B4-BE49-F238E27FC236}">
                  <a16:creationId xmlns:a16="http://schemas.microsoft.com/office/drawing/2014/main" id="{9904F8D5-2B24-4240-BB70-D8B78276F29B}"/>
                </a:ext>
              </a:extLst>
            </p:cNvPr>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0" name="Rechte verbindingslijn 189">
              <a:extLst>
                <a:ext uri="{FF2B5EF4-FFF2-40B4-BE49-F238E27FC236}">
                  <a16:creationId xmlns:a16="http://schemas.microsoft.com/office/drawing/2014/main" id="{14A09671-26F0-4E73-8F6A-ECE789912C26}"/>
                </a:ext>
              </a:extLst>
            </p:cNvPr>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1" name="Rechte verbindingslijn 190">
              <a:extLst>
                <a:ext uri="{FF2B5EF4-FFF2-40B4-BE49-F238E27FC236}">
                  <a16:creationId xmlns:a16="http://schemas.microsoft.com/office/drawing/2014/main" id="{417C1860-3344-403C-92E1-DB738A16CE45}"/>
                </a:ext>
              </a:extLst>
            </p:cNvPr>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92" name="Picture 3">
              <a:extLst>
                <a:ext uri="{FF2B5EF4-FFF2-40B4-BE49-F238E27FC236}">
                  <a16:creationId xmlns:a16="http://schemas.microsoft.com/office/drawing/2014/main" id="{0486110B-5FAB-4BCF-9517-171CE27DC22F}"/>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3" name="Picture 4">
              <a:extLst>
                <a:ext uri="{FF2B5EF4-FFF2-40B4-BE49-F238E27FC236}">
                  <a16:creationId xmlns:a16="http://schemas.microsoft.com/office/drawing/2014/main" id="{3E2A6C1E-9F7D-4F84-AC44-5D888AC49039}"/>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94" name="Groep 193">
              <a:extLst>
                <a:ext uri="{FF2B5EF4-FFF2-40B4-BE49-F238E27FC236}">
                  <a16:creationId xmlns:a16="http://schemas.microsoft.com/office/drawing/2014/main" id="{5800B996-86B1-405F-B0A7-7EF6819FB5E2}"/>
                </a:ext>
              </a:extLst>
            </p:cNvPr>
            <p:cNvGrpSpPr/>
            <p:nvPr userDrawn="1"/>
          </p:nvGrpSpPr>
          <p:grpSpPr>
            <a:xfrm>
              <a:off x="-2098870" y="523279"/>
              <a:ext cx="435437" cy="427699"/>
              <a:chOff x="-1085063" y="758027"/>
              <a:chExt cx="633800" cy="622540"/>
            </a:xfrm>
          </p:grpSpPr>
          <p:sp>
            <p:nvSpPr>
              <p:cNvPr id="235" name="Afgeronde rechthoek 133">
                <a:extLst>
                  <a:ext uri="{FF2B5EF4-FFF2-40B4-BE49-F238E27FC236}">
                    <a16:creationId xmlns:a16="http://schemas.microsoft.com/office/drawing/2014/main" id="{F65C239D-6473-4B55-9409-D70DCFFA0847}"/>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236" name="Groep 235">
                <a:extLst>
                  <a:ext uri="{FF2B5EF4-FFF2-40B4-BE49-F238E27FC236}">
                    <a16:creationId xmlns:a16="http://schemas.microsoft.com/office/drawing/2014/main" id="{E2E95376-EE4D-4D81-AF06-22C7591B38B3}"/>
                  </a:ext>
                </a:extLst>
              </p:cNvPr>
              <p:cNvGrpSpPr/>
              <p:nvPr userDrawn="1"/>
            </p:nvGrpSpPr>
            <p:grpSpPr>
              <a:xfrm>
                <a:off x="-977746" y="864082"/>
                <a:ext cx="419166" cy="410430"/>
                <a:chOff x="6366933" y="309013"/>
                <a:chExt cx="1901295" cy="1861668"/>
              </a:xfrm>
              <a:solidFill>
                <a:schemeClr val="tx1"/>
              </a:solidFill>
            </p:grpSpPr>
            <p:sp>
              <p:nvSpPr>
                <p:cNvPr id="237" name="Rechthoek 236">
                  <a:extLst>
                    <a:ext uri="{FF2B5EF4-FFF2-40B4-BE49-F238E27FC236}">
                      <a16:creationId xmlns:a16="http://schemas.microsoft.com/office/drawing/2014/main" id="{60640E77-E576-4F8B-A3DE-543A1F7EF80E}"/>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8" name="Rechthoek 237">
                  <a:extLst>
                    <a:ext uri="{FF2B5EF4-FFF2-40B4-BE49-F238E27FC236}">
                      <a16:creationId xmlns:a16="http://schemas.microsoft.com/office/drawing/2014/main" id="{AF4726DB-4276-4E22-A509-425906EAB35D}"/>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9" name="Rechthoek 238">
                  <a:extLst>
                    <a:ext uri="{FF2B5EF4-FFF2-40B4-BE49-F238E27FC236}">
                      <a16:creationId xmlns:a16="http://schemas.microsoft.com/office/drawing/2014/main" id="{628A12B4-A330-42BE-8925-4D811328769A}"/>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0" name="Rechthoek 239">
                  <a:extLst>
                    <a:ext uri="{FF2B5EF4-FFF2-40B4-BE49-F238E27FC236}">
                      <a16:creationId xmlns:a16="http://schemas.microsoft.com/office/drawing/2014/main" id="{8C024AC8-840D-4C9F-A9E1-D943810BC5C6}"/>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1" name="Rechthoek 240">
                  <a:extLst>
                    <a:ext uri="{FF2B5EF4-FFF2-40B4-BE49-F238E27FC236}">
                      <a16:creationId xmlns:a16="http://schemas.microsoft.com/office/drawing/2014/main" id="{241BA735-8102-4BE5-9D22-0FB8FC4ACB43}"/>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2" name="Rechthoek 241">
                  <a:extLst>
                    <a:ext uri="{FF2B5EF4-FFF2-40B4-BE49-F238E27FC236}">
                      <a16:creationId xmlns:a16="http://schemas.microsoft.com/office/drawing/2014/main" id="{CC3310A4-380E-4371-B9A0-0002A55790B8}"/>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3" name="Rechthoek 242">
                  <a:extLst>
                    <a:ext uri="{FF2B5EF4-FFF2-40B4-BE49-F238E27FC236}">
                      <a16:creationId xmlns:a16="http://schemas.microsoft.com/office/drawing/2014/main" id="{CB5D850E-9E08-409E-8151-95501FD6FC1A}"/>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4" name="Rechthoek 243">
                  <a:extLst>
                    <a:ext uri="{FF2B5EF4-FFF2-40B4-BE49-F238E27FC236}">
                      <a16:creationId xmlns:a16="http://schemas.microsoft.com/office/drawing/2014/main" id="{7259E775-5095-4C33-994D-97464808C3F2}"/>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5" name="Rechthoek 244">
                  <a:extLst>
                    <a:ext uri="{FF2B5EF4-FFF2-40B4-BE49-F238E27FC236}">
                      <a16:creationId xmlns:a16="http://schemas.microsoft.com/office/drawing/2014/main" id="{44DE5BD8-5B5B-4BB5-BBA3-1A9313E6C2EE}"/>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6" name="Rechthoek 245">
                  <a:extLst>
                    <a:ext uri="{FF2B5EF4-FFF2-40B4-BE49-F238E27FC236}">
                      <a16:creationId xmlns:a16="http://schemas.microsoft.com/office/drawing/2014/main" id="{DE4A8190-E5DE-472D-91A7-FF737E002D5C}"/>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7" name="Vrije vorm 145">
                  <a:extLst>
                    <a:ext uri="{FF2B5EF4-FFF2-40B4-BE49-F238E27FC236}">
                      <a16:creationId xmlns:a16="http://schemas.microsoft.com/office/drawing/2014/main" id="{B782C299-8E08-4612-B2BE-379B406F646F}"/>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195" name="Groep 194">
              <a:extLst>
                <a:ext uri="{FF2B5EF4-FFF2-40B4-BE49-F238E27FC236}">
                  <a16:creationId xmlns:a16="http://schemas.microsoft.com/office/drawing/2014/main" id="{C47676CA-C006-43B0-A021-523858EB8319}"/>
                </a:ext>
              </a:extLst>
            </p:cNvPr>
            <p:cNvGrpSpPr/>
            <p:nvPr userDrawn="1"/>
          </p:nvGrpSpPr>
          <p:grpSpPr>
            <a:xfrm>
              <a:off x="-2095303" y="1071657"/>
              <a:ext cx="435437" cy="427699"/>
              <a:chOff x="-1845083" y="758027"/>
              <a:chExt cx="633800" cy="622540"/>
            </a:xfrm>
          </p:grpSpPr>
          <p:sp>
            <p:nvSpPr>
              <p:cNvPr id="222" name="Afgeronde rechthoek 120">
                <a:extLst>
                  <a:ext uri="{FF2B5EF4-FFF2-40B4-BE49-F238E27FC236}">
                    <a16:creationId xmlns:a16="http://schemas.microsoft.com/office/drawing/2014/main" id="{957D801A-4D46-410E-BC32-1F67F0070310}"/>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223" name="Groep 222">
                <a:extLst>
                  <a:ext uri="{FF2B5EF4-FFF2-40B4-BE49-F238E27FC236}">
                    <a16:creationId xmlns:a16="http://schemas.microsoft.com/office/drawing/2014/main" id="{380E4D61-6310-4F84-920D-28F90C8467ED}"/>
                  </a:ext>
                </a:extLst>
              </p:cNvPr>
              <p:cNvGrpSpPr/>
              <p:nvPr userDrawn="1"/>
            </p:nvGrpSpPr>
            <p:grpSpPr>
              <a:xfrm>
                <a:off x="-1737766" y="864082"/>
                <a:ext cx="419166" cy="410430"/>
                <a:chOff x="3708400" y="309013"/>
                <a:chExt cx="1901295" cy="1861668"/>
              </a:xfrm>
              <a:solidFill>
                <a:schemeClr val="tx1"/>
              </a:solidFill>
            </p:grpSpPr>
            <p:sp>
              <p:nvSpPr>
                <p:cNvPr id="224" name="Rechthoek 223">
                  <a:extLst>
                    <a:ext uri="{FF2B5EF4-FFF2-40B4-BE49-F238E27FC236}">
                      <a16:creationId xmlns:a16="http://schemas.microsoft.com/office/drawing/2014/main" id="{429181D3-70C3-47D0-A3B1-00BBDB7D20B9}"/>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5" name="Rechthoek 224">
                  <a:extLst>
                    <a:ext uri="{FF2B5EF4-FFF2-40B4-BE49-F238E27FC236}">
                      <a16:creationId xmlns:a16="http://schemas.microsoft.com/office/drawing/2014/main" id="{7EFA8DE9-78AA-46EE-99A8-5482510D5DA2}"/>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6" name="Rechthoek 225">
                  <a:extLst>
                    <a:ext uri="{FF2B5EF4-FFF2-40B4-BE49-F238E27FC236}">
                      <a16:creationId xmlns:a16="http://schemas.microsoft.com/office/drawing/2014/main" id="{0A76CA56-587E-4961-987D-9EEA9BDC8172}"/>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7" name="Rechthoek 226">
                  <a:extLst>
                    <a:ext uri="{FF2B5EF4-FFF2-40B4-BE49-F238E27FC236}">
                      <a16:creationId xmlns:a16="http://schemas.microsoft.com/office/drawing/2014/main" id="{A51CC9F4-44C8-4F03-A23E-DDC481992B8B}"/>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8" name="Rechthoek 227">
                  <a:extLst>
                    <a:ext uri="{FF2B5EF4-FFF2-40B4-BE49-F238E27FC236}">
                      <a16:creationId xmlns:a16="http://schemas.microsoft.com/office/drawing/2014/main" id="{800F1F35-163F-4713-BB04-132B6BBCDD8F}"/>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9" name="Rechthoek 228">
                  <a:extLst>
                    <a:ext uri="{FF2B5EF4-FFF2-40B4-BE49-F238E27FC236}">
                      <a16:creationId xmlns:a16="http://schemas.microsoft.com/office/drawing/2014/main" id="{FCA73163-55E2-4F5F-A694-0AAEA2A7B364}"/>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0" name="Rechthoek 229">
                  <a:extLst>
                    <a:ext uri="{FF2B5EF4-FFF2-40B4-BE49-F238E27FC236}">
                      <a16:creationId xmlns:a16="http://schemas.microsoft.com/office/drawing/2014/main" id="{7DB6CD0F-61CD-46A4-9417-D67C3D32CAC5}"/>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1" name="Rechthoek 230">
                  <a:extLst>
                    <a:ext uri="{FF2B5EF4-FFF2-40B4-BE49-F238E27FC236}">
                      <a16:creationId xmlns:a16="http://schemas.microsoft.com/office/drawing/2014/main" id="{7B68A9B7-E087-4B48-A1F9-2569E4C7DC59}"/>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2" name="Rechthoek 231">
                  <a:extLst>
                    <a:ext uri="{FF2B5EF4-FFF2-40B4-BE49-F238E27FC236}">
                      <a16:creationId xmlns:a16="http://schemas.microsoft.com/office/drawing/2014/main" id="{672A2558-EE73-4CF8-8184-F12862D978B6}"/>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3" name="Rechthoek 232">
                  <a:extLst>
                    <a:ext uri="{FF2B5EF4-FFF2-40B4-BE49-F238E27FC236}">
                      <a16:creationId xmlns:a16="http://schemas.microsoft.com/office/drawing/2014/main" id="{3E8EE8D7-729C-40C9-8408-2EFCEC2E362A}"/>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4" name="Vrije vorm 132">
                  <a:extLst>
                    <a:ext uri="{FF2B5EF4-FFF2-40B4-BE49-F238E27FC236}">
                      <a16:creationId xmlns:a16="http://schemas.microsoft.com/office/drawing/2014/main" id="{5821540C-2DE2-4D52-8A5F-B9CBD6F1F9E7}"/>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196" name="Rechte verbindingslijn 195">
              <a:extLst>
                <a:ext uri="{FF2B5EF4-FFF2-40B4-BE49-F238E27FC236}">
                  <a16:creationId xmlns:a16="http://schemas.microsoft.com/office/drawing/2014/main" id="{DBB72C02-A948-488F-8D51-E93F1683F52C}"/>
                </a:ext>
              </a:extLst>
            </p:cNvPr>
            <p:cNvCxnSpPr>
              <a:stCxn id="198" idx="2"/>
              <a:endCxn id="222"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7" name="Rechte verbindingslijn 196">
              <a:extLst>
                <a:ext uri="{FF2B5EF4-FFF2-40B4-BE49-F238E27FC236}">
                  <a16:creationId xmlns:a16="http://schemas.microsoft.com/office/drawing/2014/main" id="{97C83BC5-09E1-4A32-920D-2BAAA54EF8B4}"/>
                </a:ext>
              </a:extLst>
            </p:cNvPr>
            <p:cNvCxnSpPr>
              <a:stCxn id="199" idx="3"/>
              <a:endCxn id="235"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98" name="Ovaal 197">
              <a:extLst>
                <a:ext uri="{FF2B5EF4-FFF2-40B4-BE49-F238E27FC236}">
                  <a16:creationId xmlns:a16="http://schemas.microsoft.com/office/drawing/2014/main" id="{CADB6663-9D71-41C8-897A-4CCFA219BCAF}"/>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99" name="Ovaal 198">
              <a:extLst>
                <a:ext uri="{FF2B5EF4-FFF2-40B4-BE49-F238E27FC236}">
                  <a16:creationId xmlns:a16="http://schemas.microsoft.com/office/drawing/2014/main" id="{C4F4C7D6-7FB7-4396-85D8-76DE7B2F9C6B}"/>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00" name="Textfield placeholder">
              <a:extLst>
                <a:ext uri="{FF2B5EF4-FFF2-40B4-BE49-F238E27FC236}">
                  <a16:creationId xmlns:a16="http://schemas.microsoft.com/office/drawing/2014/main" id="{C92D4F55-4640-4B3E-B663-187B230D3930}"/>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201" name="Textfield placeholder">
              <a:extLst>
                <a:ext uri="{FF2B5EF4-FFF2-40B4-BE49-F238E27FC236}">
                  <a16:creationId xmlns:a16="http://schemas.microsoft.com/office/drawing/2014/main" id="{C5198020-8055-40CA-AD0F-C999BA8E1724}"/>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202" name="Ovaal 201">
              <a:extLst>
                <a:ext uri="{FF2B5EF4-FFF2-40B4-BE49-F238E27FC236}">
                  <a16:creationId xmlns:a16="http://schemas.microsoft.com/office/drawing/2014/main" id="{FBCD639A-E439-4FDE-AE50-7D766A8436B0}"/>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203" name="Ovaal 202">
              <a:extLst>
                <a:ext uri="{FF2B5EF4-FFF2-40B4-BE49-F238E27FC236}">
                  <a16:creationId xmlns:a16="http://schemas.microsoft.com/office/drawing/2014/main" id="{6A7F2842-ED6F-4C7B-A12F-2D2BA0745D31}"/>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204" name="Ovaal 203">
              <a:extLst>
                <a:ext uri="{FF2B5EF4-FFF2-40B4-BE49-F238E27FC236}">
                  <a16:creationId xmlns:a16="http://schemas.microsoft.com/office/drawing/2014/main" id="{770D80E5-913F-442F-A2D2-9E860C8E261D}"/>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205" name="Ovaal 204">
              <a:extLst>
                <a:ext uri="{FF2B5EF4-FFF2-40B4-BE49-F238E27FC236}">
                  <a16:creationId xmlns:a16="http://schemas.microsoft.com/office/drawing/2014/main" id="{6B32130D-A2C1-49A9-9087-E14D8EF31925}"/>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206" name="Ovaal 205">
              <a:extLst>
                <a:ext uri="{FF2B5EF4-FFF2-40B4-BE49-F238E27FC236}">
                  <a16:creationId xmlns:a16="http://schemas.microsoft.com/office/drawing/2014/main" id="{0E890686-0483-4A92-8E6A-26B986740EA5}"/>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207" name="Textfield placeholder">
              <a:extLst>
                <a:ext uri="{FF2B5EF4-FFF2-40B4-BE49-F238E27FC236}">
                  <a16:creationId xmlns:a16="http://schemas.microsoft.com/office/drawing/2014/main" id="{BAD85D61-7F17-4C50-94A2-D7B32BBBCA1D}"/>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08" name="Textfield placeholder">
              <a:extLst>
                <a:ext uri="{FF2B5EF4-FFF2-40B4-BE49-F238E27FC236}">
                  <a16:creationId xmlns:a16="http://schemas.microsoft.com/office/drawing/2014/main" id="{35CF16E5-677D-4B6A-85ED-D638F2035531}"/>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09" name="Textfield placeholder">
              <a:extLst>
                <a:ext uri="{FF2B5EF4-FFF2-40B4-BE49-F238E27FC236}">
                  <a16:creationId xmlns:a16="http://schemas.microsoft.com/office/drawing/2014/main" id="{ED7CEC29-CB74-41CA-A976-A5F5ECF65AC7}"/>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10" name="Textfield placeholder">
              <a:extLst>
                <a:ext uri="{FF2B5EF4-FFF2-40B4-BE49-F238E27FC236}">
                  <a16:creationId xmlns:a16="http://schemas.microsoft.com/office/drawing/2014/main" id="{FDF3903B-A275-4E08-BFFA-9F55C3984D6B}"/>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211" name="Textfield placeholder">
              <a:extLst>
                <a:ext uri="{FF2B5EF4-FFF2-40B4-BE49-F238E27FC236}">
                  <a16:creationId xmlns:a16="http://schemas.microsoft.com/office/drawing/2014/main" id="{240F6E0C-EB3F-4424-A48B-AC6BCC84AF40}"/>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12" name="Groep 211">
              <a:extLst>
                <a:ext uri="{FF2B5EF4-FFF2-40B4-BE49-F238E27FC236}">
                  <a16:creationId xmlns:a16="http://schemas.microsoft.com/office/drawing/2014/main" id="{456F1827-C4B8-4757-B496-A2AD546DEFC9}"/>
                </a:ext>
              </a:extLst>
            </p:cNvPr>
            <p:cNvGrpSpPr/>
            <p:nvPr userDrawn="1"/>
          </p:nvGrpSpPr>
          <p:grpSpPr>
            <a:xfrm>
              <a:off x="-950342" y="1837957"/>
              <a:ext cx="687412" cy="3758146"/>
              <a:chOff x="-740196" y="1837957"/>
              <a:chExt cx="1374825" cy="3758146"/>
            </a:xfrm>
          </p:grpSpPr>
          <p:sp>
            <p:nvSpPr>
              <p:cNvPr id="213" name="Textfield placeholder">
                <a:extLst>
                  <a:ext uri="{FF2B5EF4-FFF2-40B4-BE49-F238E27FC236}">
                    <a16:creationId xmlns:a16="http://schemas.microsoft.com/office/drawing/2014/main" id="{AD6E94A4-652D-4688-ABD7-3511789B594F}"/>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14" name="Textfield placeholder">
                <a:extLst>
                  <a:ext uri="{FF2B5EF4-FFF2-40B4-BE49-F238E27FC236}">
                    <a16:creationId xmlns:a16="http://schemas.microsoft.com/office/drawing/2014/main" id="{896F50D9-8D31-4CAF-86A9-32EAEC491098}"/>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15" name="Textfield placeholder">
                <a:extLst>
                  <a:ext uri="{FF2B5EF4-FFF2-40B4-BE49-F238E27FC236}">
                    <a16:creationId xmlns:a16="http://schemas.microsoft.com/office/drawing/2014/main" id="{ED14985B-7626-44F5-8A84-E4107A5F2977}"/>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6" name="Textfield placeholder">
                <a:extLst>
                  <a:ext uri="{FF2B5EF4-FFF2-40B4-BE49-F238E27FC236}">
                    <a16:creationId xmlns:a16="http://schemas.microsoft.com/office/drawing/2014/main" id="{9DED9536-BDD6-4D8A-8EA0-0BC2204644E7}"/>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217" name="Textfield placeholder">
                <a:extLst>
                  <a:ext uri="{FF2B5EF4-FFF2-40B4-BE49-F238E27FC236}">
                    <a16:creationId xmlns:a16="http://schemas.microsoft.com/office/drawing/2014/main" id="{11F06DCE-FE30-4F31-AD1A-E72483A08286}"/>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218" name="Textfield placeholder">
                <a:extLst>
                  <a:ext uri="{FF2B5EF4-FFF2-40B4-BE49-F238E27FC236}">
                    <a16:creationId xmlns:a16="http://schemas.microsoft.com/office/drawing/2014/main" id="{4D6699F5-E321-40D0-A8E4-E8777AA63202}"/>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9" name="Textfield placeholder">
                <a:extLst>
                  <a:ext uri="{FF2B5EF4-FFF2-40B4-BE49-F238E27FC236}">
                    <a16:creationId xmlns:a16="http://schemas.microsoft.com/office/drawing/2014/main" id="{BB07B059-754A-47D0-9C17-E0DC9524F0C3}"/>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20" name="Textfield placeholder">
                <a:extLst>
                  <a:ext uri="{FF2B5EF4-FFF2-40B4-BE49-F238E27FC236}">
                    <a16:creationId xmlns:a16="http://schemas.microsoft.com/office/drawing/2014/main" id="{D82BC716-5D19-484F-8E87-F471D56550F6}"/>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221" name="Textfield placeholder">
                <a:extLst>
                  <a:ext uri="{FF2B5EF4-FFF2-40B4-BE49-F238E27FC236}">
                    <a16:creationId xmlns:a16="http://schemas.microsoft.com/office/drawing/2014/main" id="{2BAAB652-E4F6-4D7D-B986-6F3CC0A9C0E4}"/>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spTree>
    <p:extLst>
      <p:ext uri="{BB962C8B-B14F-4D97-AF65-F5344CB8AC3E}">
        <p14:creationId xmlns:p14="http://schemas.microsoft.com/office/powerpoint/2010/main" val="174258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bject (XL)">
    <p:spTree>
      <p:nvGrpSpPr>
        <p:cNvPr id="1" name=""/>
        <p:cNvGrpSpPr/>
        <p:nvPr/>
      </p:nvGrpSpPr>
      <p:grpSpPr>
        <a:xfrm>
          <a:off x="0" y="0"/>
          <a:ext cx="0" cy="0"/>
          <a:chOff x="0" y="0"/>
          <a:chExt cx="0" cy="0"/>
        </a:xfrm>
      </p:grpSpPr>
      <p:sp>
        <p:nvSpPr>
          <p:cNvPr id="79" name="Rechthoek 78"/>
          <p:cNvSpPr/>
          <p:nvPr userDrawn="1"/>
        </p:nvSpPr>
        <p:spPr>
          <a:xfrm>
            <a:off x="0" y="1424764"/>
            <a:ext cx="12195175" cy="455286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tel 1"/>
          <p:cNvSpPr>
            <a:spLocks noGrp="1"/>
          </p:cNvSpPr>
          <p:nvPr>
            <p:ph type="title"/>
          </p:nvPr>
        </p:nvSpPr>
        <p:spPr/>
        <p:txBody>
          <a:bodyPr/>
          <a:lstStyle/>
          <a:p>
            <a:r>
              <a:rPr lang="nl-NL"/>
              <a:t>Klik om stijl te bewerken</a:t>
            </a:r>
            <a:endParaRPr lang="en-GB"/>
          </a:p>
        </p:txBody>
      </p:sp>
      <p:sp>
        <p:nvSpPr>
          <p:cNvPr id="4" name="Tijdelijke aanduiding voor datum 3"/>
          <p:cNvSpPr>
            <a:spLocks noGrp="1"/>
          </p:cNvSpPr>
          <p:nvPr>
            <p:ph type="dt" sz="half" idx="10"/>
          </p:nvPr>
        </p:nvSpPr>
        <p:spPr/>
        <p:txBody>
          <a:bodyPr/>
          <a:lstStyle/>
          <a:p>
            <a:fld id="{BE86D1CA-3C51-4CCF-9541-F18B21BB8908}"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9" name="Tijdelijke aanduiding voor inhoud 2"/>
          <p:cNvSpPr>
            <a:spLocks noGrp="1"/>
          </p:cNvSpPr>
          <p:nvPr>
            <p:ph idx="14"/>
          </p:nvPr>
        </p:nvSpPr>
        <p:spPr>
          <a:xfrm>
            <a:off x="385011" y="1641026"/>
            <a:ext cx="11397072" cy="3586067"/>
          </a:xfrm>
          <a:noFill/>
        </p:spPr>
        <p:txBody>
          <a:bodyPr anchor="ctr"/>
          <a:lstStyle>
            <a:lvl1pPr algn="ctr">
              <a:defRPr sz="1200"/>
            </a:lvl1pPr>
          </a:lstStyle>
          <a:p>
            <a:pPr lvl="0"/>
            <a:r>
              <a:rPr lang="nl-NL" dirty="0"/>
              <a:t>Klikken om de tekststijl van het model te bewerken</a:t>
            </a:r>
          </a:p>
        </p:txBody>
      </p:sp>
      <p:sp>
        <p:nvSpPr>
          <p:cNvPr id="11" name="Tekstvak 10"/>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Object (XL)</a:t>
            </a:r>
            <a:r>
              <a:rPr lang="nl-NL" sz="1333" b="0" kern="1200" dirty="0">
                <a:solidFill>
                  <a:schemeClr val="accent6"/>
                </a:solidFill>
                <a:latin typeface="+mj-lt"/>
                <a:ea typeface="+mn-ea"/>
                <a:cs typeface="+mn-cs"/>
              </a:rPr>
              <a:t> + Titel + onderschrift</a:t>
            </a:r>
            <a:endParaRPr lang="nl-NL" sz="1333" b="0" dirty="0">
              <a:solidFill>
                <a:schemeClr val="accent6"/>
              </a:solidFill>
              <a:latin typeface="+mj-lt"/>
            </a:endParaRPr>
          </a:p>
        </p:txBody>
      </p:sp>
      <p:sp>
        <p:nvSpPr>
          <p:cNvPr id="12" name="Tijdelijke aanduiding voor verticale tekst 2"/>
          <p:cNvSpPr>
            <a:spLocks noGrp="1"/>
          </p:cNvSpPr>
          <p:nvPr>
            <p:ph type="body" orient="vert" idx="15" hasCustomPrompt="1"/>
          </p:nvPr>
        </p:nvSpPr>
        <p:spPr>
          <a:xfrm>
            <a:off x="1" y="5472970"/>
            <a:ext cx="12195174" cy="504000"/>
          </a:xfrm>
          <a:solidFill>
            <a:schemeClr val="accent2"/>
          </a:solidFill>
        </p:spPr>
        <p:txBody>
          <a:bodyPr vert="horz" lIns="540000" tIns="36000" rIns="216000" bIns="0" anchor="ctr"/>
          <a:lstStyle>
            <a:lvl1pPr algn="l">
              <a:defRPr sz="1800" b="0">
                <a:solidFill>
                  <a:schemeClr val="tx2"/>
                </a:solidFill>
              </a:defRPr>
            </a:lvl1pPr>
          </a:lstStyle>
          <a:p>
            <a:pPr lvl="0"/>
            <a:r>
              <a:rPr lang="nl-NL" dirty="0"/>
              <a:t>Onderschrift</a:t>
            </a:r>
          </a:p>
        </p:txBody>
      </p:sp>
      <p:grpSp>
        <p:nvGrpSpPr>
          <p:cNvPr id="80" name="Groep 79">
            <a:extLst>
              <a:ext uri="{FF2B5EF4-FFF2-40B4-BE49-F238E27FC236}">
                <a16:creationId xmlns:a16="http://schemas.microsoft.com/office/drawing/2014/main" id="{64F76CB1-1ACF-4A81-A9BF-4FD57690D999}"/>
              </a:ext>
            </a:extLst>
          </p:cNvPr>
          <p:cNvGrpSpPr/>
          <p:nvPr userDrawn="1"/>
        </p:nvGrpSpPr>
        <p:grpSpPr>
          <a:xfrm>
            <a:off x="12363871" y="-26002"/>
            <a:ext cx="3064812" cy="6864697"/>
            <a:chOff x="12363871" y="-26002"/>
            <a:chExt cx="3064812" cy="6864697"/>
          </a:xfrm>
        </p:grpSpPr>
        <p:sp>
          <p:nvSpPr>
            <p:cNvPr id="81" name="Tekstvak 33">
              <a:extLst>
                <a:ext uri="{FF2B5EF4-FFF2-40B4-BE49-F238E27FC236}">
                  <a16:creationId xmlns:a16="http://schemas.microsoft.com/office/drawing/2014/main" id="{CD181A6D-A1E0-4EC7-8C71-799DB06D7CF4}"/>
                </a:ext>
              </a:extLst>
            </p:cNvPr>
            <p:cNvSpPr txBox="1"/>
            <p:nvPr userDrawn="1"/>
          </p:nvSpPr>
          <p:spPr>
            <a:xfrm>
              <a:off x="12537681" y="1001584"/>
              <a:ext cx="2285302" cy="430887"/>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 om een grafiek in te voegen</a:t>
              </a:r>
            </a:p>
          </p:txBody>
        </p:sp>
        <p:sp>
          <p:nvSpPr>
            <p:cNvPr id="82" name="Tekstvak 33">
              <a:extLst>
                <a:ext uri="{FF2B5EF4-FFF2-40B4-BE49-F238E27FC236}">
                  <a16:creationId xmlns:a16="http://schemas.microsoft.com/office/drawing/2014/main" id="{5066F669-9BE1-4DC2-A615-90F599859041}"/>
                </a:ext>
              </a:extLst>
            </p:cNvPr>
            <p:cNvSpPr txBox="1"/>
            <p:nvPr userDrawn="1"/>
          </p:nvSpPr>
          <p:spPr>
            <a:xfrm>
              <a:off x="12537681"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Selecteer de grafiek die u wilt invoegen en klik op </a:t>
              </a:r>
              <a:r>
                <a:rPr kumimoji="0" lang="nl-NL" sz="1400" b="1"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p>
          </p:txBody>
        </p:sp>
        <p:sp>
          <p:nvSpPr>
            <p:cNvPr id="83" name="Ovaal 82">
              <a:extLst>
                <a:ext uri="{FF2B5EF4-FFF2-40B4-BE49-F238E27FC236}">
                  <a16:creationId xmlns:a16="http://schemas.microsoft.com/office/drawing/2014/main" id="{CCFB2B05-34D2-42AD-B560-B4400FC7292D}"/>
                </a:ext>
              </a:extLst>
            </p:cNvPr>
            <p:cNvSpPr/>
            <p:nvPr userDrawn="1"/>
          </p:nvSpPr>
          <p:spPr>
            <a:xfrm>
              <a:off x="12494665"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84" name="Ovaal 83">
              <a:extLst>
                <a:ext uri="{FF2B5EF4-FFF2-40B4-BE49-F238E27FC236}">
                  <a16:creationId xmlns:a16="http://schemas.microsoft.com/office/drawing/2014/main" id="{0EA3654F-8C1C-433A-BB09-262549F2AB05}"/>
                </a:ext>
              </a:extLst>
            </p:cNvPr>
            <p:cNvSpPr/>
            <p:nvPr userDrawn="1"/>
          </p:nvSpPr>
          <p:spPr>
            <a:xfrm>
              <a:off x="12494665"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85" name="Picture 3">
              <a:extLst>
                <a:ext uri="{FF2B5EF4-FFF2-40B4-BE49-F238E27FC236}">
                  <a16:creationId xmlns:a16="http://schemas.microsoft.com/office/drawing/2014/main" id="{06B43D0E-A248-4FF5-B2C2-256CEFC6634B}"/>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2535130"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86" name="Picture 3">
              <a:extLst>
                <a:ext uri="{FF2B5EF4-FFF2-40B4-BE49-F238E27FC236}">
                  <a16:creationId xmlns:a16="http://schemas.microsoft.com/office/drawing/2014/main" id="{B36FA780-D465-46D1-91C4-CAB713BE5073}"/>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2604588"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87" name="Tekstvak 86">
              <a:extLst>
                <a:ext uri="{FF2B5EF4-FFF2-40B4-BE49-F238E27FC236}">
                  <a16:creationId xmlns:a16="http://schemas.microsoft.com/office/drawing/2014/main" id="{F618D81D-9E8A-46BB-B214-01CDD288713D}"/>
                </a:ext>
              </a:extLst>
            </p:cNvPr>
            <p:cNvSpPr txBox="1"/>
            <p:nvPr userDrawn="1"/>
          </p:nvSpPr>
          <p:spPr>
            <a:xfrm>
              <a:off x="12560359" y="4020160"/>
              <a:ext cx="88636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outerShdw blurRad="25400" algn="ctr" rotWithShape="0">
                      <a:prstClr val="white"/>
                    </a:outerShdw>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outerShdw blurRad="25400" algn="ctr" rotWithShape="0">
                    <a:prstClr val="white"/>
                  </a:outerShdw>
                </a:effectLst>
                <a:uLnTx/>
                <a:uFillTx/>
                <a:latin typeface="+mj-lt"/>
              </a:endParaRPr>
            </a:p>
          </p:txBody>
        </p:sp>
        <p:sp>
          <p:nvSpPr>
            <p:cNvPr id="88" name="Rechthoek 87">
              <a:extLst>
                <a:ext uri="{FF2B5EF4-FFF2-40B4-BE49-F238E27FC236}">
                  <a16:creationId xmlns:a16="http://schemas.microsoft.com/office/drawing/2014/main" id="{7D4C5A89-4E75-48EF-9538-681A46B3801A}"/>
                </a:ext>
              </a:extLst>
            </p:cNvPr>
            <p:cNvSpPr/>
            <p:nvPr userDrawn="1"/>
          </p:nvSpPr>
          <p:spPr>
            <a:xfrm>
              <a:off x="12363871"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GRAFIEK INVOEGEN</a:t>
              </a:r>
            </a:p>
          </p:txBody>
        </p:sp>
        <p:cxnSp>
          <p:nvCxnSpPr>
            <p:cNvPr id="89" name="Rechte verbindingslijn 88">
              <a:extLst>
                <a:ext uri="{FF2B5EF4-FFF2-40B4-BE49-F238E27FC236}">
                  <a16:creationId xmlns:a16="http://schemas.microsoft.com/office/drawing/2014/main" id="{07C556F0-8D49-4448-8943-D90CAF5FF6B4}"/>
                </a:ext>
              </a:extLst>
            </p:cNvPr>
            <p:cNvCxnSpPr/>
            <p:nvPr userDrawn="1"/>
          </p:nvCxnSpPr>
          <p:spPr>
            <a:xfrm>
              <a:off x="12507575" y="33168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0" name="Rechte verbindingslijn 89">
              <a:extLst>
                <a:ext uri="{FF2B5EF4-FFF2-40B4-BE49-F238E27FC236}">
                  <a16:creationId xmlns:a16="http://schemas.microsoft.com/office/drawing/2014/main" id="{F4EA3B6B-7659-458F-8F6C-A48C0505187D}"/>
                </a:ext>
              </a:extLst>
            </p:cNvPr>
            <p:cNvCxnSpPr/>
            <p:nvPr userDrawn="1"/>
          </p:nvCxnSpPr>
          <p:spPr>
            <a:xfrm>
              <a:off x="12507211" y="253760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1" name="Rechte verbindingslijn 90">
              <a:extLst>
                <a:ext uri="{FF2B5EF4-FFF2-40B4-BE49-F238E27FC236}">
                  <a16:creationId xmlns:a16="http://schemas.microsoft.com/office/drawing/2014/main" id="{2254073D-5C27-463A-8D6B-4E7A7DC77813}"/>
                </a:ext>
              </a:extLst>
            </p:cNvPr>
            <p:cNvCxnSpPr/>
            <p:nvPr userDrawn="1"/>
          </p:nvCxnSpPr>
          <p:spPr>
            <a:xfrm>
              <a:off x="12507575" y="4423040"/>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2" name="Rechte verbindingslijn 91">
              <a:extLst>
                <a:ext uri="{FF2B5EF4-FFF2-40B4-BE49-F238E27FC236}">
                  <a16:creationId xmlns:a16="http://schemas.microsoft.com/office/drawing/2014/main" id="{FEB233DF-81DA-4405-82E3-514613790EFD}"/>
                </a:ext>
              </a:extLst>
            </p:cNvPr>
            <p:cNvCxnSpPr/>
            <p:nvPr userDrawn="1"/>
          </p:nvCxnSpPr>
          <p:spPr>
            <a:xfrm>
              <a:off x="12507575" y="6838695"/>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3" name="Rechte verbindingslijn 92">
              <a:extLst>
                <a:ext uri="{FF2B5EF4-FFF2-40B4-BE49-F238E27FC236}">
                  <a16:creationId xmlns:a16="http://schemas.microsoft.com/office/drawing/2014/main" id="{02D33AD1-18E0-4DCE-93A6-3B6076ED9E42}"/>
                </a:ext>
              </a:extLst>
            </p:cNvPr>
            <p:cNvCxnSpPr/>
            <p:nvPr userDrawn="1"/>
          </p:nvCxnSpPr>
          <p:spPr>
            <a:xfrm>
              <a:off x="12507211" y="4898666"/>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94" name="Groep 93">
              <a:extLst>
                <a:ext uri="{FF2B5EF4-FFF2-40B4-BE49-F238E27FC236}">
                  <a16:creationId xmlns:a16="http://schemas.microsoft.com/office/drawing/2014/main" id="{A5EC2AB6-1AAC-44AD-9876-DB41EDFC7992}"/>
                </a:ext>
              </a:extLst>
            </p:cNvPr>
            <p:cNvGrpSpPr/>
            <p:nvPr userDrawn="1"/>
          </p:nvGrpSpPr>
          <p:grpSpPr>
            <a:xfrm>
              <a:off x="12436353" y="1728359"/>
              <a:ext cx="689983" cy="573048"/>
              <a:chOff x="15171969" y="1587338"/>
              <a:chExt cx="755407" cy="627385"/>
            </a:xfrm>
          </p:grpSpPr>
          <p:sp>
            <p:nvSpPr>
              <p:cNvPr id="133" name="Rechthoek 962">
                <a:extLst>
                  <a:ext uri="{FF2B5EF4-FFF2-40B4-BE49-F238E27FC236}">
                    <a16:creationId xmlns:a16="http://schemas.microsoft.com/office/drawing/2014/main" id="{7A56BC6A-0A35-432F-B580-7475E15C83B8}"/>
                  </a:ext>
                </a:extLst>
              </p:cNvPr>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134" name="Groep 133">
                <a:extLst>
                  <a:ext uri="{FF2B5EF4-FFF2-40B4-BE49-F238E27FC236}">
                    <a16:creationId xmlns:a16="http://schemas.microsoft.com/office/drawing/2014/main" id="{B43AC6C9-AF7E-481D-B0B3-522335114583}"/>
                  </a:ext>
                </a:extLst>
              </p:cNvPr>
              <p:cNvGrpSpPr/>
              <p:nvPr userDrawn="1"/>
            </p:nvGrpSpPr>
            <p:grpSpPr>
              <a:xfrm>
                <a:off x="15281106" y="1587338"/>
                <a:ext cx="511775" cy="560304"/>
                <a:chOff x="10604642" y="969717"/>
                <a:chExt cx="1290643" cy="1427163"/>
              </a:xfrm>
            </p:grpSpPr>
            <p:grpSp>
              <p:nvGrpSpPr>
                <p:cNvPr id="135" name="Group 879">
                  <a:extLst>
                    <a:ext uri="{FF2B5EF4-FFF2-40B4-BE49-F238E27FC236}">
                      <a16:creationId xmlns:a16="http://schemas.microsoft.com/office/drawing/2014/main" id="{0851F6B3-BC6B-4BFA-8867-E606AD7FDAE8}"/>
                    </a:ext>
                  </a:extLst>
                </p:cNvPr>
                <p:cNvGrpSpPr>
                  <a:grpSpLocks noChangeAspect="1"/>
                </p:cNvGrpSpPr>
                <p:nvPr userDrawn="1"/>
              </p:nvGrpSpPr>
              <p:grpSpPr bwMode="auto">
                <a:xfrm>
                  <a:off x="10604642" y="969717"/>
                  <a:ext cx="1290643" cy="1427163"/>
                  <a:chOff x="4798" y="1515"/>
                  <a:chExt cx="813" cy="899"/>
                </a:xfrm>
              </p:grpSpPr>
              <p:sp>
                <p:nvSpPr>
                  <p:cNvPr id="137" name="Freeform 886">
                    <a:extLst>
                      <a:ext uri="{FF2B5EF4-FFF2-40B4-BE49-F238E27FC236}">
                        <a16:creationId xmlns:a16="http://schemas.microsoft.com/office/drawing/2014/main" id="{BA73D104-F5CB-4CD2-B94A-35FF5CE28FC7}"/>
                      </a:ext>
                    </a:extLst>
                  </p:cNvPr>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138" name="Rectangle 880">
                    <a:extLst>
                      <a:ext uri="{FF2B5EF4-FFF2-40B4-BE49-F238E27FC236}">
                        <a16:creationId xmlns:a16="http://schemas.microsoft.com/office/drawing/2014/main" id="{ECC53D84-4709-458F-854B-03F8648BFF97}"/>
                      </a:ext>
                    </a:extLst>
                  </p:cNvPr>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139" name="Rectangle 881">
                    <a:extLst>
                      <a:ext uri="{FF2B5EF4-FFF2-40B4-BE49-F238E27FC236}">
                        <a16:creationId xmlns:a16="http://schemas.microsoft.com/office/drawing/2014/main" id="{09BB9A6D-D2D9-44FA-B5CD-E0A9118946CF}"/>
                      </a:ext>
                    </a:extLst>
                  </p:cNvPr>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140" name="Freeform 882">
                    <a:extLst>
                      <a:ext uri="{FF2B5EF4-FFF2-40B4-BE49-F238E27FC236}">
                        <a16:creationId xmlns:a16="http://schemas.microsoft.com/office/drawing/2014/main" id="{DC44E4EE-E3E5-4991-B1C8-26B9098AF3A9}"/>
                      </a:ext>
                    </a:extLst>
                  </p:cNvPr>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141" name="Freeform 883">
                    <a:extLst>
                      <a:ext uri="{FF2B5EF4-FFF2-40B4-BE49-F238E27FC236}">
                        <a16:creationId xmlns:a16="http://schemas.microsoft.com/office/drawing/2014/main" id="{A2106845-925C-4576-8EB4-8AEC02A539E5}"/>
                      </a:ext>
                    </a:extLst>
                  </p:cNvPr>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142" name="Freeform 884">
                    <a:extLst>
                      <a:ext uri="{FF2B5EF4-FFF2-40B4-BE49-F238E27FC236}">
                        <a16:creationId xmlns:a16="http://schemas.microsoft.com/office/drawing/2014/main" id="{DF2CD5F4-B8F6-498D-BC42-8CC3ACCE8492}"/>
                      </a:ext>
                    </a:extLst>
                  </p:cNvPr>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143" name="Rectangle 885">
                    <a:extLst>
                      <a:ext uri="{FF2B5EF4-FFF2-40B4-BE49-F238E27FC236}">
                        <a16:creationId xmlns:a16="http://schemas.microsoft.com/office/drawing/2014/main" id="{6A4D5091-F6D2-4216-AF26-7C6CCB2FF24E}"/>
                      </a:ext>
                    </a:extLst>
                  </p:cNvPr>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144" name="Rectangle 887">
                    <a:extLst>
                      <a:ext uri="{FF2B5EF4-FFF2-40B4-BE49-F238E27FC236}">
                        <a16:creationId xmlns:a16="http://schemas.microsoft.com/office/drawing/2014/main" id="{FB4EB14F-FBE3-42F2-9AD0-2E35A1FBB4E7}"/>
                      </a:ext>
                    </a:extLst>
                  </p:cNvPr>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145" name="Freeform 888">
                    <a:extLst>
                      <a:ext uri="{FF2B5EF4-FFF2-40B4-BE49-F238E27FC236}">
                        <a16:creationId xmlns:a16="http://schemas.microsoft.com/office/drawing/2014/main" id="{1DF0A859-7622-46F2-9A0D-6BE2BB299FEA}"/>
                      </a:ext>
                    </a:extLst>
                  </p:cNvPr>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136" name="Vrije vorm 84">
                  <a:extLst>
                    <a:ext uri="{FF2B5EF4-FFF2-40B4-BE49-F238E27FC236}">
                      <a16:creationId xmlns:a16="http://schemas.microsoft.com/office/drawing/2014/main" id="{98AC49B6-1BC5-4FF5-B905-08D02F661F89}"/>
                    </a:ext>
                  </a:extLst>
                </p:cNvPr>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95" name="Groep 94">
              <a:extLst>
                <a:ext uri="{FF2B5EF4-FFF2-40B4-BE49-F238E27FC236}">
                  <a16:creationId xmlns:a16="http://schemas.microsoft.com/office/drawing/2014/main" id="{F77D2D48-7FC0-4256-8949-8E19E9042ECD}"/>
                </a:ext>
              </a:extLst>
            </p:cNvPr>
            <p:cNvGrpSpPr/>
            <p:nvPr userDrawn="1"/>
          </p:nvGrpSpPr>
          <p:grpSpPr>
            <a:xfrm>
              <a:off x="12548778" y="6003628"/>
              <a:ext cx="1980859" cy="542924"/>
              <a:chOff x="12390702" y="6054428"/>
              <a:chExt cx="1980859" cy="542924"/>
            </a:xfrm>
          </p:grpSpPr>
          <p:sp>
            <p:nvSpPr>
              <p:cNvPr id="99" name="Rechthoek 98">
                <a:extLst>
                  <a:ext uri="{FF2B5EF4-FFF2-40B4-BE49-F238E27FC236}">
                    <a16:creationId xmlns:a16="http://schemas.microsoft.com/office/drawing/2014/main" id="{8EE46F79-DFB6-4D95-8978-297A32823033}"/>
                  </a:ext>
                </a:extLst>
              </p:cNvPr>
              <p:cNvSpPr/>
              <p:nvPr/>
            </p:nvSpPr>
            <p:spPr>
              <a:xfrm>
                <a:off x="12402284" y="6054428"/>
                <a:ext cx="1969277" cy="542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100" name="Rechthoek 99">
                <a:extLst>
                  <a:ext uri="{FF2B5EF4-FFF2-40B4-BE49-F238E27FC236}">
                    <a16:creationId xmlns:a16="http://schemas.microsoft.com/office/drawing/2014/main" id="{CB61AFB5-26F8-499E-BBEA-F50DBD28FD8F}"/>
                  </a:ext>
                </a:extLst>
              </p:cNvPr>
              <p:cNvSpPr/>
              <p:nvPr/>
            </p:nvSpPr>
            <p:spPr>
              <a:xfrm>
                <a:off x="12662053" y="6062530"/>
                <a:ext cx="1452642" cy="261610"/>
              </a:xfrm>
              <a:prstGeom prst="rect">
                <a:avLst/>
              </a:prstGeom>
            </p:spPr>
            <p:txBody>
              <a:bodyPr wrap="none">
                <a:spAutoFit/>
              </a:bodyPr>
              <a:lstStyle/>
              <a:p>
                <a:r>
                  <a:rPr lang="en-US" sz="1100" dirty="0">
                    <a:latin typeface="+mn-lt"/>
                    <a:ea typeface="Adobe Heiti Std R" panose="020B0400000000000000" pitchFamily="34" charset="-128"/>
                    <a:cs typeface="Segoe UI Light" panose="020B0502040204020203" pitchFamily="34" charset="0"/>
                  </a:rPr>
                  <a:t>Ander </a:t>
                </a:r>
                <a:r>
                  <a:rPr lang="en-US" sz="1100" dirty="0" err="1">
                    <a:latin typeface="+mn-lt"/>
                    <a:ea typeface="Adobe Heiti Std R" panose="020B0400000000000000" pitchFamily="34" charset="-128"/>
                    <a:cs typeface="Segoe UI Light" panose="020B0502040204020203" pitchFamily="34" charset="0"/>
                  </a:rPr>
                  <a:t>grafiektype</a:t>
                </a:r>
                <a:r>
                  <a:rPr lang="en-US" sz="1100" dirty="0">
                    <a:latin typeface="+mn-lt"/>
                    <a:ea typeface="Adobe Heiti Std R" panose="020B0400000000000000" pitchFamily="34" charset="-128"/>
                    <a:cs typeface="Segoe UI Light" panose="020B0502040204020203" pitchFamily="34" charset="0"/>
                  </a:rPr>
                  <a:t>…</a:t>
                </a:r>
              </a:p>
            </p:txBody>
          </p:sp>
          <p:sp>
            <p:nvSpPr>
              <p:cNvPr id="101" name="Gelijkbenige driehoek 100">
                <a:extLst>
                  <a:ext uri="{FF2B5EF4-FFF2-40B4-BE49-F238E27FC236}">
                    <a16:creationId xmlns:a16="http://schemas.microsoft.com/office/drawing/2014/main" id="{EB140DFC-A864-4812-BF2E-63AADEB71B22}"/>
                  </a:ext>
                </a:extLst>
              </p:cNvPr>
              <p:cNvSpPr/>
              <p:nvPr/>
            </p:nvSpPr>
            <p:spPr>
              <a:xfrm rot="5400000">
                <a:off x="14210471" y="6150144"/>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n-lt"/>
                  <a:ea typeface="Adobe Heiti Std R" panose="020B0400000000000000" pitchFamily="34" charset="-128"/>
                  <a:cs typeface="Segoe UI Light" panose="020B0502040204020203" pitchFamily="34" charset="0"/>
                </a:endParaRPr>
              </a:p>
            </p:txBody>
          </p:sp>
          <p:sp>
            <p:nvSpPr>
              <p:cNvPr id="102" name="Afgeronde rechthoek 50">
                <a:extLst>
                  <a:ext uri="{FF2B5EF4-FFF2-40B4-BE49-F238E27FC236}">
                    <a16:creationId xmlns:a16="http://schemas.microsoft.com/office/drawing/2014/main" id="{757F650D-AAC0-476B-BA93-5186D67FF268}"/>
                  </a:ext>
                </a:extLst>
              </p:cNvPr>
              <p:cNvSpPr/>
              <p:nvPr/>
            </p:nvSpPr>
            <p:spPr>
              <a:xfrm>
                <a:off x="12390702" y="6322741"/>
                <a:ext cx="1973675" cy="268314"/>
              </a:xfrm>
              <a:prstGeom prst="roundRect">
                <a:avLst/>
              </a:prstGeom>
              <a:gradFill>
                <a:gsLst>
                  <a:gs pos="0">
                    <a:srgbClr val="FFF2BD"/>
                  </a:gs>
                  <a:gs pos="34000">
                    <a:srgbClr val="FFE98B"/>
                  </a:gs>
                  <a:gs pos="78000">
                    <a:srgbClr val="FFF5C9"/>
                  </a:gs>
                  <a:gs pos="59000">
                    <a:srgbClr val="FFE98B"/>
                  </a:gs>
                </a:gsLst>
                <a:lin ang="5400000" scaled="0"/>
              </a:gra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1200" dirty="0" err="1">
                    <a:solidFill>
                      <a:schemeClr val="tx1"/>
                    </a:solidFill>
                    <a:latin typeface="+mn-lt"/>
                    <a:ea typeface="Adobe Heiti Std R" panose="020B0400000000000000" pitchFamily="34" charset="-128"/>
                    <a:cs typeface="Segoe UI Light" panose="020B0502040204020203" pitchFamily="34" charset="0"/>
                  </a:rPr>
                  <a:t>Gegevens</a:t>
                </a:r>
                <a:r>
                  <a:rPr lang="en-US" sz="1200" dirty="0">
                    <a:solidFill>
                      <a:schemeClr val="tx1"/>
                    </a:solidFill>
                    <a:latin typeface="+mn-lt"/>
                    <a:ea typeface="Adobe Heiti Std R" panose="020B0400000000000000" pitchFamily="34" charset="-128"/>
                    <a:cs typeface="Segoe UI Light" panose="020B0502040204020203" pitchFamily="34" charset="0"/>
                  </a:rPr>
                  <a:t> </a:t>
                </a:r>
                <a:r>
                  <a:rPr lang="en-US" sz="1200" dirty="0" err="1">
                    <a:solidFill>
                      <a:schemeClr val="tx1"/>
                    </a:solidFill>
                    <a:latin typeface="+mn-lt"/>
                    <a:ea typeface="Adobe Heiti Std R" panose="020B0400000000000000" pitchFamily="34" charset="-128"/>
                    <a:cs typeface="Segoe UI Light" panose="020B0502040204020203" pitchFamily="34" charset="0"/>
                  </a:rPr>
                  <a:t>bewerken</a:t>
                </a:r>
                <a:r>
                  <a:rPr lang="en-US" sz="1200" dirty="0">
                    <a:solidFill>
                      <a:schemeClr val="tx1"/>
                    </a:solidFill>
                    <a:latin typeface="+mn-lt"/>
                    <a:ea typeface="Adobe Heiti Std R" panose="020B0400000000000000" pitchFamily="34" charset="-128"/>
                    <a:cs typeface="Segoe UI Light" panose="020B0502040204020203" pitchFamily="34" charset="0"/>
                  </a:rPr>
                  <a:t>…</a:t>
                </a:r>
              </a:p>
            </p:txBody>
          </p:sp>
          <p:grpSp>
            <p:nvGrpSpPr>
              <p:cNvPr id="103" name="Groep 102">
                <a:extLst>
                  <a:ext uri="{FF2B5EF4-FFF2-40B4-BE49-F238E27FC236}">
                    <a16:creationId xmlns:a16="http://schemas.microsoft.com/office/drawing/2014/main" id="{1BD4C9DD-3565-4A62-90CE-113BB39C4DEF}"/>
                  </a:ext>
                </a:extLst>
              </p:cNvPr>
              <p:cNvGrpSpPr/>
              <p:nvPr/>
            </p:nvGrpSpPr>
            <p:grpSpPr>
              <a:xfrm>
                <a:off x="12461788" y="6100223"/>
                <a:ext cx="204691" cy="170000"/>
                <a:chOff x="15171969" y="1587338"/>
                <a:chExt cx="755407" cy="627385"/>
              </a:xfrm>
            </p:grpSpPr>
            <p:sp>
              <p:nvSpPr>
                <p:cNvPr id="120" name="Rechthoek 962">
                  <a:extLst>
                    <a:ext uri="{FF2B5EF4-FFF2-40B4-BE49-F238E27FC236}">
                      <a16:creationId xmlns:a16="http://schemas.microsoft.com/office/drawing/2014/main" id="{2AAE4E6B-7438-46D9-8D2E-7AAAC7179291}"/>
                    </a:ext>
                  </a:extLst>
                </p:cNvPr>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121" name="Groep 120">
                  <a:extLst>
                    <a:ext uri="{FF2B5EF4-FFF2-40B4-BE49-F238E27FC236}">
                      <a16:creationId xmlns:a16="http://schemas.microsoft.com/office/drawing/2014/main" id="{74DD2A8A-22DF-4317-8806-63701EBD34A1}"/>
                    </a:ext>
                  </a:extLst>
                </p:cNvPr>
                <p:cNvGrpSpPr/>
                <p:nvPr userDrawn="1"/>
              </p:nvGrpSpPr>
              <p:grpSpPr>
                <a:xfrm>
                  <a:off x="15281106" y="1587338"/>
                  <a:ext cx="511775" cy="560304"/>
                  <a:chOff x="10604642" y="969717"/>
                  <a:chExt cx="1290643" cy="1427163"/>
                </a:xfrm>
              </p:grpSpPr>
              <p:grpSp>
                <p:nvGrpSpPr>
                  <p:cNvPr id="122" name="Group 879">
                    <a:extLst>
                      <a:ext uri="{FF2B5EF4-FFF2-40B4-BE49-F238E27FC236}">
                        <a16:creationId xmlns:a16="http://schemas.microsoft.com/office/drawing/2014/main" id="{D8B91916-8335-46E0-B378-04B2AA99E51F}"/>
                      </a:ext>
                    </a:extLst>
                  </p:cNvPr>
                  <p:cNvGrpSpPr>
                    <a:grpSpLocks noChangeAspect="1"/>
                  </p:cNvGrpSpPr>
                  <p:nvPr userDrawn="1"/>
                </p:nvGrpSpPr>
                <p:grpSpPr bwMode="auto">
                  <a:xfrm>
                    <a:off x="10604642" y="969717"/>
                    <a:ext cx="1290643" cy="1427163"/>
                    <a:chOff x="4798" y="1515"/>
                    <a:chExt cx="813" cy="899"/>
                  </a:xfrm>
                </p:grpSpPr>
                <p:sp>
                  <p:nvSpPr>
                    <p:cNvPr id="124" name="Freeform 886">
                      <a:extLst>
                        <a:ext uri="{FF2B5EF4-FFF2-40B4-BE49-F238E27FC236}">
                          <a16:creationId xmlns:a16="http://schemas.microsoft.com/office/drawing/2014/main" id="{59865165-C76C-4A90-9525-1F0CAFFCDA5F}"/>
                        </a:ext>
                      </a:extLst>
                    </p:cNvPr>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125" name="Rectangle 880">
                      <a:extLst>
                        <a:ext uri="{FF2B5EF4-FFF2-40B4-BE49-F238E27FC236}">
                          <a16:creationId xmlns:a16="http://schemas.microsoft.com/office/drawing/2014/main" id="{7829BF37-C113-4E4F-BCFF-4149AE415575}"/>
                        </a:ext>
                      </a:extLst>
                    </p:cNvPr>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126" name="Rectangle 881">
                      <a:extLst>
                        <a:ext uri="{FF2B5EF4-FFF2-40B4-BE49-F238E27FC236}">
                          <a16:creationId xmlns:a16="http://schemas.microsoft.com/office/drawing/2014/main" id="{D6E91821-CFDA-4216-9276-2FB3E52E5363}"/>
                        </a:ext>
                      </a:extLst>
                    </p:cNvPr>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127" name="Freeform 882">
                      <a:extLst>
                        <a:ext uri="{FF2B5EF4-FFF2-40B4-BE49-F238E27FC236}">
                          <a16:creationId xmlns:a16="http://schemas.microsoft.com/office/drawing/2014/main" id="{8581CFA7-5695-4E2F-AAE8-84120FDD957C}"/>
                        </a:ext>
                      </a:extLst>
                    </p:cNvPr>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128" name="Freeform 883">
                      <a:extLst>
                        <a:ext uri="{FF2B5EF4-FFF2-40B4-BE49-F238E27FC236}">
                          <a16:creationId xmlns:a16="http://schemas.microsoft.com/office/drawing/2014/main" id="{B2008174-56E2-4BA1-9D16-0856A4701D74}"/>
                        </a:ext>
                      </a:extLst>
                    </p:cNvPr>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129" name="Freeform 884">
                      <a:extLst>
                        <a:ext uri="{FF2B5EF4-FFF2-40B4-BE49-F238E27FC236}">
                          <a16:creationId xmlns:a16="http://schemas.microsoft.com/office/drawing/2014/main" id="{84B4C007-AFCA-455F-BA69-E66025C4B252}"/>
                        </a:ext>
                      </a:extLst>
                    </p:cNvPr>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130" name="Rectangle 885">
                      <a:extLst>
                        <a:ext uri="{FF2B5EF4-FFF2-40B4-BE49-F238E27FC236}">
                          <a16:creationId xmlns:a16="http://schemas.microsoft.com/office/drawing/2014/main" id="{5E940649-D870-4785-A2D0-E6EDE0B9C5E5}"/>
                        </a:ext>
                      </a:extLst>
                    </p:cNvPr>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131" name="Rectangle 887">
                      <a:extLst>
                        <a:ext uri="{FF2B5EF4-FFF2-40B4-BE49-F238E27FC236}">
                          <a16:creationId xmlns:a16="http://schemas.microsoft.com/office/drawing/2014/main" id="{87932487-D9CD-4712-849A-20EFB3B066DA}"/>
                        </a:ext>
                      </a:extLst>
                    </p:cNvPr>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132" name="Freeform 888">
                      <a:extLst>
                        <a:ext uri="{FF2B5EF4-FFF2-40B4-BE49-F238E27FC236}">
                          <a16:creationId xmlns:a16="http://schemas.microsoft.com/office/drawing/2014/main" id="{43808EB8-2D29-4EE0-AF5C-987D553F11EE}"/>
                        </a:ext>
                      </a:extLst>
                    </p:cNvPr>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123" name="Vrije vorm 71">
                    <a:extLst>
                      <a:ext uri="{FF2B5EF4-FFF2-40B4-BE49-F238E27FC236}">
                        <a16:creationId xmlns:a16="http://schemas.microsoft.com/office/drawing/2014/main" id="{26054290-A0D7-4EED-A562-D4053BB4EFC1}"/>
                      </a:ext>
                    </a:extLst>
                  </p:cNvPr>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104" name="Groep 103">
                <a:extLst>
                  <a:ext uri="{FF2B5EF4-FFF2-40B4-BE49-F238E27FC236}">
                    <a16:creationId xmlns:a16="http://schemas.microsoft.com/office/drawing/2014/main" id="{F17FA569-E5B3-4BB3-848E-AE12C1CD9EED}"/>
                  </a:ext>
                </a:extLst>
              </p:cNvPr>
              <p:cNvGrpSpPr/>
              <p:nvPr/>
            </p:nvGrpSpPr>
            <p:grpSpPr>
              <a:xfrm>
                <a:off x="12468521" y="6356844"/>
                <a:ext cx="133446" cy="114786"/>
                <a:chOff x="14587469" y="6356844"/>
                <a:chExt cx="133446" cy="114786"/>
              </a:xfrm>
            </p:grpSpPr>
            <p:sp>
              <p:nvSpPr>
                <p:cNvPr id="110" name="Rectangle 6">
                  <a:extLst>
                    <a:ext uri="{FF2B5EF4-FFF2-40B4-BE49-F238E27FC236}">
                      <a16:creationId xmlns:a16="http://schemas.microsoft.com/office/drawing/2014/main" id="{90139AE2-37A0-4334-8DA4-1BB758F52E18}"/>
                    </a:ext>
                  </a:extLst>
                </p:cNvPr>
                <p:cNvSpPr>
                  <a:spLocks noChangeArrowheads="1"/>
                </p:cNvSpPr>
                <p:nvPr userDrawn="1"/>
              </p:nvSpPr>
              <p:spPr bwMode="auto">
                <a:xfrm>
                  <a:off x="14588703" y="6379233"/>
                  <a:ext cx="130780" cy="91699"/>
                </a:xfrm>
                <a:prstGeom prst="rect">
                  <a:avLst/>
                </a:prstGeom>
                <a:solidFill>
                  <a:srgbClr val="F2FAFF"/>
                </a:solidFill>
                <a:ln w="0">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111" name="Rectangle 15">
                  <a:extLst>
                    <a:ext uri="{FF2B5EF4-FFF2-40B4-BE49-F238E27FC236}">
                      <a16:creationId xmlns:a16="http://schemas.microsoft.com/office/drawing/2014/main" id="{23F4C45A-0FA1-4BB7-A18C-1211F1D07A50}"/>
                    </a:ext>
                  </a:extLst>
                </p:cNvPr>
                <p:cNvSpPr>
                  <a:spLocks noChangeArrowheads="1"/>
                </p:cNvSpPr>
                <p:nvPr userDrawn="1"/>
              </p:nvSpPr>
              <p:spPr bwMode="auto">
                <a:xfrm>
                  <a:off x="14587469" y="6423761"/>
                  <a:ext cx="131076" cy="1446"/>
                </a:xfrm>
                <a:prstGeom prst="rect">
                  <a:avLst/>
                </a:prstGeom>
                <a:gradFill flip="none" rotWithShape="1">
                  <a:gsLst>
                    <a:gs pos="20000">
                      <a:srgbClr val="0039AC"/>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112" name="Freeform 14">
                  <a:extLst>
                    <a:ext uri="{FF2B5EF4-FFF2-40B4-BE49-F238E27FC236}">
                      <a16:creationId xmlns:a16="http://schemas.microsoft.com/office/drawing/2014/main" id="{AFF45297-99A9-4CDB-966B-AD4D9578DA20}"/>
                    </a:ext>
                  </a:extLst>
                </p:cNvPr>
                <p:cNvSpPr>
                  <a:spLocks noEditPoints="1"/>
                </p:cNvSpPr>
                <p:nvPr userDrawn="1"/>
              </p:nvSpPr>
              <p:spPr bwMode="auto">
                <a:xfrm>
                  <a:off x="14588901" y="6356844"/>
                  <a:ext cx="132014" cy="114786"/>
                </a:xfrm>
                <a:custGeom>
                  <a:avLst/>
                  <a:gdLst>
                    <a:gd name="T0" fmla="*/ 48 w 5347"/>
                    <a:gd name="T1" fmla="*/ 48 h 4605"/>
                    <a:gd name="T2" fmla="*/ 48 w 5347"/>
                    <a:gd name="T3" fmla="*/ 4557 h 4605"/>
                    <a:gd name="T4" fmla="*/ 5299 w 5347"/>
                    <a:gd name="T5" fmla="*/ 4557 h 4605"/>
                    <a:gd name="T6" fmla="*/ 5299 w 5347"/>
                    <a:gd name="T7" fmla="*/ 48 h 4605"/>
                    <a:gd name="T8" fmla="*/ 48 w 5347"/>
                    <a:gd name="T9" fmla="*/ 48 h 4605"/>
                    <a:gd name="T10" fmla="*/ 0 w 5347"/>
                    <a:gd name="T11" fmla="*/ 0 h 4605"/>
                    <a:gd name="T12" fmla="*/ 5347 w 5347"/>
                    <a:gd name="T13" fmla="*/ 0 h 4605"/>
                    <a:gd name="T14" fmla="*/ 5347 w 5347"/>
                    <a:gd name="T15" fmla="*/ 4605 h 4605"/>
                    <a:gd name="T16" fmla="*/ 0 w 5347"/>
                    <a:gd name="T17" fmla="*/ 4605 h 4605"/>
                    <a:gd name="T18" fmla="*/ 0 w 5347"/>
                    <a:gd name="T19" fmla="*/ 0 h 4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7" h="4605">
                      <a:moveTo>
                        <a:pt x="48" y="48"/>
                      </a:moveTo>
                      <a:lnTo>
                        <a:pt x="48" y="4557"/>
                      </a:lnTo>
                      <a:lnTo>
                        <a:pt x="5299" y="4557"/>
                      </a:lnTo>
                      <a:lnTo>
                        <a:pt x="5299" y="48"/>
                      </a:lnTo>
                      <a:lnTo>
                        <a:pt x="48" y="48"/>
                      </a:lnTo>
                      <a:close/>
                      <a:moveTo>
                        <a:pt x="0" y="0"/>
                      </a:moveTo>
                      <a:lnTo>
                        <a:pt x="5347" y="0"/>
                      </a:lnTo>
                      <a:lnTo>
                        <a:pt x="5347" y="4605"/>
                      </a:lnTo>
                      <a:lnTo>
                        <a:pt x="0" y="4605"/>
                      </a:lnTo>
                      <a:lnTo>
                        <a:pt x="0" y="0"/>
                      </a:lnTo>
                      <a:close/>
                    </a:path>
                  </a:pathLst>
                </a:custGeom>
                <a:solidFill>
                  <a:srgbClr val="2E5D8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cxnSp>
              <p:nvCxnSpPr>
                <p:cNvPr id="113" name="Rechte verbindingslijn 112">
                  <a:extLst>
                    <a:ext uri="{FF2B5EF4-FFF2-40B4-BE49-F238E27FC236}">
                      <a16:creationId xmlns:a16="http://schemas.microsoft.com/office/drawing/2014/main" id="{0A7765B2-4EA3-4F54-970A-03005E5632E9}"/>
                    </a:ext>
                  </a:extLst>
                </p:cNvPr>
                <p:cNvCxnSpPr/>
                <p:nvPr userDrawn="1"/>
              </p:nvCxnSpPr>
              <p:spPr>
                <a:xfrm flipH="1">
                  <a:off x="14654334" y="6382168"/>
                  <a:ext cx="162"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id="{363271E5-327E-4327-9BD1-032189DD0320}"/>
                    </a:ext>
                  </a:extLst>
                </p:cNvPr>
                <p:cNvCxnSpPr/>
                <p:nvPr userDrawn="1"/>
              </p:nvCxnSpPr>
              <p:spPr>
                <a:xfrm>
                  <a:off x="14689188" y="6382168"/>
                  <a:ext cx="0"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B8B000A1-A010-4DB6-8BC3-CD14B1C40535}"/>
                    </a:ext>
                  </a:extLst>
                </p:cNvPr>
                <p:cNvCxnSpPr/>
                <p:nvPr userDrawn="1"/>
              </p:nvCxnSpPr>
              <p:spPr>
                <a:xfrm>
                  <a:off x="14619892" y="6382040"/>
                  <a:ext cx="0" cy="8577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16" name="Rechte verbindingslijn 115">
                  <a:extLst>
                    <a:ext uri="{FF2B5EF4-FFF2-40B4-BE49-F238E27FC236}">
                      <a16:creationId xmlns:a16="http://schemas.microsoft.com/office/drawing/2014/main" id="{82DD5B4C-5C16-4D4F-B026-668A08B052A9}"/>
                    </a:ext>
                  </a:extLst>
                </p:cNvPr>
                <p:cNvCxnSpPr/>
                <p:nvPr userDrawn="1"/>
              </p:nvCxnSpPr>
              <p:spPr>
                <a:xfrm flipH="1">
                  <a:off x="14593115" y="6400164"/>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17" name="Rechte verbindingslijn 116">
                  <a:extLst>
                    <a:ext uri="{FF2B5EF4-FFF2-40B4-BE49-F238E27FC236}">
                      <a16:creationId xmlns:a16="http://schemas.microsoft.com/office/drawing/2014/main" id="{4C11164D-CF2F-4A09-B892-E40168AB92BB}"/>
                    </a:ext>
                  </a:extLst>
                </p:cNvPr>
                <p:cNvCxnSpPr/>
                <p:nvPr userDrawn="1"/>
              </p:nvCxnSpPr>
              <p:spPr>
                <a:xfrm flipH="1">
                  <a:off x="14593115" y="6423860"/>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18" name="Rechte verbindingslijn 117">
                  <a:extLst>
                    <a:ext uri="{FF2B5EF4-FFF2-40B4-BE49-F238E27FC236}">
                      <a16:creationId xmlns:a16="http://schemas.microsoft.com/office/drawing/2014/main" id="{9B3B50A0-43C7-40A8-96A4-139159910213}"/>
                    </a:ext>
                  </a:extLst>
                </p:cNvPr>
                <p:cNvCxnSpPr/>
                <p:nvPr userDrawn="1"/>
              </p:nvCxnSpPr>
              <p:spPr>
                <a:xfrm flipH="1">
                  <a:off x="14593115" y="6447556"/>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19" name="Rectangle 13">
                  <a:extLst>
                    <a:ext uri="{FF2B5EF4-FFF2-40B4-BE49-F238E27FC236}">
                      <a16:creationId xmlns:a16="http://schemas.microsoft.com/office/drawing/2014/main" id="{3286BD46-D0D4-4EC3-B422-4F75EF358287}"/>
                    </a:ext>
                  </a:extLst>
                </p:cNvPr>
                <p:cNvSpPr>
                  <a:spLocks noChangeArrowheads="1"/>
                </p:cNvSpPr>
                <p:nvPr userDrawn="1"/>
              </p:nvSpPr>
              <p:spPr bwMode="auto">
                <a:xfrm>
                  <a:off x="14590283" y="6359138"/>
                  <a:ext cx="128657" cy="19347"/>
                </a:xfrm>
                <a:prstGeom prst="rect">
                  <a:avLst/>
                </a:prstGeom>
                <a:gradFill flip="none" rotWithShape="1">
                  <a:gsLst>
                    <a:gs pos="0">
                      <a:srgbClr val="1929FF"/>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grpSp>
          <p:grpSp>
            <p:nvGrpSpPr>
              <p:cNvPr id="105" name="Groep 104">
                <a:extLst>
                  <a:ext uri="{FF2B5EF4-FFF2-40B4-BE49-F238E27FC236}">
                    <a16:creationId xmlns:a16="http://schemas.microsoft.com/office/drawing/2014/main" id="{8F726C4C-3C18-4D4D-A5F3-07148A74AB55}"/>
                  </a:ext>
                </a:extLst>
              </p:cNvPr>
              <p:cNvGrpSpPr/>
              <p:nvPr/>
            </p:nvGrpSpPr>
            <p:grpSpPr>
              <a:xfrm>
                <a:off x="12529899" y="6421402"/>
                <a:ext cx="97399" cy="97399"/>
                <a:chOff x="14546483" y="5323041"/>
                <a:chExt cx="242460" cy="242460"/>
              </a:xfrm>
            </p:grpSpPr>
            <p:sp>
              <p:nvSpPr>
                <p:cNvPr id="106" name="Rechthoek 105">
                  <a:extLst>
                    <a:ext uri="{FF2B5EF4-FFF2-40B4-BE49-F238E27FC236}">
                      <a16:creationId xmlns:a16="http://schemas.microsoft.com/office/drawing/2014/main" id="{E91ACEBC-86AD-4DA0-8318-CFC819147562}"/>
                    </a:ext>
                  </a:extLst>
                </p:cNvPr>
                <p:cNvSpPr/>
                <p:nvPr userDrawn="1"/>
              </p:nvSpPr>
              <p:spPr>
                <a:xfrm>
                  <a:off x="14546483" y="5323041"/>
                  <a:ext cx="242460" cy="242460"/>
                </a:xfrm>
                <a:prstGeom prst="rect">
                  <a:avLst/>
                </a:prstGeom>
                <a:solidFill>
                  <a:schemeClr val="bg1"/>
                </a:solidFill>
                <a:ln w="6350">
                  <a:solidFill>
                    <a:srgbClr val="00A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nvGrpSpPr>
                <p:cNvPr id="107" name="Groep 106">
                  <a:extLst>
                    <a:ext uri="{FF2B5EF4-FFF2-40B4-BE49-F238E27FC236}">
                      <a16:creationId xmlns:a16="http://schemas.microsoft.com/office/drawing/2014/main" id="{22795B52-690C-493B-B332-8696365F0440}"/>
                    </a:ext>
                  </a:extLst>
                </p:cNvPr>
                <p:cNvGrpSpPr/>
                <p:nvPr/>
              </p:nvGrpSpPr>
              <p:grpSpPr>
                <a:xfrm>
                  <a:off x="14568035" y="5357818"/>
                  <a:ext cx="199836" cy="175226"/>
                  <a:chOff x="14559757" y="5349611"/>
                  <a:chExt cx="216392" cy="191641"/>
                </a:xfrm>
              </p:grpSpPr>
              <p:sp>
                <p:nvSpPr>
                  <p:cNvPr id="108" name="Parallellogram 107">
                    <a:extLst>
                      <a:ext uri="{FF2B5EF4-FFF2-40B4-BE49-F238E27FC236}">
                        <a16:creationId xmlns:a16="http://schemas.microsoft.com/office/drawing/2014/main" id="{8887A693-96A7-4DE8-87E4-3B8B9F9B11F0}"/>
                      </a:ext>
                    </a:extLst>
                  </p:cNvPr>
                  <p:cNvSpPr/>
                  <p:nvPr/>
                </p:nvSpPr>
                <p:spPr>
                  <a:xfrm>
                    <a:off x="14559757" y="5369222"/>
                    <a:ext cx="214316" cy="147762"/>
                  </a:xfrm>
                  <a:prstGeom prst="parallelogram">
                    <a:avLst>
                      <a:gd name="adj" fmla="val 93909"/>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109" name="Parallellogram 108">
                    <a:extLst>
                      <a:ext uri="{FF2B5EF4-FFF2-40B4-BE49-F238E27FC236}">
                        <a16:creationId xmlns:a16="http://schemas.microsoft.com/office/drawing/2014/main" id="{C14E9435-649B-466D-BB79-EE36F904AE45}"/>
                      </a:ext>
                    </a:extLst>
                  </p:cNvPr>
                  <p:cNvSpPr/>
                  <p:nvPr/>
                </p:nvSpPr>
                <p:spPr>
                  <a:xfrm flipH="1">
                    <a:off x="14561833" y="5349611"/>
                    <a:ext cx="214316" cy="191641"/>
                  </a:xfrm>
                  <a:prstGeom prst="parallelogram">
                    <a:avLst>
                      <a:gd name="adj" fmla="val 68946"/>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grpSp>
        </p:grpSp>
        <p:sp>
          <p:nvSpPr>
            <p:cNvPr id="96" name="Tekstvak 33">
              <a:extLst>
                <a:ext uri="{FF2B5EF4-FFF2-40B4-BE49-F238E27FC236}">
                  <a16:creationId xmlns:a16="http://schemas.microsoft.com/office/drawing/2014/main" id="{8DAFEEB8-F4C7-4C9D-85C5-C4D012C83634}"/>
                </a:ext>
              </a:extLst>
            </p:cNvPr>
            <p:cNvSpPr txBox="1"/>
            <p:nvPr userDrawn="1"/>
          </p:nvSpPr>
          <p:spPr>
            <a:xfrm>
              <a:off x="12537681" y="5123358"/>
              <a:ext cx="2588841" cy="646331"/>
            </a:xfrm>
            <a:prstGeom prst="rect">
              <a:avLst/>
            </a:prstGeom>
            <a:noFill/>
          </p:spPr>
          <p:txBody>
            <a:bodyPr wrap="square" lIns="0" tIns="0" rIns="0" bIns="0" rtlCol="0" anchor="t">
              <a:spAutoFit/>
            </a:bodyPr>
            <a:lstStyle>
              <a:defPPr>
                <a:defRPr lang="nl-NL"/>
              </a:defPPr>
              <a:lvl1pPr marR="0" lvl="0" indent="0" defTabSz="914400" fontAlgn="auto">
                <a:lnSpc>
                  <a:spcPct val="100000"/>
                </a:lnSpc>
                <a:spcBef>
                  <a:spcPts val="0"/>
                </a:spcBef>
                <a:spcAft>
                  <a:spcPts val="0"/>
                </a:spcAft>
                <a:buClrTx/>
                <a:buSzTx/>
                <a:buFontTx/>
                <a:buNone/>
                <a:tabLst/>
                <a:defRPr kumimoji="0" sz="1400" b="0" i="0" u="none" strike="noStrike" kern="0" cap="none" spc="0" normalizeH="0" baseline="0">
                  <a:ln>
                    <a:noFill/>
                  </a:ln>
                  <a:effectLst/>
                  <a:uLnTx/>
                  <a:uFillTx/>
                  <a:latin typeface="Calibri"/>
                  <a:ea typeface="Tahoma" pitchFamily="34" charset="0"/>
                  <a:cs typeface="Arial" pitchFamily="34" charset="0"/>
                </a:defRPr>
              </a:lvl1pPr>
            </a:lstStyle>
            <a:p>
              <a:pPr lvl="0"/>
              <a:r>
                <a:rPr lang="nl-NL" dirty="0">
                  <a:solidFill>
                    <a:schemeClr val="tx2"/>
                  </a:solidFill>
                  <a:latin typeface="+mn-lt"/>
                </a:rPr>
                <a:t>Selecteer de grafiek, klik op de rechter muisknop en kies </a:t>
              </a:r>
              <a:r>
                <a:rPr lang="nl-NL" b="0" dirty="0">
                  <a:solidFill>
                    <a:schemeClr val="tx2"/>
                  </a:solidFill>
                  <a:latin typeface="+mj-lt"/>
                </a:rPr>
                <a:t>‘Gegevens bewerken’</a:t>
              </a:r>
            </a:p>
          </p:txBody>
        </p:sp>
        <p:sp>
          <p:nvSpPr>
            <p:cNvPr id="97" name="Rechthoek 96">
              <a:extLst>
                <a:ext uri="{FF2B5EF4-FFF2-40B4-BE49-F238E27FC236}">
                  <a16:creationId xmlns:a16="http://schemas.microsoft.com/office/drawing/2014/main" id="{B0E4FAAB-41D4-495C-B0C9-D2AAF66BF43D}"/>
                </a:ext>
              </a:extLst>
            </p:cNvPr>
            <p:cNvSpPr/>
            <p:nvPr userDrawn="1"/>
          </p:nvSpPr>
          <p:spPr>
            <a:xfrm>
              <a:off x="12363871" y="4529047"/>
              <a:ext cx="2584447" cy="3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lvl="0"/>
              <a:r>
                <a:rPr lang="nl-NL" sz="1600" b="0" dirty="0">
                  <a:solidFill>
                    <a:schemeClr val="tx2"/>
                  </a:solidFill>
                  <a:latin typeface="+mj-lt"/>
                </a:rPr>
                <a:t>GRAFIEK BEWERKEN</a:t>
              </a:r>
            </a:p>
          </p:txBody>
        </p:sp>
        <p:pic>
          <p:nvPicPr>
            <p:cNvPr id="98" name="Picture 3">
              <a:extLst>
                <a:ext uri="{FF2B5EF4-FFF2-40B4-BE49-F238E27FC236}">
                  <a16:creationId xmlns:a16="http://schemas.microsoft.com/office/drawing/2014/main" id="{6E133C5C-CBBC-43DA-B274-4FEFC5D8FFB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4262557" y="6394752"/>
              <a:ext cx="158644" cy="256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898183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fbeelding (2x) + Ondertitel">
    <p:spTree>
      <p:nvGrpSpPr>
        <p:cNvPr id="1" name=""/>
        <p:cNvGrpSpPr/>
        <p:nvPr/>
      </p:nvGrpSpPr>
      <p:grpSpPr>
        <a:xfrm>
          <a:off x="0" y="0"/>
          <a:ext cx="0" cy="0"/>
          <a:chOff x="0" y="0"/>
          <a:chExt cx="0" cy="0"/>
        </a:xfrm>
      </p:grpSpPr>
      <p:sp>
        <p:nvSpPr>
          <p:cNvPr id="8" name="Rechthoek 7"/>
          <p:cNvSpPr/>
          <p:nvPr userDrawn="1"/>
        </p:nvSpPr>
        <p:spPr>
          <a:xfrm>
            <a:off x="0" y="1420284"/>
            <a:ext cx="12195175" cy="456459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p>
        </p:txBody>
      </p:sp>
      <p:sp>
        <p:nvSpPr>
          <p:cNvPr id="7" name="Tijdelijke aanduiding voor afbeelding 2"/>
          <p:cNvSpPr>
            <a:spLocks noGrp="1"/>
          </p:cNvSpPr>
          <p:nvPr>
            <p:ph type="pic" idx="13"/>
          </p:nvPr>
        </p:nvSpPr>
        <p:spPr>
          <a:xfrm>
            <a:off x="0" y="1420099"/>
            <a:ext cx="6096775" cy="4564591"/>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11" name="Tijdelijke aanduiding voor afbeelding 2"/>
          <p:cNvSpPr>
            <a:spLocks noGrp="1"/>
          </p:cNvSpPr>
          <p:nvPr>
            <p:ph type="pic" idx="15"/>
          </p:nvPr>
        </p:nvSpPr>
        <p:spPr>
          <a:xfrm>
            <a:off x="6096775" y="1420099"/>
            <a:ext cx="6098400" cy="4564579"/>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2" name="Titel 1"/>
          <p:cNvSpPr>
            <a:spLocks noGrp="1"/>
          </p:cNvSpPr>
          <p:nvPr>
            <p:ph type="title"/>
          </p:nvPr>
        </p:nvSpPr>
        <p:spPr/>
        <p:txBody>
          <a:bodyPr/>
          <a:lstStyle/>
          <a:p>
            <a:r>
              <a:rPr lang="nl-NL"/>
              <a:t>Klik om stijl te bewerken</a:t>
            </a:r>
            <a:endParaRPr lang="en-GB"/>
          </a:p>
        </p:txBody>
      </p:sp>
      <p:sp>
        <p:nvSpPr>
          <p:cNvPr id="4" name="Tijdelijke aanduiding voor datum 3"/>
          <p:cNvSpPr>
            <a:spLocks noGrp="1"/>
          </p:cNvSpPr>
          <p:nvPr>
            <p:ph type="dt" sz="half" idx="10"/>
          </p:nvPr>
        </p:nvSpPr>
        <p:spPr/>
        <p:txBody>
          <a:bodyPr/>
          <a:lstStyle/>
          <a:p>
            <a:fld id="{20DE44C6-BB78-4513-BD80-701DEBE3CFC4}"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Afbeelding (2x) + Titel + onderschrift</a:t>
            </a:r>
          </a:p>
        </p:txBody>
      </p:sp>
      <p:sp>
        <p:nvSpPr>
          <p:cNvPr id="14" name="Tijdelijke aanduiding voor verticale tekst 2"/>
          <p:cNvSpPr>
            <a:spLocks noGrp="1"/>
          </p:cNvSpPr>
          <p:nvPr>
            <p:ph type="body" orient="vert" idx="16" hasCustomPrompt="1"/>
          </p:nvPr>
        </p:nvSpPr>
        <p:spPr>
          <a:xfrm>
            <a:off x="-814" y="5480875"/>
            <a:ext cx="6098400" cy="504000"/>
          </a:xfrm>
          <a:solidFill>
            <a:schemeClr val="accent2"/>
          </a:solidFill>
        </p:spPr>
        <p:txBody>
          <a:bodyPr vert="horz" lIns="540000" tIns="36000" rIns="216000" bIns="0" anchor="ctr"/>
          <a:lstStyle>
            <a:lvl1pPr algn="l">
              <a:defRPr sz="1800" b="0">
                <a:solidFill>
                  <a:schemeClr val="tx2"/>
                </a:solidFill>
              </a:defRPr>
            </a:lvl1pPr>
          </a:lstStyle>
          <a:p>
            <a:pPr lvl="0"/>
            <a:r>
              <a:rPr lang="nl-NL" dirty="0"/>
              <a:t>Onderschrift</a:t>
            </a:r>
          </a:p>
        </p:txBody>
      </p:sp>
      <p:sp>
        <p:nvSpPr>
          <p:cNvPr id="13" name="Tijdelijke aanduiding voor verticale tekst 2"/>
          <p:cNvSpPr>
            <a:spLocks noGrp="1"/>
          </p:cNvSpPr>
          <p:nvPr>
            <p:ph type="body" orient="vert" idx="14" hasCustomPrompt="1"/>
          </p:nvPr>
        </p:nvSpPr>
        <p:spPr>
          <a:xfrm>
            <a:off x="6097587" y="5480875"/>
            <a:ext cx="6098400" cy="504000"/>
          </a:xfrm>
          <a:solidFill>
            <a:schemeClr val="accent2"/>
          </a:solidFill>
        </p:spPr>
        <p:txBody>
          <a:bodyPr vert="horz" lIns="216000" tIns="36000" rIns="216000" bIns="0" anchor="ctr"/>
          <a:lstStyle>
            <a:lvl1pPr algn="l">
              <a:defRPr sz="1800" b="0">
                <a:solidFill>
                  <a:schemeClr val="tx2"/>
                </a:solidFill>
              </a:defRPr>
            </a:lvl1pPr>
          </a:lstStyle>
          <a:p>
            <a:pPr lvl="0"/>
            <a:r>
              <a:rPr lang="nl-NL" dirty="0"/>
              <a:t>Onderschrift</a:t>
            </a:r>
          </a:p>
        </p:txBody>
      </p:sp>
      <p:grpSp>
        <p:nvGrpSpPr>
          <p:cNvPr id="44" name="Groep 43">
            <a:extLst>
              <a:ext uri="{FF2B5EF4-FFF2-40B4-BE49-F238E27FC236}">
                <a16:creationId xmlns:a16="http://schemas.microsoft.com/office/drawing/2014/main" id="{7D1315BC-0973-489E-970E-D0861DCDF457}"/>
              </a:ext>
            </a:extLst>
          </p:cNvPr>
          <p:cNvGrpSpPr/>
          <p:nvPr userDrawn="1"/>
        </p:nvGrpSpPr>
        <p:grpSpPr>
          <a:xfrm>
            <a:off x="12363871" y="-26002"/>
            <a:ext cx="3064812" cy="4530930"/>
            <a:chOff x="15419739" y="-26002"/>
            <a:chExt cx="3064812" cy="4530930"/>
          </a:xfrm>
        </p:grpSpPr>
        <p:sp>
          <p:nvSpPr>
            <p:cNvPr id="45" name="Tekstvak 33">
              <a:extLst>
                <a:ext uri="{FF2B5EF4-FFF2-40B4-BE49-F238E27FC236}">
                  <a16:creationId xmlns:a16="http://schemas.microsoft.com/office/drawing/2014/main" id="{EF297A03-98FD-4D42-B2B3-35E0261FAF0B}"/>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46" name="Tekstvak 33">
              <a:extLst>
                <a:ext uri="{FF2B5EF4-FFF2-40B4-BE49-F238E27FC236}">
                  <a16:creationId xmlns:a16="http://schemas.microsoft.com/office/drawing/2014/main" id="{3E9E6FF2-E3A8-4A9A-8A64-C08C307012BB}"/>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47" name="Ovaal 46">
              <a:extLst>
                <a:ext uri="{FF2B5EF4-FFF2-40B4-BE49-F238E27FC236}">
                  <a16:creationId xmlns:a16="http://schemas.microsoft.com/office/drawing/2014/main" id="{FCDAFED9-21AF-4D22-8DD4-CE43A1D92AE3}"/>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48" name="Ovaal 47">
              <a:extLst>
                <a:ext uri="{FF2B5EF4-FFF2-40B4-BE49-F238E27FC236}">
                  <a16:creationId xmlns:a16="http://schemas.microsoft.com/office/drawing/2014/main" id="{D40703BE-1075-4049-95C6-E6A8052CE6C8}"/>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49" name="Picture 3">
              <a:extLst>
                <a:ext uri="{FF2B5EF4-FFF2-40B4-BE49-F238E27FC236}">
                  <a16:creationId xmlns:a16="http://schemas.microsoft.com/office/drawing/2014/main" id="{FF6A1BA4-D836-4317-956D-C56916D3E017}"/>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50" name="Picture 3">
              <a:extLst>
                <a:ext uri="{FF2B5EF4-FFF2-40B4-BE49-F238E27FC236}">
                  <a16:creationId xmlns:a16="http://schemas.microsoft.com/office/drawing/2014/main" id="{10735495-3B9E-4BC2-BAB3-8D0E85F87889}"/>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51" name="Tekstvak 50">
              <a:extLst>
                <a:ext uri="{FF2B5EF4-FFF2-40B4-BE49-F238E27FC236}">
                  <a16:creationId xmlns:a16="http://schemas.microsoft.com/office/drawing/2014/main" id="{CF8B2AB1-D0BE-4CD9-A626-2F55A4B30B98}"/>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52" name="Rechthoek 51">
              <a:extLst>
                <a:ext uri="{FF2B5EF4-FFF2-40B4-BE49-F238E27FC236}">
                  <a16:creationId xmlns:a16="http://schemas.microsoft.com/office/drawing/2014/main" id="{A961CDCB-B9D4-469E-BFFB-2DF8A24D6184}"/>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53" name="Groep 52">
              <a:extLst>
                <a:ext uri="{FF2B5EF4-FFF2-40B4-BE49-F238E27FC236}">
                  <a16:creationId xmlns:a16="http://schemas.microsoft.com/office/drawing/2014/main" id="{38EEAE27-F6D0-49C0-A844-D4312A33411C}"/>
                </a:ext>
              </a:extLst>
            </p:cNvPr>
            <p:cNvGrpSpPr/>
            <p:nvPr userDrawn="1"/>
          </p:nvGrpSpPr>
          <p:grpSpPr>
            <a:xfrm>
              <a:off x="15563079" y="358984"/>
              <a:ext cx="2489424" cy="4145944"/>
              <a:chOff x="15563079" y="358984"/>
              <a:chExt cx="2315772" cy="4145944"/>
            </a:xfrm>
          </p:grpSpPr>
          <p:cxnSp>
            <p:nvCxnSpPr>
              <p:cNvPr id="55" name="Rechte verbindingslijn 54">
                <a:extLst>
                  <a:ext uri="{FF2B5EF4-FFF2-40B4-BE49-F238E27FC236}">
                    <a16:creationId xmlns:a16="http://schemas.microsoft.com/office/drawing/2014/main" id="{0685F0A5-EDC1-47C7-8E07-AA3C5614BDD9}"/>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6" name="Rechte verbindingslijn 55">
                <a:extLst>
                  <a:ext uri="{FF2B5EF4-FFF2-40B4-BE49-F238E27FC236}">
                    <a16:creationId xmlns:a16="http://schemas.microsoft.com/office/drawing/2014/main" id="{D89BA4AC-2976-4099-8B92-865489003409}"/>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7" name="Rechte verbindingslijn 56">
                <a:extLst>
                  <a:ext uri="{FF2B5EF4-FFF2-40B4-BE49-F238E27FC236}">
                    <a16:creationId xmlns:a16="http://schemas.microsoft.com/office/drawing/2014/main" id="{7D66F3D9-D589-45DE-8861-3FF7449B6A9F}"/>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54" name="Afbeelding 53">
              <a:extLst>
                <a:ext uri="{FF2B5EF4-FFF2-40B4-BE49-F238E27FC236}">
                  <a16:creationId xmlns:a16="http://schemas.microsoft.com/office/drawing/2014/main" id="{F9332CF6-B587-4FB5-9DAD-83B9A66DAB4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3847665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kst slide (lichtblauw)">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dirty="0"/>
              <a:t>Klik om stijl te bewerken</a:t>
            </a:r>
            <a:endParaRPr lang="en-GB" dirty="0"/>
          </a:p>
        </p:txBody>
      </p:sp>
      <p:sp>
        <p:nvSpPr>
          <p:cNvPr id="3" name="Tijdelijke aanduiding voor verticale tekst 2"/>
          <p:cNvSpPr>
            <a:spLocks noGrp="1"/>
          </p:cNvSpPr>
          <p:nvPr>
            <p:ph type="body" orient="vert" idx="1"/>
          </p:nvPr>
        </p:nvSpPr>
        <p:spPr>
          <a:xfrm>
            <a:off x="472587" y="1420099"/>
            <a:ext cx="11250000" cy="4553403"/>
          </a:xfrm>
        </p:spPr>
        <p:txBody>
          <a:bodyPr vert="horz"/>
          <a:lstStyle>
            <a:lvl1pPr>
              <a:defRPr i="0"/>
            </a:lvl1pPr>
            <a:lvl2pPr>
              <a:defRPr b="0"/>
            </a:lvl2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10"/>
          </p:nvPr>
        </p:nvSpPr>
        <p:spPr/>
        <p:txBody>
          <a:bodyPr/>
          <a:lstStyle/>
          <a:p>
            <a:fld id="{8F818244-3083-49D4-95E4-C48B0011F250}" type="datetime4">
              <a:rPr lang="en-GB" smtClean="0"/>
              <a:t>29 May 2020</a:t>
            </a:fld>
            <a:endParaRPr lang="en-GB" dirty="0"/>
          </a:p>
        </p:txBody>
      </p:sp>
      <p:sp>
        <p:nvSpPr>
          <p:cNvPr id="5" name="Tijdelijke aanduiding voor voettekst 4"/>
          <p:cNvSpPr>
            <a:spLocks noGrp="1"/>
          </p:cNvSpPr>
          <p:nvPr>
            <p:ph type="ftr" sz="quarter" idx="11"/>
          </p:nvPr>
        </p:nvSpPr>
        <p:spPr/>
        <p:txBody>
          <a:bodyPr/>
          <a:lstStyle/>
          <a:p>
            <a:r>
              <a:rPr lang="en-GB" dirty="0"/>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dirty="0"/>
          </a:p>
        </p:txBody>
      </p:sp>
      <p:sp>
        <p:nvSpPr>
          <p:cNvPr id="8" name="Tekstvak 7"/>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 Alleen tekst</a:t>
            </a:r>
          </a:p>
        </p:txBody>
      </p:sp>
      <p:grpSp>
        <p:nvGrpSpPr>
          <p:cNvPr id="78" name="Groep 77"/>
          <p:cNvGrpSpPr/>
          <p:nvPr userDrawn="1"/>
        </p:nvGrpSpPr>
        <p:grpSpPr>
          <a:xfrm>
            <a:off x="-2973833" y="0"/>
            <a:ext cx="2808312" cy="5805264"/>
            <a:chOff x="-2973833" y="0"/>
            <a:chExt cx="2808312" cy="5805264"/>
          </a:xfrm>
        </p:grpSpPr>
        <p:sp>
          <p:nvSpPr>
            <p:cNvPr id="79" name="Rechthoek 78"/>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80" name="Textfield placeholde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81" name="Ovaal 80"/>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82" name="Ovaal 81"/>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83" name="Ovaal 82"/>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84" name="Ovaal 83"/>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85" name="Textfield placeholde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86" name="Textfield placeholde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87" name="Textfield placeholde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88" name="Rechte verbindingslijn 87"/>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9" name="Rechte verbindingslijn 88"/>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0" name="Rechte verbindingslijn 89"/>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91"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 name="Picture 4"/>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3" name="Groep 92"/>
            <p:cNvGrpSpPr/>
            <p:nvPr userDrawn="1"/>
          </p:nvGrpSpPr>
          <p:grpSpPr>
            <a:xfrm>
              <a:off x="-2098870" y="523279"/>
              <a:ext cx="435437" cy="427699"/>
              <a:chOff x="-1085063" y="758027"/>
              <a:chExt cx="633800" cy="622540"/>
            </a:xfrm>
          </p:grpSpPr>
          <p:sp>
            <p:nvSpPr>
              <p:cNvPr id="134" name="Afgeronde rechthoek 133"/>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135" name="Groep 134"/>
              <p:cNvGrpSpPr/>
              <p:nvPr userDrawn="1"/>
            </p:nvGrpSpPr>
            <p:grpSpPr>
              <a:xfrm>
                <a:off x="-977746" y="864082"/>
                <a:ext cx="419166" cy="410430"/>
                <a:chOff x="6366933" y="309013"/>
                <a:chExt cx="1901295" cy="1861668"/>
              </a:xfrm>
              <a:solidFill>
                <a:schemeClr val="tx1"/>
              </a:solidFill>
            </p:grpSpPr>
            <p:sp>
              <p:nvSpPr>
                <p:cNvPr id="136" name="Rechthoek 135"/>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37" name="Rechthoek 136"/>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38" name="Rechthoek 137"/>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39" name="Rechthoek 138"/>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0" name="Rechthoek 139"/>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1" name="Rechthoek 140"/>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2" name="Rechthoek 141"/>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3" name="Rechthoek 142"/>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4" name="Rechthoek 143"/>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5" name="Rechthoek 144"/>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6" name="Vrije vorm 145"/>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94" name="Groep 93"/>
            <p:cNvGrpSpPr/>
            <p:nvPr userDrawn="1"/>
          </p:nvGrpSpPr>
          <p:grpSpPr>
            <a:xfrm>
              <a:off x="-2095303" y="1071657"/>
              <a:ext cx="435437" cy="427699"/>
              <a:chOff x="-1845083" y="758027"/>
              <a:chExt cx="633800" cy="622540"/>
            </a:xfrm>
          </p:grpSpPr>
          <p:sp>
            <p:nvSpPr>
              <p:cNvPr id="121" name="Afgeronde rechthoek 120"/>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122" name="Groep 121"/>
              <p:cNvGrpSpPr/>
              <p:nvPr userDrawn="1"/>
            </p:nvGrpSpPr>
            <p:grpSpPr>
              <a:xfrm>
                <a:off x="-1737766" y="864082"/>
                <a:ext cx="419166" cy="410430"/>
                <a:chOff x="3708400" y="309013"/>
                <a:chExt cx="1901295" cy="1861668"/>
              </a:xfrm>
              <a:solidFill>
                <a:schemeClr val="tx1"/>
              </a:solidFill>
            </p:grpSpPr>
            <p:sp>
              <p:nvSpPr>
                <p:cNvPr id="123" name="Rechthoek 122"/>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24" name="Rechthoek 123"/>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25" name="Rechthoek 124"/>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26" name="Rechthoek 125"/>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27" name="Rechthoek 126"/>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28" name="Rechthoek 127"/>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29" name="Rechthoek 128"/>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30" name="Rechthoek 129"/>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31" name="Rechthoek 130"/>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32" name="Rechthoek 131"/>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33" name="Vrije vorm 132"/>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95" name="Rechte verbindingslijn 94"/>
            <p:cNvCxnSpPr>
              <a:stCxn id="97" idx="2"/>
              <a:endCxn id="121"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6" name="Rechte verbindingslijn 95"/>
            <p:cNvCxnSpPr>
              <a:stCxn id="98" idx="3"/>
              <a:endCxn id="134"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97" name="Ovaal 96"/>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8" name="Ovaal 97"/>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9" name="Textfield placeholde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100" name="Textfield placeholde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101" name="Ovaal 100"/>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102" name="Ovaal 101"/>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103" name="Ovaal 102"/>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104" name="Ovaal 103"/>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105" name="Ovaal 104"/>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106" name="Textfield placeholde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107" name="Textfield placeholde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108" name="Textfield placeholde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109" name="Textfield placeholde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110" name="Textfield placeholde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111" name="Groep 110"/>
            <p:cNvGrpSpPr/>
            <p:nvPr userDrawn="1"/>
          </p:nvGrpSpPr>
          <p:grpSpPr>
            <a:xfrm>
              <a:off x="-950342" y="1837957"/>
              <a:ext cx="687412" cy="3758146"/>
              <a:chOff x="-740196" y="1837957"/>
              <a:chExt cx="1374825" cy="3758146"/>
            </a:xfrm>
          </p:grpSpPr>
          <p:sp>
            <p:nvSpPr>
              <p:cNvPr id="112" name="Textfield placeholde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113" name="Textfield placeholde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114" name="Textfield placeholde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115" name="Textfield placeholde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116" name="Textfield placeholde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117" name="Textfield placeholde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118" name="Textfield placeholde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119" name="Textfield placeholde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120" name="Textfield placeholde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spTree>
    <p:extLst>
      <p:ext uri="{BB962C8B-B14F-4D97-AF65-F5344CB8AC3E}">
        <p14:creationId xmlns:p14="http://schemas.microsoft.com/office/powerpoint/2010/main" val="3650098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fbeelding (3x) + Ondertitel">
    <p:spTree>
      <p:nvGrpSpPr>
        <p:cNvPr id="1" name=""/>
        <p:cNvGrpSpPr/>
        <p:nvPr/>
      </p:nvGrpSpPr>
      <p:grpSpPr>
        <a:xfrm>
          <a:off x="0" y="0"/>
          <a:ext cx="0" cy="0"/>
          <a:chOff x="0" y="0"/>
          <a:chExt cx="0" cy="0"/>
        </a:xfrm>
      </p:grpSpPr>
      <p:sp>
        <p:nvSpPr>
          <p:cNvPr id="8" name="Rechthoek 7"/>
          <p:cNvSpPr/>
          <p:nvPr userDrawn="1"/>
        </p:nvSpPr>
        <p:spPr>
          <a:xfrm>
            <a:off x="0" y="1420284"/>
            <a:ext cx="12195175" cy="456256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p>
        </p:txBody>
      </p:sp>
      <p:sp>
        <p:nvSpPr>
          <p:cNvPr id="37" name="Tijdelijke aanduiding voor afbeelding 2"/>
          <p:cNvSpPr>
            <a:spLocks noGrp="1"/>
          </p:cNvSpPr>
          <p:nvPr>
            <p:ph type="pic" idx="13"/>
          </p:nvPr>
        </p:nvSpPr>
        <p:spPr>
          <a:xfrm>
            <a:off x="-1" y="1420099"/>
            <a:ext cx="4068000" cy="4562566"/>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38" name="Tijdelijke aanduiding voor afbeelding 2"/>
          <p:cNvSpPr>
            <a:spLocks noGrp="1"/>
          </p:cNvSpPr>
          <p:nvPr>
            <p:ph type="pic" idx="15"/>
          </p:nvPr>
        </p:nvSpPr>
        <p:spPr>
          <a:xfrm>
            <a:off x="4062775" y="1420100"/>
            <a:ext cx="4068000" cy="4562568"/>
          </a:xfrm>
          <a:solidFill>
            <a:schemeClr val="accent2">
              <a:lumMod val="60000"/>
              <a:lumOff val="40000"/>
            </a:schemeClr>
          </a:solid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39" name="Tijdelijke aanduiding voor afbeelding 2"/>
          <p:cNvSpPr>
            <a:spLocks noGrp="1"/>
          </p:cNvSpPr>
          <p:nvPr>
            <p:ph type="pic" idx="20"/>
          </p:nvPr>
        </p:nvSpPr>
        <p:spPr>
          <a:xfrm>
            <a:off x="8127175" y="1420099"/>
            <a:ext cx="4068000" cy="4562567"/>
          </a:xfrm>
          <a:solidFill>
            <a:schemeClr val="accent2">
              <a:lumMod val="60000"/>
              <a:lumOff val="40000"/>
            </a:schemeClr>
          </a:solid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2" name="Titel 1"/>
          <p:cNvSpPr>
            <a:spLocks noGrp="1"/>
          </p:cNvSpPr>
          <p:nvPr>
            <p:ph type="title"/>
          </p:nvPr>
        </p:nvSpPr>
        <p:spPr/>
        <p:txBody>
          <a:bodyPr/>
          <a:lstStyle/>
          <a:p>
            <a:r>
              <a:rPr lang="nl-NL"/>
              <a:t>Klik om stijl te bewerken</a:t>
            </a:r>
            <a:endParaRPr lang="en-GB"/>
          </a:p>
        </p:txBody>
      </p:sp>
      <p:sp>
        <p:nvSpPr>
          <p:cNvPr id="4" name="Tijdelijke aanduiding voor datum 3"/>
          <p:cNvSpPr>
            <a:spLocks noGrp="1"/>
          </p:cNvSpPr>
          <p:nvPr>
            <p:ph type="dt" sz="half" idx="10"/>
          </p:nvPr>
        </p:nvSpPr>
        <p:spPr/>
        <p:txBody>
          <a:bodyPr/>
          <a:lstStyle/>
          <a:p>
            <a:fld id="{B5627159-CF2F-42D3-A260-E7531D2885A0}"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Afbeelding (3x) + Titel + onderschrift</a:t>
            </a:r>
          </a:p>
        </p:txBody>
      </p:sp>
      <p:sp>
        <p:nvSpPr>
          <p:cNvPr id="19" name="Tijdelijke aanduiding voor verticale tekst 2"/>
          <p:cNvSpPr>
            <a:spLocks noGrp="1"/>
          </p:cNvSpPr>
          <p:nvPr>
            <p:ph type="body" orient="vert" idx="16" hasCustomPrompt="1"/>
          </p:nvPr>
        </p:nvSpPr>
        <p:spPr>
          <a:xfrm>
            <a:off x="-814" y="5478666"/>
            <a:ext cx="4064400" cy="504000"/>
          </a:xfrm>
          <a:solidFill>
            <a:schemeClr val="accent2">
              <a:lumMod val="60000"/>
              <a:lumOff val="40000"/>
            </a:schemeClr>
          </a:solidFill>
        </p:spPr>
        <p:txBody>
          <a:bodyPr vert="horz" lIns="540000" tIns="36000" rIns="216000" bIns="0" anchor="ctr"/>
          <a:lstStyle>
            <a:lvl1pPr algn="l">
              <a:defRPr sz="1800" b="0">
                <a:solidFill>
                  <a:schemeClr val="tx2"/>
                </a:solidFill>
              </a:defRPr>
            </a:lvl1pPr>
          </a:lstStyle>
          <a:p>
            <a:pPr lvl="0"/>
            <a:r>
              <a:rPr lang="nl-NL" dirty="0"/>
              <a:t>Onderschrift</a:t>
            </a:r>
          </a:p>
        </p:txBody>
      </p:sp>
      <p:sp>
        <p:nvSpPr>
          <p:cNvPr id="20" name="Tijdelijke aanduiding voor verticale tekst 2"/>
          <p:cNvSpPr>
            <a:spLocks noGrp="1"/>
          </p:cNvSpPr>
          <p:nvPr>
            <p:ph type="body" orient="vert" idx="18" hasCustomPrompt="1"/>
          </p:nvPr>
        </p:nvSpPr>
        <p:spPr>
          <a:xfrm>
            <a:off x="4063588" y="5478666"/>
            <a:ext cx="4058360" cy="504000"/>
          </a:xfrm>
          <a:solidFill>
            <a:schemeClr val="accent2">
              <a:lumMod val="60000"/>
              <a:lumOff val="40000"/>
            </a:schemeClr>
          </a:solidFill>
        </p:spPr>
        <p:txBody>
          <a:bodyPr vert="horz" lIns="216000" tIns="36000" rIns="216000" bIns="0" anchor="ctr"/>
          <a:lstStyle>
            <a:lvl1pPr algn="l">
              <a:defRPr sz="1800" b="0">
                <a:solidFill>
                  <a:schemeClr val="tx2"/>
                </a:solidFill>
              </a:defRPr>
            </a:lvl1pPr>
          </a:lstStyle>
          <a:p>
            <a:pPr lvl="0"/>
            <a:r>
              <a:rPr lang="nl-NL" dirty="0"/>
              <a:t>Onderschrift</a:t>
            </a:r>
          </a:p>
        </p:txBody>
      </p:sp>
      <p:sp>
        <p:nvSpPr>
          <p:cNvPr id="21" name="Tijdelijke aanduiding voor verticale tekst 2"/>
          <p:cNvSpPr>
            <a:spLocks noGrp="1"/>
          </p:cNvSpPr>
          <p:nvPr>
            <p:ph type="body" orient="vert" idx="19" hasCustomPrompt="1"/>
          </p:nvPr>
        </p:nvSpPr>
        <p:spPr>
          <a:xfrm>
            <a:off x="8126361" y="5478666"/>
            <a:ext cx="4068814" cy="504000"/>
          </a:xfrm>
          <a:solidFill>
            <a:schemeClr val="accent2">
              <a:lumMod val="60000"/>
              <a:lumOff val="40000"/>
            </a:schemeClr>
          </a:solidFill>
        </p:spPr>
        <p:txBody>
          <a:bodyPr vert="horz" lIns="216000" tIns="36000" rIns="216000" bIns="0" anchor="ctr"/>
          <a:lstStyle>
            <a:lvl1pPr algn="l">
              <a:defRPr sz="1800" b="0">
                <a:solidFill>
                  <a:schemeClr val="tx2"/>
                </a:solidFill>
              </a:defRPr>
            </a:lvl1pPr>
          </a:lstStyle>
          <a:p>
            <a:pPr lvl="0"/>
            <a:r>
              <a:rPr lang="nl-NL" dirty="0"/>
              <a:t>Onderschrift</a:t>
            </a:r>
          </a:p>
        </p:txBody>
      </p:sp>
      <p:grpSp>
        <p:nvGrpSpPr>
          <p:cNvPr id="53" name="Groep 52">
            <a:extLst>
              <a:ext uri="{FF2B5EF4-FFF2-40B4-BE49-F238E27FC236}">
                <a16:creationId xmlns:a16="http://schemas.microsoft.com/office/drawing/2014/main" id="{E4BACC1B-42C3-432D-8ED7-D89D5E9EFCF1}"/>
              </a:ext>
            </a:extLst>
          </p:cNvPr>
          <p:cNvGrpSpPr/>
          <p:nvPr userDrawn="1"/>
        </p:nvGrpSpPr>
        <p:grpSpPr>
          <a:xfrm>
            <a:off x="12363871" y="-26002"/>
            <a:ext cx="3064812" cy="4530930"/>
            <a:chOff x="15419739" y="-26002"/>
            <a:chExt cx="3064812" cy="4530930"/>
          </a:xfrm>
        </p:grpSpPr>
        <p:sp>
          <p:nvSpPr>
            <p:cNvPr id="54" name="Tekstvak 33">
              <a:extLst>
                <a:ext uri="{FF2B5EF4-FFF2-40B4-BE49-F238E27FC236}">
                  <a16:creationId xmlns:a16="http://schemas.microsoft.com/office/drawing/2014/main" id="{E3F1D664-EA63-4BF0-9366-7E986F64AA1A}"/>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55" name="Tekstvak 33">
              <a:extLst>
                <a:ext uri="{FF2B5EF4-FFF2-40B4-BE49-F238E27FC236}">
                  <a16:creationId xmlns:a16="http://schemas.microsoft.com/office/drawing/2014/main" id="{AF6D6152-895B-4FEC-A9EC-44F69890D818}"/>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56" name="Ovaal 55">
              <a:extLst>
                <a:ext uri="{FF2B5EF4-FFF2-40B4-BE49-F238E27FC236}">
                  <a16:creationId xmlns:a16="http://schemas.microsoft.com/office/drawing/2014/main" id="{92D6F282-2D63-4527-A036-6CDCD2B86F3C}"/>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57" name="Ovaal 56">
              <a:extLst>
                <a:ext uri="{FF2B5EF4-FFF2-40B4-BE49-F238E27FC236}">
                  <a16:creationId xmlns:a16="http://schemas.microsoft.com/office/drawing/2014/main" id="{6D9242B2-3063-4EF4-BF9F-57EE2D71F7CE}"/>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58" name="Picture 3">
              <a:extLst>
                <a:ext uri="{FF2B5EF4-FFF2-40B4-BE49-F238E27FC236}">
                  <a16:creationId xmlns:a16="http://schemas.microsoft.com/office/drawing/2014/main" id="{63207005-F379-4969-9F7C-2BF32C68DA98}"/>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59" name="Picture 3">
              <a:extLst>
                <a:ext uri="{FF2B5EF4-FFF2-40B4-BE49-F238E27FC236}">
                  <a16:creationId xmlns:a16="http://schemas.microsoft.com/office/drawing/2014/main" id="{232A20FA-6CFA-4F3D-B333-6F610F05B295}"/>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60" name="Tekstvak 59">
              <a:extLst>
                <a:ext uri="{FF2B5EF4-FFF2-40B4-BE49-F238E27FC236}">
                  <a16:creationId xmlns:a16="http://schemas.microsoft.com/office/drawing/2014/main" id="{A1CA00EF-3DB9-4FEC-828D-F5E07204AFA3}"/>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61" name="Rechthoek 60">
              <a:extLst>
                <a:ext uri="{FF2B5EF4-FFF2-40B4-BE49-F238E27FC236}">
                  <a16:creationId xmlns:a16="http://schemas.microsoft.com/office/drawing/2014/main" id="{E931805F-2F42-4F01-8EB4-F3F63DBD8AF4}"/>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62" name="Groep 61">
              <a:extLst>
                <a:ext uri="{FF2B5EF4-FFF2-40B4-BE49-F238E27FC236}">
                  <a16:creationId xmlns:a16="http://schemas.microsoft.com/office/drawing/2014/main" id="{B7DFBBC7-15E4-493A-A862-04041B69D4A1}"/>
                </a:ext>
              </a:extLst>
            </p:cNvPr>
            <p:cNvGrpSpPr/>
            <p:nvPr userDrawn="1"/>
          </p:nvGrpSpPr>
          <p:grpSpPr>
            <a:xfrm>
              <a:off x="15563079" y="358984"/>
              <a:ext cx="2489424" cy="4145944"/>
              <a:chOff x="15563079" y="358984"/>
              <a:chExt cx="2315772" cy="4145944"/>
            </a:xfrm>
          </p:grpSpPr>
          <p:cxnSp>
            <p:nvCxnSpPr>
              <p:cNvPr id="64" name="Rechte verbindingslijn 63">
                <a:extLst>
                  <a:ext uri="{FF2B5EF4-FFF2-40B4-BE49-F238E27FC236}">
                    <a16:creationId xmlns:a16="http://schemas.microsoft.com/office/drawing/2014/main" id="{8A6535C3-6D9E-4F98-9478-8EF47795ABEA}"/>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5" name="Rechte verbindingslijn 64">
                <a:extLst>
                  <a:ext uri="{FF2B5EF4-FFF2-40B4-BE49-F238E27FC236}">
                    <a16:creationId xmlns:a16="http://schemas.microsoft.com/office/drawing/2014/main" id="{D000CE43-6492-465E-867B-6738EF0491CF}"/>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Rechte verbindingslijn 65">
                <a:extLst>
                  <a:ext uri="{FF2B5EF4-FFF2-40B4-BE49-F238E27FC236}">
                    <a16:creationId xmlns:a16="http://schemas.microsoft.com/office/drawing/2014/main" id="{C4A98FAB-07D3-4544-92AD-828135A6CBCA}"/>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63" name="Afbeelding 62">
              <a:extLst>
                <a:ext uri="{FF2B5EF4-FFF2-40B4-BE49-F238E27FC236}">
                  <a16:creationId xmlns:a16="http://schemas.microsoft.com/office/drawing/2014/main" id="{BF7B5721-9B0F-4307-B8B7-37488E8512B8}"/>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383908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fbeelding (4x) + Ondertitel">
    <p:spTree>
      <p:nvGrpSpPr>
        <p:cNvPr id="1" name=""/>
        <p:cNvGrpSpPr/>
        <p:nvPr/>
      </p:nvGrpSpPr>
      <p:grpSpPr>
        <a:xfrm>
          <a:off x="0" y="0"/>
          <a:ext cx="0" cy="0"/>
          <a:chOff x="0" y="0"/>
          <a:chExt cx="0" cy="0"/>
        </a:xfrm>
      </p:grpSpPr>
      <p:sp>
        <p:nvSpPr>
          <p:cNvPr id="8" name="Rechthoek 7"/>
          <p:cNvSpPr/>
          <p:nvPr userDrawn="1"/>
        </p:nvSpPr>
        <p:spPr>
          <a:xfrm>
            <a:off x="813" y="1420284"/>
            <a:ext cx="12195175" cy="455453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p>
        </p:txBody>
      </p:sp>
      <p:sp>
        <p:nvSpPr>
          <p:cNvPr id="45" name="Tijdelijke aanduiding voor afbeelding 2"/>
          <p:cNvSpPr>
            <a:spLocks noGrp="1"/>
          </p:cNvSpPr>
          <p:nvPr>
            <p:ph type="pic" idx="21"/>
          </p:nvPr>
        </p:nvSpPr>
        <p:spPr>
          <a:xfrm>
            <a:off x="0" y="1420099"/>
            <a:ext cx="6100835" cy="2288739"/>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46" name="Tijdelijke aanduiding voor afbeelding 2"/>
          <p:cNvSpPr>
            <a:spLocks noGrp="1"/>
          </p:cNvSpPr>
          <p:nvPr>
            <p:ph type="pic" idx="22"/>
          </p:nvPr>
        </p:nvSpPr>
        <p:spPr>
          <a:xfrm>
            <a:off x="6095149" y="1420100"/>
            <a:ext cx="6100025" cy="2288738"/>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47" name="Tijdelijke aanduiding voor afbeelding 2"/>
          <p:cNvSpPr>
            <a:spLocks noGrp="1"/>
          </p:cNvSpPr>
          <p:nvPr>
            <p:ph type="pic" idx="23"/>
          </p:nvPr>
        </p:nvSpPr>
        <p:spPr>
          <a:xfrm>
            <a:off x="813" y="3708839"/>
            <a:ext cx="6096775" cy="2265450"/>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48" name="Tijdelijke aanduiding voor afbeelding 2"/>
          <p:cNvSpPr>
            <a:spLocks noGrp="1"/>
          </p:cNvSpPr>
          <p:nvPr>
            <p:ph type="pic" idx="24"/>
          </p:nvPr>
        </p:nvSpPr>
        <p:spPr>
          <a:xfrm>
            <a:off x="6095964" y="3708839"/>
            <a:ext cx="6100024" cy="2265450"/>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25" name="Tijdelijke aanduiding voor verticale tekst 2"/>
          <p:cNvSpPr>
            <a:spLocks noGrp="1"/>
          </p:cNvSpPr>
          <p:nvPr>
            <p:ph type="body" orient="vert" idx="16" hasCustomPrompt="1"/>
          </p:nvPr>
        </p:nvSpPr>
        <p:spPr>
          <a:xfrm>
            <a:off x="0" y="5470295"/>
            <a:ext cx="6098400" cy="504000"/>
          </a:xfrm>
          <a:solidFill>
            <a:schemeClr val="accent2">
              <a:lumMod val="60000"/>
              <a:lumOff val="40000"/>
            </a:schemeClr>
          </a:solidFill>
        </p:spPr>
        <p:txBody>
          <a:bodyPr vert="horz" lIns="540000" tIns="36000" rIns="216000" bIns="0" anchor="ctr"/>
          <a:lstStyle>
            <a:lvl1pPr algn="l">
              <a:defRPr sz="1800" b="0">
                <a:solidFill>
                  <a:schemeClr val="tx2"/>
                </a:solidFill>
              </a:defRPr>
            </a:lvl1pPr>
          </a:lstStyle>
          <a:p>
            <a:pPr lvl="0"/>
            <a:r>
              <a:rPr lang="nl-NL" dirty="0"/>
              <a:t>Onderschrift</a:t>
            </a:r>
          </a:p>
        </p:txBody>
      </p:sp>
      <p:sp>
        <p:nvSpPr>
          <p:cNvPr id="27" name="Tijdelijke aanduiding voor verticale tekst 2"/>
          <p:cNvSpPr>
            <a:spLocks noGrp="1"/>
          </p:cNvSpPr>
          <p:nvPr>
            <p:ph type="body" orient="vert" idx="20" hasCustomPrompt="1"/>
          </p:nvPr>
        </p:nvSpPr>
        <p:spPr>
          <a:xfrm>
            <a:off x="0" y="3204838"/>
            <a:ext cx="6098400" cy="504000"/>
          </a:xfrm>
          <a:solidFill>
            <a:schemeClr val="accent2">
              <a:lumMod val="60000"/>
              <a:lumOff val="40000"/>
            </a:schemeClr>
          </a:solidFill>
        </p:spPr>
        <p:txBody>
          <a:bodyPr vert="horz" lIns="540000" tIns="36000" rIns="216000" bIns="0" anchor="ctr"/>
          <a:lstStyle>
            <a:lvl1pPr algn="l">
              <a:defRPr sz="1800" b="0">
                <a:solidFill>
                  <a:schemeClr val="tx2"/>
                </a:solidFill>
              </a:defRPr>
            </a:lvl1pPr>
          </a:lstStyle>
          <a:p>
            <a:pPr lvl="0"/>
            <a:r>
              <a:rPr lang="nl-NL" dirty="0"/>
              <a:t>Onderschrift</a:t>
            </a:r>
          </a:p>
        </p:txBody>
      </p:sp>
      <p:sp>
        <p:nvSpPr>
          <p:cNvPr id="24" name="Tijdelijke aanduiding voor verticale tekst 2"/>
          <p:cNvSpPr>
            <a:spLocks noGrp="1"/>
          </p:cNvSpPr>
          <p:nvPr>
            <p:ph type="body" orient="vert" idx="14" hasCustomPrompt="1"/>
          </p:nvPr>
        </p:nvSpPr>
        <p:spPr>
          <a:xfrm>
            <a:off x="6098400" y="5470295"/>
            <a:ext cx="6098400" cy="504000"/>
          </a:xfrm>
          <a:solidFill>
            <a:schemeClr val="accent2">
              <a:lumMod val="60000"/>
              <a:lumOff val="40000"/>
            </a:schemeClr>
          </a:solidFill>
        </p:spPr>
        <p:txBody>
          <a:bodyPr vert="horz" lIns="216000" tIns="36000" bIns="0" anchor="ctr"/>
          <a:lstStyle>
            <a:lvl1pPr algn="l">
              <a:defRPr sz="1800" b="0">
                <a:solidFill>
                  <a:schemeClr val="tx2"/>
                </a:solidFill>
              </a:defRPr>
            </a:lvl1pPr>
          </a:lstStyle>
          <a:p>
            <a:pPr lvl="0"/>
            <a:r>
              <a:rPr lang="nl-NL" dirty="0"/>
              <a:t>Onderschrift</a:t>
            </a:r>
          </a:p>
        </p:txBody>
      </p:sp>
      <p:sp>
        <p:nvSpPr>
          <p:cNvPr id="26" name="Tijdelijke aanduiding voor verticale tekst 2"/>
          <p:cNvSpPr>
            <a:spLocks noGrp="1"/>
          </p:cNvSpPr>
          <p:nvPr>
            <p:ph type="body" orient="vert" idx="19" hasCustomPrompt="1"/>
          </p:nvPr>
        </p:nvSpPr>
        <p:spPr>
          <a:xfrm>
            <a:off x="6098400" y="3204838"/>
            <a:ext cx="6098400" cy="504000"/>
          </a:xfrm>
          <a:solidFill>
            <a:schemeClr val="accent2">
              <a:lumMod val="60000"/>
              <a:lumOff val="40000"/>
            </a:schemeClr>
          </a:solidFill>
        </p:spPr>
        <p:txBody>
          <a:bodyPr vert="horz" lIns="216000" tIns="36000" bIns="0" anchor="ctr"/>
          <a:lstStyle>
            <a:lvl1pPr algn="l">
              <a:defRPr sz="1800" b="0">
                <a:solidFill>
                  <a:schemeClr val="tx2"/>
                </a:solidFill>
              </a:defRPr>
            </a:lvl1pPr>
          </a:lstStyle>
          <a:p>
            <a:pPr lvl="0"/>
            <a:r>
              <a:rPr lang="nl-NL" dirty="0"/>
              <a:t>Onderschrift</a:t>
            </a:r>
          </a:p>
        </p:txBody>
      </p:sp>
      <p:sp>
        <p:nvSpPr>
          <p:cNvPr id="2" name="Titel 1"/>
          <p:cNvSpPr>
            <a:spLocks noGrp="1"/>
          </p:cNvSpPr>
          <p:nvPr>
            <p:ph type="title"/>
          </p:nvPr>
        </p:nvSpPr>
        <p:spPr/>
        <p:txBody>
          <a:bodyPr/>
          <a:lstStyle/>
          <a:p>
            <a:r>
              <a:rPr lang="nl-NL" dirty="0"/>
              <a:t>Klik om stijl te bewerken</a:t>
            </a:r>
            <a:endParaRPr lang="en-GB" dirty="0"/>
          </a:p>
        </p:txBody>
      </p:sp>
      <p:sp>
        <p:nvSpPr>
          <p:cNvPr id="4" name="Tijdelijke aanduiding voor datum 3"/>
          <p:cNvSpPr>
            <a:spLocks noGrp="1"/>
          </p:cNvSpPr>
          <p:nvPr>
            <p:ph type="dt" sz="half" idx="10"/>
          </p:nvPr>
        </p:nvSpPr>
        <p:spPr/>
        <p:txBody>
          <a:bodyPr/>
          <a:lstStyle/>
          <a:p>
            <a:fld id="{F23F80FD-10CC-441B-A49A-3494CB2304AF}"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Afbeelding (4x) + Titel + onderschrift</a:t>
            </a:r>
          </a:p>
        </p:txBody>
      </p:sp>
      <p:grpSp>
        <p:nvGrpSpPr>
          <p:cNvPr id="60" name="Groep 59">
            <a:extLst>
              <a:ext uri="{FF2B5EF4-FFF2-40B4-BE49-F238E27FC236}">
                <a16:creationId xmlns:a16="http://schemas.microsoft.com/office/drawing/2014/main" id="{819E9629-B478-4B13-A5B6-AD49E12E2AF9}"/>
              </a:ext>
            </a:extLst>
          </p:cNvPr>
          <p:cNvGrpSpPr/>
          <p:nvPr userDrawn="1"/>
        </p:nvGrpSpPr>
        <p:grpSpPr>
          <a:xfrm>
            <a:off x="12363871" y="-26002"/>
            <a:ext cx="3064812" cy="4530930"/>
            <a:chOff x="15419739" y="-26002"/>
            <a:chExt cx="3064812" cy="4530930"/>
          </a:xfrm>
        </p:grpSpPr>
        <p:sp>
          <p:nvSpPr>
            <p:cNvPr id="61" name="Tekstvak 33">
              <a:extLst>
                <a:ext uri="{FF2B5EF4-FFF2-40B4-BE49-F238E27FC236}">
                  <a16:creationId xmlns:a16="http://schemas.microsoft.com/office/drawing/2014/main" id="{D82FEE75-7E2E-4827-8178-09D5015669EE}"/>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62" name="Tekstvak 33">
              <a:extLst>
                <a:ext uri="{FF2B5EF4-FFF2-40B4-BE49-F238E27FC236}">
                  <a16:creationId xmlns:a16="http://schemas.microsoft.com/office/drawing/2014/main" id="{DB427348-CAEF-447A-B9C8-EB0AF8C58CE8}"/>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63" name="Ovaal 62">
              <a:extLst>
                <a:ext uri="{FF2B5EF4-FFF2-40B4-BE49-F238E27FC236}">
                  <a16:creationId xmlns:a16="http://schemas.microsoft.com/office/drawing/2014/main" id="{0D42D10C-96B0-43D9-BE3E-01D90E5E34FD}"/>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64" name="Ovaal 63">
              <a:extLst>
                <a:ext uri="{FF2B5EF4-FFF2-40B4-BE49-F238E27FC236}">
                  <a16:creationId xmlns:a16="http://schemas.microsoft.com/office/drawing/2014/main" id="{F0972229-9C80-49BE-A74E-B16B6EB00393}"/>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65" name="Picture 3">
              <a:extLst>
                <a:ext uri="{FF2B5EF4-FFF2-40B4-BE49-F238E27FC236}">
                  <a16:creationId xmlns:a16="http://schemas.microsoft.com/office/drawing/2014/main" id="{CB50E777-5160-40E7-86B5-3141F80C24B2}"/>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66" name="Picture 3">
              <a:extLst>
                <a:ext uri="{FF2B5EF4-FFF2-40B4-BE49-F238E27FC236}">
                  <a16:creationId xmlns:a16="http://schemas.microsoft.com/office/drawing/2014/main" id="{37B92F06-956F-4DBD-A288-E665F5DB01D3}"/>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67" name="Tekstvak 66">
              <a:extLst>
                <a:ext uri="{FF2B5EF4-FFF2-40B4-BE49-F238E27FC236}">
                  <a16:creationId xmlns:a16="http://schemas.microsoft.com/office/drawing/2014/main" id="{1F29C4F1-44F0-4B9D-A142-2235AC329DC3}"/>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68" name="Rechthoek 67">
              <a:extLst>
                <a:ext uri="{FF2B5EF4-FFF2-40B4-BE49-F238E27FC236}">
                  <a16:creationId xmlns:a16="http://schemas.microsoft.com/office/drawing/2014/main" id="{EE7C92B5-6D70-40F7-96E2-442A1CC65363}"/>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69" name="Groep 68">
              <a:extLst>
                <a:ext uri="{FF2B5EF4-FFF2-40B4-BE49-F238E27FC236}">
                  <a16:creationId xmlns:a16="http://schemas.microsoft.com/office/drawing/2014/main" id="{32A2B0DA-88F6-4DC2-BF3A-B24E589F8F8A}"/>
                </a:ext>
              </a:extLst>
            </p:cNvPr>
            <p:cNvGrpSpPr/>
            <p:nvPr userDrawn="1"/>
          </p:nvGrpSpPr>
          <p:grpSpPr>
            <a:xfrm>
              <a:off x="15563079" y="358984"/>
              <a:ext cx="2489424" cy="4145944"/>
              <a:chOff x="15563079" y="358984"/>
              <a:chExt cx="2315772" cy="4145944"/>
            </a:xfrm>
          </p:grpSpPr>
          <p:cxnSp>
            <p:nvCxnSpPr>
              <p:cNvPr id="71" name="Rechte verbindingslijn 70">
                <a:extLst>
                  <a:ext uri="{FF2B5EF4-FFF2-40B4-BE49-F238E27FC236}">
                    <a16:creationId xmlns:a16="http://schemas.microsoft.com/office/drawing/2014/main" id="{EFC6A817-8BDB-4197-B56E-DEACC50F428F}"/>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2" name="Rechte verbindingslijn 71">
                <a:extLst>
                  <a:ext uri="{FF2B5EF4-FFF2-40B4-BE49-F238E27FC236}">
                    <a16:creationId xmlns:a16="http://schemas.microsoft.com/office/drawing/2014/main" id="{DB393FAC-5F12-4655-B491-738C74AF72B9}"/>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3" name="Rechte verbindingslijn 72">
                <a:extLst>
                  <a:ext uri="{FF2B5EF4-FFF2-40B4-BE49-F238E27FC236}">
                    <a16:creationId xmlns:a16="http://schemas.microsoft.com/office/drawing/2014/main" id="{ACE3CBC4-1DA6-438E-B822-1F5814FC53DB}"/>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70" name="Afbeelding 69">
              <a:extLst>
                <a:ext uri="{FF2B5EF4-FFF2-40B4-BE49-F238E27FC236}">
                  <a16:creationId xmlns:a16="http://schemas.microsoft.com/office/drawing/2014/main" id="{8A958B67-50E8-4C2D-8766-8302B759A118}"/>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2235040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fbeelding (XL) 2x">
    <p:spTree>
      <p:nvGrpSpPr>
        <p:cNvPr id="1" name=""/>
        <p:cNvGrpSpPr/>
        <p:nvPr/>
      </p:nvGrpSpPr>
      <p:grpSpPr>
        <a:xfrm>
          <a:off x="0" y="0"/>
          <a:ext cx="0" cy="0"/>
          <a:chOff x="0" y="0"/>
          <a:chExt cx="0" cy="0"/>
        </a:xfrm>
      </p:grpSpPr>
      <p:sp>
        <p:nvSpPr>
          <p:cNvPr id="8" name="Rechthoek 7"/>
          <p:cNvSpPr/>
          <p:nvPr userDrawn="1"/>
        </p:nvSpPr>
        <p:spPr>
          <a:xfrm>
            <a:off x="0" y="1420284"/>
            <a:ext cx="12195175" cy="455743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p>
        </p:txBody>
      </p:sp>
      <p:sp>
        <p:nvSpPr>
          <p:cNvPr id="2" name="Titel 1"/>
          <p:cNvSpPr>
            <a:spLocks noGrp="1"/>
          </p:cNvSpPr>
          <p:nvPr>
            <p:ph type="title"/>
          </p:nvPr>
        </p:nvSpPr>
        <p:spPr/>
        <p:txBody>
          <a:bodyPr/>
          <a:lstStyle/>
          <a:p>
            <a:r>
              <a:rPr lang="nl-NL"/>
              <a:t>Klik om stijl te bewerken</a:t>
            </a:r>
            <a:endParaRPr lang="en-GB"/>
          </a:p>
        </p:txBody>
      </p:sp>
      <p:sp>
        <p:nvSpPr>
          <p:cNvPr id="4" name="Tijdelijke aanduiding voor datum 3"/>
          <p:cNvSpPr>
            <a:spLocks noGrp="1"/>
          </p:cNvSpPr>
          <p:nvPr>
            <p:ph type="dt" sz="half" idx="10"/>
          </p:nvPr>
        </p:nvSpPr>
        <p:spPr/>
        <p:txBody>
          <a:bodyPr/>
          <a:lstStyle/>
          <a:p>
            <a:fld id="{61F38E73-B5D8-4C24-961E-9AB9AA60D167}"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Afbeelding (XL) 2x</a:t>
            </a:r>
            <a:r>
              <a:rPr lang="nl-NL" sz="1333" b="0" kern="1200" dirty="0">
                <a:solidFill>
                  <a:schemeClr val="accent6"/>
                </a:solidFill>
                <a:latin typeface="+mj-lt"/>
                <a:ea typeface="+mn-ea"/>
                <a:cs typeface="+mn-cs"/>
              </a:rPr>
              <a:t> + Titel</a:t>
            </a:r>
            <a:endParaRPr lang="nl-NL" sz="1333" b="0" dirty="0">
              <a:solidFill>
                <a:schemeClr val="accent6"/>
              </a:solidFill>
              <a:latin typeface="+mj-lt"/>
            </a:endParaRPr>
          </a:p>
        </p:txBody>
      </p:sp>
      <p:sp>
        <p:nvSpPr>
          <p:cNvPr id="33" name="Tijdelijke aanduiding voor afbeelding 2"/>
          <p:cNvSpPr>
            <a:spLocks noGrp="1"/>
          </p:cNvSpPr>
          <p:nvPr>
            <p:ph type="pic" idx="13"/>
          </p:nvPr>
        </p:nvSpPr>
        <p:spPr>
          <a:xfrm>
            <a:off x="-1" y="1420099"/>
            <a:ext cx="6097587" cy="4557433"/>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34" name="Tijdelijke aanduiding voor afbeelding 2"/>
          <p:cNvSpPr>
            <a:spLocks noGrp="1"/>
          </p:cNvSpPr>
          <p:nvPr>
            <p:ph type="pic" idx="15"/>
          </p:nvPr>
        </p:nvSpPr>
        <p:spPr>
          <a:xfrm>
            <a:off x="6097586" y="1420099"/>
            <a:ext cx="6097589" cy="4557419"/>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grpSp>
        <p:nvGrpSpPr>
          <p:cNvPr id="46" name="Groep 45">
            <a:extLst>
              <a:ext uri="{FF2B5EF4-FFF2-40B4-BE49-F238E27FC236}">
                <a16:creationId xmlns:a16="http://schemas.microsoft.com/office/drawing/2014/main" id="{4CD44168-C26D-4DED-A693-12DCF8885E6E}"/>
              </a:ext>
            </a:extLst>
          </p:cNvPr>
          <p:cNvGrpSpPr/>
          <p:nvPr userDrawn="1"/>
        </p:nvGrpSpPr>
        <p:grpSpPr>
          <a:xfrm>
            <a:off x="12363871" y="-26002"/>
            <a:ext cx="3064812" cy="4530930"/>
            <a:chOff x="15419739" y="-26002"/>
            <a:chExt cx="3064812" cy="4530930"/>
          </a:xfrm>
        </p:grpSpPr>
        <p:sp>
          <p:nvSpPr>
            <p:cNvPr id="47" name="Tekstvak 33">
              <a:extLst>
                <a:ext uri="{FF2B5EF4-FFF2-40B4-BE49-F238E27FC236}">
                  <a16:creationId xmlns:a16="http://schemas.microsoft.com/office/drawing/2014/main" id="{53188E84-7596-48E6-84BD-D9524C0C3BF5}"/>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48" name="Tekstvak 33">
              <a:extLst>
                <a:ext uri="{FF2B5EF4-FFF2-40B4-BE49-F238E27FC236}">
                  <a16:creationId xmlns:a16="http://schemas.microsoft.com/office/drawing/2014/main" id="{EEB18DA7-C331-4A39-8A68-4023F55EE1F9}"/>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49" name="Ovaal 48">
              <a:extLst>
                <a:ext uri="{FF2B5EF4-FFF2-40B4-BE49-F238E27FC236}">
                  <a16:creationId xmlns:a16="http://schemas.microsoft.com/office/drawing/2014/main" id="{FD2F76AE-A3EB-471C-BADF-1FD1D44FDF31}"/>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50" name="Ovaal 49">
              <a:extLst>
                <a:ext uri="{FF2B5EF4-FFF2-40B4-BE49-F238E27FC236}">
                  <a16:creationId xmlns:a16="http://schemas.microsoft.com/office/drawing/2014/main" id="{5E013843-1A85-48FD-8B6E-9EAE614F5754}"/>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51" name="Picture 3">
              <a:extLst>
                <a:ext uri="{FF2B5EF4-FFF2-40B4-BE49-F238E27FC236}">
                  <a16:creationId xmlns:a16="http://schemas.microsoft.com/office/drawing/2014/main" id="{AA451D6B-9697-46BE-A6FD-EE6AEBC780A4}"/>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52" name="Picture 3">
              <a:extLst>
                <a:ext uri="{FF2B5EF4-FFF2-40B4-BE49-F238E27FC236}">
                  <a16:creationId xmlns:a16="http://schemas.microsoft.com/office/drawing/2014/main" id="{E84B0178-8D71-45B5-9983-04D6D4F0875A}"/>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53" name="Tekstvak 52">
              <a:extLst>
                <a:ext uri="{FF2B5EF4-FFF2-40B4-BE49-F238E27FC236}">
                  <a16:creationId xmlns:a16="http://schemas.microsoft.com/office/drawing/2014/main" id="{53B3D984-6951-4A84-B907-4CECCCED6D48}"/>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54" name="Rechthoek 53">
              <a:extLst>
                <a:ext uri="{FF2B5EF4-FFF2-40B4-BE49-F238E27FC236}">
                  <a16:creationId xmlns:a16="http://schemas.microsoft.com/office/drawing/2014/main" id="{212E4CD2-E821-434A-BD2E-1B045A7C6473}"/>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55" name="Groep 54">
              <a:extLst>
                <a:ext uri="{FF2B5EF4-FFF2-40B4-BE49-F238E27FC236}">
                  <a16:creationId xmlns:a16="http://schemas.microsoft.com/office/drawing/2014/main" id="{99C86212-DBBE-4DCF-8804-16C0074E8AB6}"/>
                </a:ext>
              </a:extLst>
            </p:cNvPr>
            <p:cNvGrpSpPr/>
            <p:nvPr userDrawn="1"/>
          </p:nvGrpSpPr>
          <p:grpSpPr>
            <a:xfrm>
              <a:off x="15563079" y="358984"/>
              <a:ext cx="2489424" cy="4145944"/>
              <a:chOff x="15563079" y="358984"/>
              <a:chExt cx="2315772" cy="4145944"/>
            </a:xfrm>
          </p:grpSpPr>
          <p:cxnSp>
            <p:nvCxnSpPr>
              <p:cNvPr id="57" name="Rechte verbindingslijn 56">
                <a:extLst>
                  <a:ext uri="{FF2B5EF4-FFF2-40B4-BE49-F238E27FC236}">
                    <a16:creationId xmlns:a16="http://schemas.microsoft.com/office/drawing/2014/main" id="{E020AFBA-82B2-4715-942F-705DDE7DFA46}"/>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Rechte verbindingslijn 57">
                <a:extLst>
                  <a:ext uri="{FF2B5EF4-FFF2-40B4-BE49-F238E27FC236}">
                    <a16:creationId xmlns:a16="http://schemas.microsoft.com/office/drawing/2014/main" id="{B664A5AC-1542-4E20-8BAC-A2F1FBBD12D3}"/>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9" name="Rechte verbindingslijn 58">
                <a:extLst>
                  <a:ext uri="{FF2B5EF4-FFF2-40B4-BE49-F238E27FC236}">
                    <a16:creationId xmlns:a16="http://schemas.microsoft.com/office/drawing/2014/main" id="{77E3CE92-CB78-4F89-8DC9-4B588C01324F}"/>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56" name="Afbeelding 55">
              <a:extLst>
                <a:ext uri="{FF2B5EF4-FFF2-40B4-BE49-F238E27FC236}">
                  <a16:creationId xmlns:a16="http://schemas.microsoft.com/office/drawing/2014/main" id="{4A6BD6AC-8C48-493D-9E13-D562EE3279D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2841230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fbeelding (XL) 3x">
    <p:spTree>
      <p:nvGrpSpPr>
        <p:cNvPr id="1" name=""/>
        <p:cNvGrpSpPr/>
        <p:nvPr/>
      </p:nvGrpSpPr>
      <p:grpSpPr>
        <a:xfrm>
          <a:off x="0" y="0"/>
          <a:ext cx="0" cy="0"/>
          <a:chOff x="0" y="0"/>
          <a:chExt cx="0" cy="0"/>
        </a:xfrm>
      </p:grpSpPr>
      <p:sp>
        <p:nvSpPr>
          <p:cNvPr id="8" name="Rechthoek 7"/>
          <p:cNvSpPr/>
          <p:nvPr userDrawn="1"/>
        </p:nvSpPr>
        <p:spPr>
          <a:xfrm>
            <a:off x="0" y="1420285"/>
            <a:ext cx="12195175" cy="4559096"/>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p>
        </p:txBody>
      </p:sp>
      <p:sp>
        <p:nvSpPr>
          <p:cNvPr id="41" name="Tijdelijke aanduiding voor afbeelding 2"/>
          <p:cNvSpPr>
            <a:spLocks noGrp="1"/>
          </p:cNvSpPr>
          <p:nvPr>
            <p:ph type="pic" idx="13"/>
          </p:nvPr>
        </p:nvSpPr>
        <p:spPr>
          <a:xfrm>
            <a:off x="0" y="1420100"/>
            <a:ext cx="4063586" cy="4559096"/>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42" name="Tijdelijke aanduiding voor afbeelding 2"/>
          <p:cNvSpPr>
            <a:spLocks noGrp="1"/>
          </p:cNvSpPr>
          <p:nvPr>
            <p:ph type="pic" idx="15"/>
          </p:nvPr>
        </p:nvSpPr>
        <p:spPr>
          <a:xfrm>
            <a:off x="4063588" y="1420100"/>
            <a:ext cx="4063587" cy="4559096"/>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43" name="Tijdelijke aanduiding voor afbeelding 2"/>
          <p:cNvSpPr>
            <a:spLocks noGrp="1"/>
          </p:cNvSpPr>
          <p:nvPr>
            <p:ph type="pic" idx="20"/>
          </p:nvPr>
        </p:nvSpPr>
        <p:spPr>
          <a:xfrm>
            <a:off x="8127175" y="1420100"/>
            <a:ext cx="4080624" cy="4559096"/>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2" name="Titel 1"/>
          <p:cNvSpPr>
            <a:spLocks noGrp="1"/>
          </p:cNvSpPr>
          <p:nvPr>
            <p:ph type="title"/>
          </p:nvPr>
        </p:nvSpPr>
        <p:spPr/>
        <p:txBody>
          <a:bodyPr/>
          <a:lstStyle/>
          <a:p>
            <a:r>
              <a:rPr lang="nl-NL"/>
              <a:t>Klik om stijl te bewerken</a:t>
            </a:r>
            <a:endParaRPr lang="en-GB"/>
          </a:p>
        </p:txBody>
      </p:sp>
      <p:sp>
        <p:nvSpPr>
          <p:cNvPr id="4" name="Tijdelijke aanduiding voor datum 3"/>
          <p:cNvSpPr>
            <a:spLocks noGrp="1"/>
          </p:cNvSpPr>
          <p:nvPr>
            <p:ph type="dt" sz="half" idx="10"/>
          </p:nvPr>
        </p:nvSpPr>
        <p:spPr/>
        <p:txBody>
          <a:bodyPr/>
          <a:lstStyle/>
          <a:p>
            <a:fld id="{72761FA6-8B56-4AAB-A992-92C1562EBC4D}"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Afbeelding (XL) 3x</a:t>
            </a:r>
            <a:r>
              <a:rPr lang="nl-NL" sz="1333" b="0" kern="1200" dirty="0">
                <a:solidFill>
                  <a:schemeClr val="accent6"/>
                </a:solidFill>
                <a:latin typeface="+mj-lt"/>
                <a:ea typeface="+mn-ea"/>
                <a:cs typeface="+mn-cs"/>
              </a:rPr>
              <a:t> + Titel</a:t>
            </a:r>
            <a:endParaRPr lang="nl-NL" sz="1333" b="0" dirty="0">
              <a:solidFill>
                <a:schemeClr val="accent6"/>
              </a:solidFill>
              <a:latin typeface="+mj-lt"/>
            </a:endParaRPr>
          </a:p>
        </p:txBody>
      </p:sp>
      <p:grpSp>
        <p:nvGrpSpPr>
          <p:cNvPr id="53" name="Groep 52">
            <a:extLst>
              <a:ext uri="{FF2B5EF4-FFF2-40B4-BE49-F238E27FC236}">
                <a16:creationId xmlns:a16="http://schemas.microsoft.com/office/drawing/2014/main" id="{219AEB2D-D3D4-41A2-BAE2-81745B7876CC}"/>
              </a:ext>
            </a:extLst>
          </p:cNvPr>
          <p:cNvGrpSpPr/>
          <p:nvPr userDrawn="1"/>
        </p:nvGrpSpPr>
        <p:grpSpPr>
          <a:xfrm>
            <a:off x="12363871" y="-26002"/>
            <a:ext cx="3064812" cy="4530930"/>
            <a:chOff x="15419739" y="-26002"/>
            <a:chExt cx="3064812" cy="4530930"/>
          </a:xfrm>
        </p:grpSpPr>
        <p:sp>
          <p:nvSpPr>
            <p:cNvPr id="54" name="Tekstvak 33">
              <a:extLst>
                <a:ext uri="{FF2B5EF4-FFF2-40B4-BE49-F238E27FC236}">
                  <a16:creationId xmlns:a16="http://schemas.microsoft.com/office/drawing/2014/main" id="{351C0202-04F4-471B-A72E-71BB5C6D5243}"/>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55" name="Tekstvak 33">
              <a:extLst>
                <a:ext uri="{FF2B5EF4-FFF2-40B4-BE49-F238E27FC236}">
                  <a16:creationId xmlns:a16="http://schemas.microsoft.com/office/drawing/2014/main" id="{2976B0D0-50FD-4CE2-91DC-7E29A234E7AC}"/>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56" name="Ovaal 55">
              <a:extLst>
                <a:ext uri="{FF2B5EF4-FFF2-40B4-BE49-F238E27FC236}">
                  <a16:creationId xmlns:a16="http://schemas.microsoft.com/office/drawing/2014/main" id="{86CB6EC9-DA12-4986-AB85-8F9256C7A9C9}"/>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57" name="Ovaal 56">
              <a:extLst>
                <a:ext uri="{FF2B5EF4-FFF2-40B4-BE49-F238E27FC236}">
                  <a16:creationId xmlns:a16="http://schemas.microsoft.com/office/drawing/2014/main" id="{675E0A7F-2D78-41D0-91FC-F1EBDB807F82}"/>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58" name="Picture 3">
              <a:extLst>
                <a:ext uri="{FF2B5EF4-FFF2-40B4-BE49-F238E27FC236}">
                  <a16:creationId xmlns:a16="http://schemas.microsoft.com/office/drawing/2014/main" id="{248DFC34-D99A-4384-87D4-FF74E206A758}"/>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59" name="Picture 3">
              <a:extLst>
                <a:ext uri="{FF2B5EF4-FFF2-40B4-BE49-F238E27FC236}">
                  <a16:creationId xmlns:a16="http://schemas.microsoft.com/office/drawing/2014/main" id="{CCD818C6-42E0-456C-9B2A-D19090A0188A}"/>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60" name="Tekstvak 59">
              <a:extLst>
                <a:ext uri="{FF2B5EF4-FFF2-40B4-BE49-F238E27FC236}">
                  <a16:creationId xmlns:a16="http://schemas.microsoft.com/office/drawing/2014/main" id="{B74B7AD6-5333-41CF-A314-7F0730506ACA}"/>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61" name="Rechthoek 60">
              <a:extLst>
                <a:ext uri="{FF2B5EF4-FFF2-40B4-BE49-F238E27FC236}">
                  <a16:creationId xmlns:a16="http://schemas.microsoft.com/office/drawing/2014/main" id="{5EA78D7D-54AB-4024-90F4-864EB4AF41AC}"/>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62" name="Groep 61">
              <a:extLst>
                <a:ext uri="{FF2B5EF4-FFF2-40B4-BE49-F238E27FC236}">
                  <a16:creationId xmlns:a16="http://schemas.microsoft.com/office/drawing/2014/main" id="{C97F6F03-3799-4434-BDE6-9853E7FF7356}"/>
                </a:ext>
              </a:extLst>
            </p:cNvPr>
            <p:cNvGrpSpPr/>
            <p:nvPr userDrawn="1"/>
          </p:nvGrpSpPr>
          <p:grpSpPr>
            <a:xfrm>
              <a:off x="15563079" y="358984"/>
              <a:ext cx="2489424" cy="4145944"/>
              <a:chOff x="15563079" y="358984"/>
              <a:chExt cx="2315772" cy="4145944"/>
            </a:xfrm>
          </p:grpSpPr>
          <p:cxnSp>
            <p:nvCxnSpPr>
              <p:cNvPr id="64" name="Rechte verbindingslijn 63">
                <a:extLst>
                  <a:ext uri="{FF2B5EF4-FFF2-40B4-BE49-F238E27FC236}">
                    <a16:creationId xmlns:a16="http://schemas.microsoft.com/office/drawing/2014/main" id="{D78AB01E-7DEF-4662-8B6F-F1C0476F2B60}"/>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5" name="Rechte verbindingslijn 64">
                <a:extLst>
                  <a:ext uri="{FF2B5EF4-FFF2-40B4-BE49-F238E27FC236}">
                    <a16:creationId xmlns:a16="http://schemas.microsoft.com/office/drawing/2014/main" id="{578D1241-DCAE-42E6-BC24-DAF2853C9CEC}"/>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Rechte verbindingslijn 65">
                <a:extLst>
                  <a:ext uri="{FF2B5EF4-FFF2-40B4-BE49-F238E27FC236}">
                    <a16:creationId xmlns:a16="http://schemas.microsoft.com/office/drawing/2014/main" id="{FA76DD08-0130-4D07-971C-27ACE30CC48C}"/>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63" name="Afbeelding 62">
              <a:extLst>
                <a:ext uri="{FF2B5EF4-FFF2-40B4-BE49-F238E27FC236}">
                  <a16:creationId xmlns:a16="http://schemas.microsoft.com/office/drawing/2014/main" id="{BA61EE17-E121-4C2E-B49C-224E1CA0643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1863474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fbeelding (XL) 4x">
    <p:spTree>
      <p:nvGrpSpPr>
        <p:cNvPr id="1" name=""/>
        <p:cNvGrpSpPr/>
        <p:nvPr/>
      </p:nvGrpSpPr>
      <p:grpSpPr>
        <a:xfrm>
          <a:off x="0" y="0"/>
          <a:ext cx="0" cy="0"/>
          <a:chOff x="0" y="0"/>
          <a:chExt cx="0" cy="0"/>
        </a:xfrm>
      </p:grpSpPr>
      <p:sp>
        <p:nvSpPr>
          <p:cNvPr id="8" name="Rechthoek 7"/>
          <p:cNvSpPr/>
          <p:nvPr userDrawn="1"/>
        </p:nvSpPr>
        <p:spPr>
          <a:xfrm>
            <a:off x="0" y="1428143"/>
            <a:ext cx="12195175" cy="455291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p>
        </p:txBody>
      </p:sp>
      <p:sp>
        <p:nvSpPr>
          <p:cNvPr id="2" name="Titel 1"/>
          <p:cNvSpPr>
            <a:spLocks noGrp="1"/>
          </p:cNvSpPr>
          <p:nvPr>
            <p:ph type="title"/>
          </p:nvPr>
        </p:nvSpPr>
        <p:spPr/>
        <p:txBody>
          <a:bodyPr/>
          <a:lstStyle/>
          <a:p>
            <a:r>
              <a:rPr lang="nl-NL" dirty="0"/>
              <a:t>Klik om stijl te bewerken</a:t>
            </a:r>
            <a:endParaRPr lang="en-GB" dirty="0"/>
          </a:p>
        </p:txBody>
      </p:sp>
      <p:sp>
        <p:nvSpPr>
          <p:cNvPr id="4" name="Tijdelijke aanduiding voor datum 3"/>
          <p:cNvSpPr>
            <a:spLocks noGrp="1"/>
          </p:cNvSpPr>
          <p:nvPr>
            <p:ph type="dt" sz="half" idx="10"/>
          </p:nvPr>
        </p:nvSpPr>
        <p:spPr/>
        <p:txBody>
          <a:bodyPr/>
          <a:lstStyle/>
          <a:p>
            <a:fld id="{0F86A8E0-785F-4D9D-9C3C-D23ECEC9163E}"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Afbeelding (XL) 4x</a:t>
            </a:r>
            <a:r>
              <a:rPr lang="nl-NL" sz="1333" b="0" kern="1200" dirty="0">
                <a:solidFill>
                  <a:schemeClr val="accent6"/>
                </a:solidFill>
                <a:latin typeface="+mj-lt"/>
                <a:ea typeface="+mn-ea"/>
                <a:cs typeface="+mn-cs"/>
              </a:rPr>
              <a:t> + Titel</a:t>
            </a:r>
            <a:endParaRPr lang="nl-NL" sz="1333" b="0" dirty="0">
              <a:solidFill>
                <a:schemeClr val="accent6"/>
              </a:solidFill>
              <a:latin typeface="+mj-lt"/>
            </a:endParaRPr>
          </a:p>
        </p:txBody>
      </p:sp>
      <p:sp>
        <p:nvSpPr>
          <p:cNvPr id="42" name="Tijdelijke aanduiding voor afbeelding 2"/>
          <p:cNvSpPr>
            <a:spLocks noGrp="1"/>
          </p:cNvSpPr>
          <p:nvPr>
            <p:ph type="pic" idx="19"/>
          </p:nvPr>
        </p:nvSpPr>
        <p:spPr>
          <a:xfrm>
            <a:off x="1" y="1430134"/>
            <a:ext cx="6097578" cy="2285264"/>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43" name="Tijdelijke aanduiding voor afbeelding 2"/>
          <p:cNvSpPr>
            <a:spLocks noGrp="1"/>
          </p:cNvSpPr>
          <p:nvPr>
            <p:ph type="pic" idx="20"/>
          </p:nvPr>
        </p:nvSpPr>
        <p:spPr>
          <a:xfrm>
            <a:off x="6097575" y="1430134"/>
            <a:ext cx="6097596" cy="2285264"/>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44" name="Tijdelijke aanduiding voor afbeelding 2"/>
          <p:cNvSpPr>
            <a:spLocks noGrp="1"/>
          </p:cNvSpPr>
          <p:nvPr>
            <p:ph type="pic" idx="21"/>
          </p:nvPr>
        </p:nvSpPr>
        <p:spPr>
          <a:xfrm>
            <a:off x="-1" y="3715402"/>
            <a:ext cx="6097579" cy="2265656"/>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45" name="Tijdelijke aanduiding voor afbeelding 2"/>
          <p:cNvSpPr>
            <a:spLocks noGrp="1"/>
          </p:cNvSpPr>
          <p:nvPr>
            <p:ph type="pic" idx="22"/>
          </p:nvPr>
        </p:nvSpPr>
        <p:spPr>
          <a:xfrm>
            <a:off x="6097578" y="3715410"/>
            <a:ext cx="6097597" cy="2265644"/>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grpSp>
        <p:nvGrpSpPr>
          <p:cNvPr id="58" name="Groep 57">
            <a:extLst>
              <a:ext uri="{FF2B5EF4-FFF2-40B4-BE49-F238E27FC236}">
                <a16:creationId xmlns:a16="http://schemas.microsoft.com/office/drawing/2014/main" id="{B18A0E27-694C-4768-B6FB-6F076D22412F}"/>
              </a:ext>
            </a:extLst>
          </p:cNvPr>
          <p:cNvGrpSpPr/>
          <p:nvPr userDrawn="1"/>
        </p:nvGrpSpPr>
        <p:grpSpPr>
          <a:xfrm>
            <a:off x="12363871" y="-26002"/>
            <a:ext cx="3064812" cy="4530930"/>
            <a:chOff x="15419739" y="-26002"/>
            <a:chExt cx="3064812" cy="4530930"/>
          </a:xfrm>
        </p:grpSpPr>
        <p:sp>
          <p:nvSpPr>
            <p:cNvPr id="59" name="Tekstvak 33">
              <a:extLst>
                <a:ext uri="{FF2B5EF4-FFF2-40B4-BE49-F238E27FC236}">
                  <a16:creationId xmlns:a16="http://schemas.microsoft.com/office/drawing/2014/main" id="{73DC70E9-831F-4845-AC31-4B1E60A15254}"/>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60" name="Tekstvak 33">
              <a:extLst>
                <a:ext uri="{FF2B5EF4-FFF2-40B4-BE49-F238E27FC236}">
                  <a16:creationId xmlns:a16="http://schemas.microsoft.com/office/drawing/2014/main" id="{DF22D80E-9AA6-4B45-AC88-40F2CAEB075E}"/>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61" name="Ovaal 60">
              <a:extLst>
                <a:ext uri="{FF2B5EF4-FFF2-40B4-BE49-F238E27FC236}">
                  <a16:creationId xmlns:a16="http://schemas.microsoft.com/office/drawing/2014/main" id="{1E6145B4-D5B9-4B4B-B746-7B68CED0B801}"/>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62" name="Ovaal 61">
              <a:extLst>
                <a:ext uri="{FF2B5EF4-FFF2-40B4-BE49-F238E27FC236}">
                  <a16:creationId xmlns:a16="http://schemas.microsoft.com/office/drawing/2014/main" id="{112FE168-8EE7-4FA2-B52E-03A743E42427}"/>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63" name="Picture 3">
              <a:extLst>
                <a:ext uri="{FF2B5EF4-FFF2-40B4-BE49-F238E27FC236}">
                  <a16:creationId xmlns:a16="http://schemas.microsoft.com/office/drawing/2014/main" id="{C4D11F63-6F37-4787-A313-9738F3E63BC1}"/>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64" name="Picture 3">
              <a:extLst>
                <a:ext uri="{FF2B5EF4-FFF2-40B4-BE49-F238E27FC236}">
                  <a16:creationId xmlns:a16="http://schemas.microsoft.com/office/drawing/2014/main" id="{8CAA90FC-159B-4F22-96A4-745838550876}"/>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65" name="Tekstvak 64">
              <a:extLst>
                <a:ext uri="{FF2B5EF4-FFF2-40B4-BE49-F238E27FC236}">
                  <a16:creationId xmlns:a16="http://schemas.microsoft.com/office/drawing/2014/main" id="{79D2F3C2-030D-4B4C-B451-658E5E63D207}"/>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66" name="Rechthoek 65">
              <a:extLst>
                <a:ext uri="{FF2B5EF4-FFF2-40B4-BE49-F238E27FC236}">
                  <a16:creationId xmlns:a16="http://schemas.microsoft.com/office/drawing/2014/main" id="{200C3405-B6DF-4410-BCB5-8C876FA31895}"/>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67" name="Groep 66">
              <a:extLst>
                <a:ext uri="{FF2B5EF4-FFF2-40B4-BE49-F238E27FC236}">
                  <a16:creationId xmlns:a16="http://schemas.microsoft.com/office/drawing/2014/main" id="{0FA1BAFD-82BE-4373-8FF2-B5CF9FF5499A}"/>
                </a:ext>
              </a:extLst>
            </p:cNvPr>
            <p:cNvGrpSpPr/>
            <p:nvPr userDrawn="1"/>
          </p:nvGrpSpPr>
          <p:grpSpPr>
            <a:xfrm>
              <a:off x="15563079" y="358984"/>
              <a:ext cx="2489424" cy="4145944"/>
              <a:chOff x="15563079" y="358984"/>
              <a:chExt cx="2315772" cy="4145944"/>
            </a:xfrm>
          </p:grpSpPr>
          <p:cxnSp>
            <p:nvCxnSpPr>
              <p:cNvPr id="69" name="Rechte verbindingslijn 68">
                <a:extLst>
                  <a:ext uri="{FF2B5EF4-FFF2-40B4-BE49-F238E27FC236}">
                    <a16:creationId xmlns:a16="http://schemas.microsoft.com/office/drawing/2014/main" id="{F4054177-C6D4-4681-9A5E-9F187FD1A985}"/>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Rechte verbindingslijn 69">
                <a:extLst>
                  <a:ext uri="{FF2B5EF4-FFF2-40B4-BE49-F238E27FC236}">
                    <a16:creationId xmlns:a16="http://schemas.microsoft.com/office/drawing/2014/main" id="{DEB9A29E-D626-4144-8D0B-9438E576610A}"/>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1" name="Rechte verbindingslijn 70">
                <a:extLst>
                  <a:ext uri="{FF2B5EF4-FFF2-40B4-BE49-F238E27FC236}">
                    <a16:creationId xmlns:a16="http://schemas.microsoft.com/office/drawing/2014/main" id="{956E0F7C-3D84-4052-8F52-8800D0B4C80F}"/>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68" name="Afbeelding 67">
              <a:extLst>
                <a:ext uri="{FF2B5EF4-FFF2-40B4-BE49-F238E27FC236}">
                  <a16:creationId xmlns:a16="http://schemas.microsoft.com/office/drawing/2014/main" id="{D347647D-BD5A-4965-A63F-F1850658898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117138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fbeelding (XXL) + titel">
    <p:spTree>
      <p:nvGrpSpPr>
        <p:cNvPr id="1" name=""/>
        <p:cNvGrpSpPr/>
        <p:nvPr/>
      </p:nvGrpSpPr>
      <p:grpSpPr>
        <a:xfrm>
          <a:off x="0" y="0"/>
          <a:ext cx="0" cy="0"/>
          <a:chOff x="0" y="0"/>
          <a:chExt cx="0" cy="0"/>
        </a:xfrm>
      </p:grpSpPr>
      <p:sp>
        <p:nvSpPr>
          <p:cNvPr id="33" name="GRIJS"/>
          <p:cNvSpPr/>
          <p:nvPr userDrawn="1"/>
        </p:nvSpPr>
        <p:spPr>
          <a:xfrm>
            <a:off x="0" y="-1"/>
            <a:ext cx="12195175" cy="5989104"/>
          </a:xfrm>
          <a:prstGeom prst="round2SameRect">
            <a:avLst>
              <a:gd name="adj1" fmla="val 1089"/>
              <a:gd name="adj2" fmla="val 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34" name="Tijdelijke aanduiding voor afbeelding 2"/>
          <p:cNvSpPr>
            <a:spLocks noGrp="1"/>
          </p:cNvSpPr>
          <p:nvPr>
            <p:ph type="pic" idx="13"/>
          </p:nvPr>
        </p:nvSpPr>
        <p:spPr>
          <a:xfrm>
            <a:off x="0" y="0"/>
            <a:ext cx="12195175" cy="5989100"/>
          </a:xfrm>
          <a:prstGeom prst="round2SameRect">
            <a:avLst>
              <a:gd name="adj1" fmla="val 1166"/>
              <a:gd name="adj2" fmla="val 0"/>
            </a:avLst>
          </a:prstGeo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2" name="Titel 1"/>
          <p:cNvSpPr>
            <a:spLocks noGrp="1"/>
          </p:cNvSpPr>
          <p:nvPr>
            <p:ph type="title"/>
          </p:nvPr>
        </p:nvSpPr>
        <p:spPr>
          <a:xfrm>
            <a:off x="471600" y="190800"/>
            <a:ext cx="11250000" cy="648000"/>
          </a:xfrm>
        </p:spPr>
        <p:txBody>
          <a:bodyPr anchor="t" anchorCtr="0"/>
          <a:lstStyle>
            <a:lvl1pPr algn="l">
              <a:defRPr/>
            </a:lvl1pPr>
          </a:lstStyle>
          <a:p>
            <a:r>
              <a:rPr lang="nl-NL" dirty="0"/>
              <a:t>Klik om stijl te bewerken</a:t>
            </a:r>
            <a:endParaRPr lang="en-GB" dirty="0"/>
          </a:p>
        </p:txBody>
      </p:sp>
      <p:sp>
        <p:nvSpPr>
          <p:cNvPr id="4" name="Tijdelijke aanduiding voor datum 3"/>
          <p:cNvSpPr>
            <a:spLocks noGrp="1"/>
          </p:cNvSpPr>
          <p:nvPr>
            <p:ph type="dt" sz="half" idx="10"/>
          </p:nvPr>
        </p:nvSpPr>
        <p:spPr/>
        <p:txBody>
          <a:bodyPr/>
          <a:lstStyle/>
          <a:p>
            <a:fld id="{C024B61D-382D-404C-BFF0-06310AFAD6D5}"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Afbeelding (XXL)</a:t>
            </a:r>
            <a:r>
              <a:rPr kumimoji="0" lang="nl-NL" sz="1333" b="0" i="0" u="none" strike="noStrike" kern="1200" cap="none" spc="0" normalizeH="0" baseline="0" noProof="0" dirty="0">
                <a:ln>
                  <a:noFill/>
                </a:ln>
                <a:solidFill>
                  <a:srgbClr val="003076"/>
                </a:solidFill>
                <a:effectLst/>
                <a:uLnTx/>
                <a:uFillTx/>
                <a:latin typeface="NLRTM Bold"/>
                <a:ea typeface="+mn-ea"/>
                <a:cs typeface="+mn-cs"/>
              </a:rPr>
              <a:t> + Titel</a:t>
            </a:r>
            <a:endParaRPr lang="nl-NL" sz="1333" b="0" dirty="0">
              <a:solidFill>
                <a:schemeClr val="accent6"/>
              </a:solidFill>
              <a:latin typeface="+mj-lt"/>
            </a:endParaRPr>
          </a:p>
        </p:txBody>
      </p:sp>
      <p:grpSp>
        <p:nvGrpSpPr>
          <p:cNvPr id="49" name="Groep 48">
            <a:extLst>
              <a:ext uri="{FF2B5EF4-FFF2-40B4-BE49-F238E27FC236}">
                <a16:creationId xmlns:a16="http://schemas.microsoft.com/office/drawing/2014/main" id="{1CB86391-C3A1-48A9-83A9-CDA9762F1594}"/>
              </a:ext>
            </a:extLst>
          </p:cNvPr>
          <p:cNvGrpSpPr/>
          <p:nvPr userDrawn="1"/>
        </p:nvGrpSpPr>
        <p:grpSpPr>
          <a:xfrm>
            <a:off x="12363871" y="-26002"/>
            <a:ext cx="3064812" cy="4530930"/>
            <a:chOff x="15419739" y="-26002"/>
            <a:chExt cx="3064812" cy="4530930"/>
          </a:xfrm>
        </p:grpSpPr>
        <p:sp>
          <p:nvSpPr>
            <p:cNvPr id="50" name="Tekstvak 33">
              <a:extLst>
                <a:ext uri="{FF2B5EF4-FFF2-40B4-BE49-F238E27FC236}">
                  <a16:creationId xmlns:a16="http://schemas.microsoft.com/office/drawing/2014/main" id="{2ADCA6F7-250E-4B72-B0DE-999BA8D650E9}"/>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51" name="Tekstvak 33">
              <a:extLst>
                <a:ext uri="{FF2B5EF4-FFF2-40B4-BE49-F238E27FC236}">
                  <a16:creationId xmlns:a16="http://schemas.microsoft.com/office/drawing/2014/main" id="{3D453C5E-479D-4F1D-9BFA-30110A165968}"/>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52" name="Ovaal 51">
              <a:extLst>
                <a:ext uri="{FF2B5EF4-FFF2-40B4-BE49-F238E27FC236}">
                  <a16:creationId xmlns:a16="http://schemas.microsoft.com/office/drawing/2014/main" id="{59F34422-D145-4BF6-A5D7-5A45F15882CF}"/>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53" name="Ovaal 52">
              <a:extLst>
                <a:ext uri="{FF2B5EF4-FFF2-40B4-BE49-F238E27FC236}">
                  <a16:creationId xmlns:a16="http://schemas.microsoft.com/office/drawing/2014/main" id="{4ADA4B64-59B4-479B-9F6E-5DE33E2E0DCC}"/>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54" name="Picture 3">
              <a:extLst>
                <a:ext uri="{FF2B5EF4-FFF2-40B4-BE49-F238E27FC236}">
                  <a16:creationId xmlns:a16="http://schemas.microsoft.com/office/drawing/2014/main" id="{10A71998-BA22-4DB3-B07F-8262582350FC}"/>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55" name="Picture 3">
              <a:extLst>
                <a:ext uri="{FF2B5EF4-FFF2-40B4-BE49-F238E27FC236}">
                  <a16:creationId xmlns:a16="http://schemas.microsoft.com/office/drawing/2014/main" id="{1267A3F0-F5E6-42C8-8255-B54664104A90}"/>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56" name="Tekstvak 55">
              <a:extLst>
                <a:ext uri="{FF2B5EF4-FFF2-40B4-BE49-F238E27FC236}">
                  <a16:creationId xmlns:a16="http://schemas.microsoft.com/office/drawing/2014/main" id="{5D1F6466-7E88-4C40-A76B-97C83D60BF13}"/>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57" name="Rechthoek 56">
              <a:extLst>
                <a:ext uri="{FF2B5EF4-FFF2-40B4-BE49-F238E27FC236}">
                  <a16:creationId xmlns:a16="http://schemas.microsoft.com/office/drawing/2014/main" id="{10BCE57B-8314-47AB-A6BE-574598C816CC}"/>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58" name="Groep 57">
              <a:extLst>
                <a:ext uri="{FF2B5EF4-FFF2-40B4-BE49-F238E27FC236}">
                  <a16:creationId xmlns:a16="http://schemas.microsoft.com/office/drawing/2014/main" id="{BB7B2A28-7AEE-40D5-9733-8D3A2C919095}"/>
                </a:ext>
              </a:extLst>
            </p:cNvPr>
            <p:cNvGrpSpPr/>
            <p:nvPr userDrawn="1"/>
          </p:nvGrpSpPr>
          <p:grpSpPr>
            <a:xfrm>
              <a:off x="15563079" y="358984"/>
              <a:ext cx="2489424" cy="4145944"/>
              <a:chOff x="15563079" y="358984"/>
              <a:chExt cx="2315772" cy="4145944"/>
            </a:xfrm>
          </p:grpSpPr>
          <p:cxnSp>
            <p:nvCxnSpPr>
              <p:cNvPr id="60" name="Rechte verbindingslijn 59">
                <a:extLst>
                  <a:ext uri="{FF2B5EF4-FFF2-40B4-BE49-F238E27FC236}">
                    <a16:creationId xmlns:a16="http://schemas.microsoft.com/office/drawing/2014/main" id="{01932068-E8F3-44CA-AA82-2D843012EC09}"/>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86E371A4-53F6-4D69-A675-664419DD843B}"/>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03719C9B-17A2-4360-8F5A-F299E9B3973B}"/>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59" name="Afbeelding 58">
              <a:extLst>
                <a:ext uri="{FF2B5EF4-FFF2-40B4-BE49-F238E27FC236}">
                  <a16:creationId xmlns:a16="http://schemas.microsoft.com/office/drawing/2014/main" id="{10AA9EE2-B9F0-4E48-B247-7B2A80B4D54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5691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fbeelding (beeldvullend) positief logo">
    <p:bg>
      <p:bgPr>
        <a:solidFill>
          <a:schemeClr val="tx1"/>
        </a:solidFill>
        <a:effectLst/>
      </p:bgPr>
    </p:bg>
    <p:spTree>
      <p:nvGrpSpPr>
        <p:cNvPr id="1" name=""/>
        <p:cNvGrpSpPr/>
        <p:nvPr/>
      </p:nvGrpSpPr>
      <p:grpSpPr>
        <a:xfrm>
          <a:off x="0" y="0"/>
          <a:ext cx="0" cy="0"/>
          <a:chOff x="0" y="0"/>
          <a:chExt cx="0" cy="0"/>
        </a:xfrm>
      </p:grpSpPr>
      <p:sp>
        <p:nvSpPr>
          <p:cNvPr id="23" name="Afgeronde rechthoek 7">
            <a:extLst>
              <a:ext uri="{FF2B5EF4-FFF2-40B4-BE49-F238E27FC236}">
                <a16:creationId xmlns:a16="http://schemas.microsoft.com/office/drawing/2014/main" id="{9E686FF5-BE1E-475E-BC37-372393A83A53}"/>
              </a:ext>
            </a:extLst>
          </p:cNvPr>
          <p:cNvSpPr/>
          <p:nvPr userDrawn="1"/>
        </p:nvSpPr>
        <p:spPr>
          <a:xfrm>
            <a:off x="-1538" y="0"/>
            <a:ext cx="12196713" cy="6858000"/>
          </a:xfrm>
          <a:prstGeom prst="roundRect">
            <a:avLst>
              <a:gd name="adj" fmla="val 138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4" name="Tijdelijke aanduiding voor afbeelding 2">
            <a:extLst>
              <a:ext uri="{FF2B5EF4-FFF2-40B4-BE49-F238E27FC236}">
                <a16:creationId xmlns:a16="http://schemas.microsoft.com/office/drawing/2014/main" id="{367D286A-2EF5-436B-A2C1-8845E1AB24B0}"/>
              </a:ext>
            </a:extLst>
          </p:cNvPr>
          <p:cNvSpPr>
            <a:spLocks noGrp="1"/>
          </p:cNvSpPr>
          <p:nvPr>
            <p:ph type="pic" idx="13"/>
          </p:nvPr>
        </p:nvSpPr>
        <p:spPr>
          <a:xfrm>
            <a:off x="-2498" y="0"/>
            <a:ext cx="12197673" cy="6858224"/>
          </a:xfrm>
          <a:custGeom>
            <a:avLst/>
            <a:gdLst>
              <a:gd name="connsiteX0" fmla="*/ 79964 w 12195175"/>
              <a:gd name="connsiteY0" fmla="*/ 0 h 6858000"/>
              <a:gd name="connsiteX1" fmla="*/ 12115211 w 12195175"/>
              <a:gd name="connsiteY1" fmla="*/ 0 h 6858000"/>
              <a:gd name="connsiteX2" fmla="*/ 12195175 w 12195175"/>
              <a:gd name="connsiteY2" fmla="*/ 79964 h 6858000"/>
              <a:gd name="connsiteX3" fmla="*/ 12195175 w 12195175"/>
              <a:gd name="connsiteY3" fmla="*/ 6858000 h 6858000"/>
              <a:gd name="connsiteX4" fmla="*/ 12195175 w 12195175"/>
              <a:gd name="connsiteY4" fmla="*/ 6858000 h 6858000"/>
              <a:gd name="connsiteX5" fmla="*/ 0 w 12195175"/>
              <a:gd name="connsiteY5" fmla="*/ 6858000 h 6858000"/>
              <a:gd name="connsiteX6" fmla="*/ 0 w 12195175"/>
              <a:gd name="connsiteY6" fmla="*/ 6858000 h 6858000"/>
              <a:gd name="connsiteX7" fmla="*/ 0 w 12195175"/>
              <a:gd name="connsiteY7" fmla="*/ 79964 h 6858000"/>
              <a:gd name="connsiteX8" fmla="*/ 79964 w 12195175"/>
              <a:gd name="connsiteY8"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7673 w 12197673"/>
              <a:gd name="connsiteY3" fmla="*/ 6858000 h 6858000"/>
              <a:gd name="connsiteX4" fmla="*/ 12197673 w 12197673"/>
              <a:gd name="connsiteY4" fmla="*/ 6858000 h 6858000"/>
              <a:gd name="connsiteX5" fmla="*/ 2498 w 12197673"/>
              <a:gd name="connsiteY5" fmla="*/ 6858000 h 6858000"/>
              <a:gd name="connsiteX6" fmla="*/ 2498 w 12197673"/>
              <a:gd name="connsiteY6" fmla="*/ 6858000 h 6858000"/>
              <a:gd name="connsiteX7" fmla="*/ 0 w 12197673"/>
              <a:gd name="connsiteY7" fmla="*/ 6785548 h 6858000"/>
              <a:gd name="connsiteX8" fmla="*/ 2498 w 12197673"/>
              <a:gd name="connsiteY8" fmla="*/ 79964 h 6858000"/>
              <a:gd name="connsiteX9" fmla="*/ 82462 w 12197673"/>
              <a:gd name="connsiteY9"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7673 w 12197673"/>
              <a:gd name="connsiteY3" fmla="*/ 6858000 h 6858000"/>
              <a:gd name="connsiteX4" fmla="*/ 12197673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97673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97673 w 12197673"/>
              <a:gd name="connsiteY5" fmla="*/ 6858000 h 6858000"/>
              <a:gd name="connsiteX6" fmla="*/ 12112052 w 12197673"/>
              <a:gd name="connsiteY6" fmla="*/ 6858000 h 6858000"/>
              <a:gd name="connsiteX7" fmla="*/ 74950 w 12197673"/>
              <a:gd name="connsiteY7" fmla="*/ 6855502 h 6858000"/>
              <a:gd name="connsiteX8" fmla="*/ 2498 w 12197673"/>
              <a:gd name="connsiteY8" fmla="*/ 6858000 h 6858000"/>
              <a:gd name="connsiteX9" fmla="*/ 2498 w 12197673"/>
              <a:gd name="connsiteY9" fmla="*/ 6858000 h 6858000"/>
              <a:gd name="connsiteX10" fmla="*/ 0 w 12197673"/>
              <a:gd name="connsiteY10" fmla="*/ 6785548 h 6858000"/>
              <a:gd name="connsiteX11" fmla="*/ 2498 w 12197673"/>
              <a:gd name="connsiteY11" fmla="*/ 79964 h 6858000"/>
              <a:gd name="connsiteX12" fmla="*/ 82462 w 12197673"/>
              <a:gd name="connsiteY12"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2498 w 12197673"/>
              <a:gd name="connsiteY7" fmla="*/ 6858000 h 6858224"/>
              <a:gd name="connsiteX8" fmla="*/ 0 w 12197673"/>
              <a:gd name="connsiteY8" fmla="*/ 6785548 h 6858224"/>
              <a:gd name="connsiteX9" fmla="*/ 2498 w 12197673"/>
              <a:gd name="connsiteY9" fmla="*/ 79964 h 6858224"/>
              <a:gd name="connsiteX10" fmla="*/ 82462 w 12197673"/>
              <a:gd name="connsiteY10"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2498 w 12197673"/>
              <a:gd name="connsiteY7" fmla="*/ 6858000 h 6858224"/>
              <a:gd name="connsiteX8" fmla="*/ 0 w 12197673"/>
              <a:gd name="connsiteY8" fmla="*/ 6785548 h 6858224"/>
              <a:gd name="connsiteX9" fmla="*/ 2498 w 12197673"/>
              <a:gd name="connsiteY9" fmla="*/ 79964 h 6858224"/>
              <a:gd name="connsiteX10" fmla="*/ 82462 w 12197673"/>
              <a:gd name="connsiteY10"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0 w 12197673"/>
              <a:gd name="connsiteY7" fmla="*/ 6785548 h 6858224"/>
              <a:gd name="connsiteX8" fmla="*/ 2498 w 12197673"/>
              <a:gd name="connsiteY8" fmla="*/ 79964 h 6858224"/>
              <a:gd name="connsiteX9" fmla="*/ 82462 w 12197673"/>
              <a:gd name="connsiteY9"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7673" h="6858224">
                <a:moveTo>
                  <a:pt x="82462" y="0"/>
                </a:moveTo>
                <a:lnTo>
                  <a:pt x="12117709" y="0"/>
                </a:lnTo>
                <a:cubicBezTo>
                  <a:pt x="12161872" y="0"/>
                  <a:pt x="12197673" y="35801"/>
                  <a:pt x="12197673" y="79964"/>
                </a:cubicBezTo>
                <a:cubicBezTo>
                  <a:pt x="12196615" y="2312660"/>
                  <a:pt x="12195556" y="4545356"/>
                  <a:pt x="12194498" y="6778052"/>
                </a:cubicBezTo>
                <a:cubicBezTo>
                  <a:pt x="12199495" y="6827186"/>
                  <a:pt x="12149527" y="6861331"/>
                  <a:pt x="12112052" y="6858000"/>
                </a:cubicBezTo>
                <a:lnTo>
                  <a:pt x="74950" y="6855502"/>
                </a:lnTo>
                <a:cubicBezTo>
                  <a:pt x="37476" y="6857167"/>
                  <a:pt x="-1" y="6826354"/>
                  <a:pt x="0" y="6785548"/>
                </a:cubicBezTo>
                <a:cubicBezTo>
                  <a:pt x="833" y="4550353"/>
                  <a:pt x="1665" y="2315159"/>
                  <a:pt x="2498" y="79964"/>
                </a:cubicBezTo>
                <a:cubicBezTo>
                  <a:pt x="2498" y="35801"/>
                  <a:pt x="38299" y="0"/>
                  <a:pt x="82462" y="0"/>
                </a:cubicBezTo>
                <a:close/>
              </a:path>
            </a:pathLst>
          </a:custGeo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2" name="Titel 1"/>
          <p:cNvSpPr>
            <a:spLocks noGrp="1"/>
          </p:cNvSpPr>
          <p:nvPr>
            <p:ph type="title"/>
          </p:nvPr>
        </p:nvSpPr>
        <p:spPr>
          <a:xfrm>
            <a:off x="471600" y="190800"/>
            <a:ext cx="11250000" cy="648000"/>
          </a:xfrm>
        </p:spPr>
        <p:txBody>
          <a:bodyPr anchor="t" anchorCtr="0"/>
          <a:lstStyle>
            <a:lvl1pPr algn="l">
              <a:defRPr/>
            </a:lvl1pPr>
          </a:lstStyle>
          <a:p>
            <a:r>
              <a:rPr lang="nl-NL" dirty="0"/>
              <a:t>Klik om stijl te bewerken</a:t>
            </a:r>
            <a:endParaRPr lang="en-GB" dirty="0"/>
          </a:p>
        </p:txBody>
      </p:sp>
      <p:sp>
        <p:nvSpPr>
          <p:cNvPr id="4" name="Tijdelijke aanduiding voor datum 3"/>
          <p:cNvSpPr>
            <a:spLocks noGrp="1"/>
          </p:cNvSpPr>
          <p:nvPr>
            <p:ph type="dt" sz="half" idx="10"/>
          </p:nvPr>
        </p:nvSpPr>
        <p:spPr/>
        <p:txBody>
          <a:bodyPr/>
          <a:lstStyle/>
          <a:p>
            <a:fld id="{74B24F41-107C-486D-A12B-05A6C1440399}" type="datetime4">
              <a:rPr lang="en-GB" smtClean="0"/>
              <a:t>29 May 2020</a:t>
            </a:fld>
            <a:endParaRPr lang="en-GB" dirty="0"/>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0" y="-521614"/>
            <a:ext cx="5835316" cy="469107"/>
          </a:xfrm>
          <a:prstGeom prst="rect">
            <a:avLst/>
          </a:prstGeom>
          <a:noFill/>
        </p:spPr>
        <p:txBody>
          <a:bodyPr wrap="square" rtlCol="0" anchor="b">
            <a:noAutofit/>
          </a:bodyPr>
          <a:lstStyle/>
          <a:p>
            <a:r>
              <a:rPr lang="nl-NL" sz="1333" b="0" kern="1200" dirty="0">
                <a:solidFill>
                  <a:schemeClr val="accent6"/>
                </a:solidFill>
                <a:latin typeface="+mn-lt"/>
                <a:ea typeface="+mn-ea"/>
                <a:cs typeface="+mn-cs"/>
              </a:rPr>
              <a:t>Afbeelding (beeldvullend) + Titel + Logo positief</a:t>
            </a:r>
          </a:p>
        </p:txBody>
      </p:sp>
      <p:grpSp>
        <p:nvGrpSpPr>
          <p:cNvPr id="49" name="Groep 48">
            <a:extLst>
              <a:ext uri="{FF2B5EF4-FFF2-40B4-BE49-F238E27FC236}">
                <a16:creationId xmlns:a16="http://schemas.microsoft.com/office/drawing/2014/main" id="{1CB86391-C3A1-48A9-83A9-CDA9762F1594}"/>
              </a:ext>
            </a:extLst>
          </p:cNvPr>
          <p:cNvGrpSpPr/>
          <p:nvPr userDrawn="1"/>
        </p:nvGrpSpPr>
        <p:grpSpPr>
          <a:xfrm>
            <a:off x="12363871" y="-26002"/>
            <a:ext cx="3064812" cy="4530930"/>
            <a:chOff x="15419739" y="-26002"/>
            <a:chExt cx="3064812" cy="4530930"/>
          </a:xfrm>
        </p:grpSpPr>
        <p:sp>
          <p:nvSpPr>
            <p:cNvPr id="50" name="Tekstvak 33">
              <a:extLst>
                <a:ext uri="{FF2B5EF4-FFF2-40B4-BE49-F238E27FC236}">
                  <a16:creationId xmlns:a16="http://schemas.microsoft.com/office/drawing/2014/main" id="{2ADCA6F7-250E-4B72-B0DE-999BA8D650E9}"/>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51" name="Tekstvak 33">
              <a:extLst>
                <a:ext uri="{FF2B5EF4-FFF2-40B4-BE49-F238E27FC236}">
                  <a16:creationId xmlns:a16="http://schemas.microsoft.com/office/drawing/2014/main" id="{3D453C5E-479D-4F1D-9BFA-30110A165968}"/>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52" name="Ovaal 51">
              <a:extLst>
                <a:ext uri="{FF2B5EF4-FFF2-40B4-BE49-F238E27FC236}">
                  <a16:creationId xmlns:a16="http://schemas.microsoft.com/office/drawing/2014/main" id="{59F34422-D145-4BF6-A5D7-5A45F15882CF}"/>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53" name="Ovaal 52">
              <a:extLst>
                <a:ext uri="{FF2B5EF4-FFF2-40B4-BE49-F238E27FC236}">
                  <a16:creationId xmlns:a16="http://schemas.microsoft.com/office/drawing/2014/main" id="{4ADA4B64-59B4-479B-9F6E-5DE33E2E0DCC}"/>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54" name="Picture 3">
              <a:extLst>
                <a:ext uri="{FF2B5EF4-FFF2-40B4-BE49-F238E27FC236}">
                  <a16:creationId xmlns:a16="http://schemas.microsoft.com/office/drawing/2014/main" id="{10A71998-BA22-4DB3-B07F-8262582350FC}"/>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55" name="Picture 3">
              <a:extLst>
                <a:ext uri="{FF2B5EF4-FFF2-40B4-BE49-F238E27FC236}">
                  <a16:creationId xmlns:a16="http://schemas.microsoft.com/office/drawing/2014/main" id="{1267A3F0-F5E6-42C8-8255-B54664104A90}"/>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56" name="Tekstvak 55">
              <a:extLst>
                <a:ext uri="{FF2B5EF4-FFF2-40B4-BE49-F238E27FC236}">
                  <a16:creationId xmlns:a16="http://schemas.microsoft.com/office/drawing/2014/main" id="{5D1F6466-7E88-4C40-A76B-97C83D60BF13}"/>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57" name="Rechthoek 56">
              <a:extLst>
                <a:ext uri="{FF2B5EF4-FFF2-40B4-BE49-F238E27FC236}">
                  <a16:creationId xmlns:a16="http://schemas.microsoft.com/office/drawing/2014/main" id="{10BCE57B-8314-47AB-A6BE-574598C816CC}"/>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58" name="Groep 57">
              <a:extLst>
                <a:ext uri="{FF2B5EF4-FFF2-40B4-BE49-F238E27FC236}">
                  <a16:creationId xmlns:a16="http://schemas.microsoft.com/office/drawing/2014/main" id="{BB7B2A28-7AEE-40D5-9733-8D3A2C919095}"/>
                </a:ext>
              </a:extLst>
            </p:cNvPr>
            <p:cNvGrpSpPr/>
            <p:nvPr userDrawn="1"/>
          </p:nvGrpSpPr>
          <p:grpSpPr>
            <a:xfrm>
              <a:off x="15563079" y="358984"/>
              <a:ext cx="2489424" cy="4145944"/>
              <a:chOff x="15563079" y="358984"/>
              <a:chExt cx="2315772" cy="4145944"/>
            </a:xfrm>
          </p:grpSpPr>
          <p:cxnSp>
            <p:nvCxnSpPr>
              <p:cNvPr id="60" name="Rechte verbindingslijn 59">
                <a:extLst>
                  <a:ext uri="{FF2B5EF4-FFF2-40B4-BE49-F238E27FC236}">
                    <a16:creationId xmlns:a16="http://schemas.microsoft.com/office/drawing/2014/main" id="{01932068-E8F3-44CA-AA82-2D843012EC09}"/>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86E371A4-53F6-4D69-A675-664419DD843B}"/>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03719C9B-17A2-4360-8F5A-F299E9B3973B}"/>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59" name="Afbeelding 58">
              <a:extLst>
                <a:ext uri="{FF2B5EF4-FFF2-40B4-BE49-F238E27FC236}">
                  <a16:creationId xmlns:a16="http://schemas.microsoft.com/office/drawing/2014/main" id="{10AA9EE2-B9F0-4E48-B247-7B2A80B4D54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graphicFrame>
        <p:nvGraphicFramePr>
          <p:cNvPr id="37" name="Tijdelijke aanduiding voor SmartArt 67">
            <a:hlinkClick r:id="rId5" action="ppaction://hlinkfile"/>
            <a:extLst>
              <a:ext uri="{FF2B5EF4-FFF2-40B4-BE49-F238E27FC236}">
                <a16:creationId xmlns:a16="http://schemas.microsoft.com/office/drawing/2014/main" id="{7C94B22E-8EC8-4E2D-A16C-6FCF30056BD5}"/>
              </a:ext>
            </a:extLst>
          </p:cNvPr>
          <p:cNvGraphicFramePr>
            <a:graphicFrameLocks/>
          </p:cNvGraphicFramePr>
          <p:nvPr userDrawn="1">
            <p:extLst>
              <p:ext uri="{D42A27DB-BD31-4B8C-83A1-F6EECF244321}">
                <p14:modId xmlns:p14="http://schemas.microsoft.com/office/powerpoint/2010/main" val="3170613578"/>
              </p:ext>
            </p:extLst>
          </p:nvPr>
        </p:nvGraphicFramePr>
        <p:xfrm>
          <a:off x="9936848" y="5159881"/>
          <a:ext cx="1780679" cy="58028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7" name="Tijdelijke aanduiding voor SmartArt 16">
            <a:extLst>
              <a:ext uri="{FF2B5EF4-FFF2-40B4-BE49-F238E27FC236}">
                <a16:creationId xmlns:a16="http://schemas.microsoft.com/office/drawing/2014/main" id="{1E229961-85C5-499F-9FD2-6FA8DE7CCAFF}"/>
              </a:ext>
            </a:extLst>
          </p:cNvPr>
          <p:cNvSpPr>
            <a:spLocks noGrp="1"/>
          </p:cNvSpPr>
          <p:nvPr>
            <p:ph type="dgm" sz="quarter" idx="14" hasCustomPrompt="1"/>
          </p:nvPr>
        </p:nvSpPr>
        <p:spPr>
          <a:xfrm>
            <a:off x="9936848" y="6147174"/>
            <a:ext cx="1778902" cy="580580"/>
          </a:xfrm>
          <a:blipFill>
            <a:blip r:embed="rId11"/>
            <a:stretch>
              <a:fillRect/>
            </a:stretch>
          </a:blipFill>
        </p:spPr>
        <p:txBody>
          <a:bodyPr/>
          <a:lstStyle>
            <a:lvl1pPr>
              <a:defRPr sz="1800"/>
            </a:lvl1pPr>
          </a:lstStyle>
          <a:p>
            <a:r>
              <a:rPr lang="nl-NL" dirty="0"/>
              <a:t>Logo </a:t>
            </a:r>
            <a:r>
              <a:rPr lang="nl-NL" dirty="0" err="1"/>
              <a:t>HbR</a:t>
            </a:r>
            <a:endParaRPr lang="nl-NL" dirty="0"/>
          </a:p>
        </p:txBody>
      </p:sp>
    </p:spTree>
    <p:extLst>
      <p:ext uri="{BB962C8B-B14F-4D97-AF65-F5344CB8AC3E}">
        <p14:creationId xmlns:p14="http://schemas.microsoft.com/office/powerpoint/2010/main" val="4234227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629" userDrawn="1">
          <p15:clr>
            <a:srgbClr val="FBAE40"/>
          </p15:clr>
        </p15:guide>
        <p15:guide id="2" orient="horz" pos="51" userDrawn="1">
          <p15:clr>
            <a:srgbClr val="FBAE40"/>
          </p15:clr>
        </p15:guide>
        <p15:guide id="3" orient="horz" pos="4269" userDrawn="1">
          <p15:clr>
            <a:srgbClr val="FBAE40"/>
          </p15:clr>
        </p15:guide>
        <p15:guide id="4" pos="53"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fbeelding (beeldvullend) donkerblauw logo">
    <p:spTree>
      <p:nvGrpSpPr>
        <p:cNvPr id="1" name=""/>
        <p:cNvGrpSpPr/>
        <p:nvPr/>
      </p:nvGrpSpPr>
      <p:grpSpPr>
        <a:xfrm>
          <a:off x="0" y="0"/>
          <a:ext cx="0" cy="0"/>
          <a:chOff x="0" y="0"/>
          <a:chExt cx="0" cy="0"/>
        </a:xfrm>
      </p:grpSpPr>
      <p:sp>
        <p:nvSpPr>
          <p:cNvPr id="23" name="Afgeronde rechthoek 7">
            <a:extLst>
              <a:ext uri="{FF2B5EF4-FFF2-40B4-BE49-F238E27FC236}">
                <a16:creationId xmlns:a16="http://schemas.microsoft.com/office/drawing/2014/main" id="{9E686FF5-BE1E-475E-BC37-372393A83A53}"/>
              </a:ext>
            </a:extLst>
          </p:cNvPr>
          <p:cNvSpPr/>
          <p:nvPr userDrawn="1"/>
        </p:nvSpPr>
        <p:spPr>
          <a:xfrm>
            <a:off x="-1539" y="0"/>
            <a:ext cx="12195175" cy="6858000"/>
          </a:xfrm>
          <a:prstGeom prst="roundRect">
            <a:avLst>
              <a:gd name="adj" fmla="val 138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7" name="Tijdelijke aanduiding voor afbeelding 2">
            <a:extLst>
              <a:ext uri="{FF2B5EF4-FFF2-40B4-BE49-F238E27FC236}">
                <a16:creationId xmlns:a16="http://schemas.microsoft.com/office/drawing/2014/main" id="{CF3E00E1-AB35-491F-9666-07C58A64188F}"/>
              </a:ext>
            </a:extLst>
          </p:cNvPr>
          <p:cNvSpPr>
            <a:spLocks noGrp="1"/>
          </p:cNvSpPr>
          <p:nvPr>
            <p:ph type="pic" idx="13"/>
          </p:nvPr>
        </p:nvSpPr>
        <p:spPr>
          <a:xfrm>
            <a:off x="-2498" y="0"/>
            <a:ext cx="12197673" cy="6858224"/>
          </a:xfrm>
          <a:custGeom>
            <a:avLst/>
            <a:gdLst>
              <a:gd name="connsiteX0" fmla="*/ 79964 w 12195175"/>
              <a:gd name="connsiteY0" fmla="*/ 0 h 6858000"/>
              <a:gd name="connsiteX1" fmla="*/ 12115211 w 12195175"/>
              <a:gd name="connsiteY1" fmla="*/ 0 h 6858000"/>
              <a:gd name="connsiteX2" fmla="*/ 12195175 w 12195175"/>
              <a:gd name="connsiteY2" fmla="*/ 79964 h 6858000"/>
              <a:gd name="connsiteX3" fmla="*/ 12195175 w 12195175"/>
              <a:gd name="connsiteY3" fmla="*/ 6858000 h 6858000"/>
              <a:gd name="connsiteX4" fmla="*/ 12195175 w 12195175"/>
              <a:gd name="connsiteY4" fmla="*/ 6858000 h 6858000"/>
              <a:gd name="connsiteX5" fmla="*/ 0 w 12195175"/>
              <a:gd name="connsiteY5" fmla="*/ 6858000 h 6858000"/>
              <a:gd name="connsiteX6" fmla="*/ 0 w 12195175"/>
              <a:gd name="connsiteY6" fmla="*/ 6858000 h 6858000"/>
              <a:gd name="connsiteX7" fmla="*/ 0 w 12195175"/>
              <a:gd name="connsiteY7" fmla="*/ 79964 h 6858000"/>
              <a:gd name="connsiteX8" fmla="*/ 79964 w 12195175"/>
              <a:gd name="connsiteY8"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7673 w 12197673"/>
              <a:gd name="connsiteY3" fmla="*/ 6858000 h 6858000"/>
              <a:gd name="connsiteX4" fmla="*/ 12197673 w 12197673"/>
              <a:gd name="connsiteY4" fmla="*/ 6858000 h 6858000"/>
              <a:gd name="connsiteX5" fmla="*/ 2498 w 12197673"/>
              <a:gd name="connsiteY5" fmla="*/ 6858000 h 6858000"/>
              <a:gd name="connsiteX6" fmla="*/ 2498 w 12197673"/>
              <a:gd name="connsiteY6" fmla="*/ 6858000 h 6858000"/>
              <a:gd name="connsiteX7" fmla="*/ 0 w 12197673"/>
              <a:gd name="connsiteY7" fmla="*/ 6785548 h 6858000"/>
              <a:gd name="connsiteX8" fmla="*/ 2498 w 12197673"/>
              <a:gd name="connsiteY8" fmla="*/ 79964 h 6858000"/>
              <a:gd name="connsiteX9" fmla="*/ 82462 w 12197673"/>
              <a:gd name="connsiteY9"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7673 w 12197673"/>
              <a:gd name="connsiteY3" fmla="*/ 6858000 h 6858000"/>
              <a:gd name="connsiteX4" fmla="*/ 12197673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97673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97673 w 12197673"/>
              <a:gd name="connsiteY5" fmla="*/ 6858000 h 6858000"/>
              <a:gd name="connsiteX6" fmla="*/ 12112052 w 12197673"/>
              <a:gd name="connsiteY6" fmla="*/ 6858000 h 6858000"/>
              <a:gd name="connsiteX7" fmla="*/ 74950 w 12197673"/>
              <a:gd name="connsiteY7" fmla="*/ 6855502 h 6858000"/>
              <a:gd name="connsiteX8" fmla="*/ 2498 w 12197673"/>
              <a:gd name="connsiteY8" fmla="*/ 6858000 h 6858000"/>
              <a:gd name="connsiteX9" fmla="*/ 2498 w 12197673"/>
              <a:gd name="connsiteY9" fmla="*/ 6858000 h 6858000"/>
              <a:gd name="connsiteX10" fmla="*/ 0 w 12197673"/>
              <a:gd name="connsiteY10" fmla="*/ 6785548 h 6858000"/>
              <a:gd name="connsiteX11" fmla="*/ 2498 w 12197673"/>
              <a:gd name="connsiteY11" fmla="*/ 79964 h 6858000"/>
              <a:gd name="connsiteX12" fmla="*/ 82462 w 12197673"/>
              <a:gd name="connsiteY12"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2498 w 12197673"/>
              <a:gd name="connsiteY7" fmla="*/ 6858000 h 6858224"/>
              <a:gd name="connsiteX8" fmla="*/ 0 w 12197673"/>
              <a:gd name="connsiteY8" fmla="*/ 6785548 h 6858224"/>
              <a:gd name="connsiteX9" fmla="*/ 2498 w 12197673"/>
              <a:gd name="connsiteY9" fmla="*/ 79964 h 6858224"/>
              <a:gd name="connsiteX10" fmla="*/ 82462 w 12197673"/>
              <a:gd name="connsiteY10"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2498 w 12197673"/>
              <a:gd name="connsiteY7" fmla="*/ 6858000 h 6858224"/>
              <a:gd name="connsiteX8" fmla="*/ 0 w 12197673"/>
              <a:gd name="connsiteY8" fmla="*/ 6785548 h 6858224"/>
              <a:gd name="connsiteX9" fmla="*/ 2498 w 12197673"/>
              <a:gd name="connsiteY9" fmla="*/ 79964 h 6858224"/>
              <a:gd name="connsiteX10" fmla="*/ 82462 w 12197673"/>
              <a:gd name="connsiteY10"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0 w 12197673"/>
              <a:gd name="connsiteY7" fmla="*/ 6785548 h 6858224"/>
              <a:gd name="connsiteX8" fmla="*/ 2498 w 12197673"/>
              <a:gd name="connsiteY8" fmla="*/ 79964 h 6858224"/>
              <a:gd name="connsiteX9" fmla="*/ 82462 w 12197673"/>
              <a:gd name="connsiteY9"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7673" h="6858224">
                <a:moveTo>
                  <a:pt x="82462" y="0"/>
                </a:moveTo>
                <a:lnTo>
                  <a:pt x="12117709" y="0"/>
                </a:lnTo>
                <a:cubicBezTo>
                  <a:pt x="12161872" y="0"/>
                  <a:pt x="12197673" y="35801"/>
                  <a:pt x="12197673" y="79964"/>
                </a:cubicBezTo>
                <a:cubicBezTo>
                  <a:pt x="12196615" y="2312660"/>
                  <a:pt x="12195556" y="4545356"/>
                  <a:pt x="12194498" y="6778052"/>
                </a:cubicBezTo>
                <a:cubicBezTo>
                  <a:pt x="12199495" y="6827186"/>
                  <a:pt x="12149527" y="6861331"/>
                  <a:pt x="12112052" y="6858000"/>
                </a:cubicBezTo>
                <a:lnTo>
                  <a:pt x="74950" y="6855502"/>
                </a:lnTo>
                <a:cubicBezTo>
                  <a:pt x="37476" y="6857167"/>
                  <a:pt x="-1" y="6826354"/>
                  <a:pt x="0" y="6785548"/>
                </a:cubicBezTo>
                <a:cubicBezTo>
                  <a:pt x="833" y="4550353"/>
                  <a:pt x="1665" y="2315159"/>
                  <a:pt x="2498" y="79964"/>
                </a:cubicBezTo>
                <a:cubicBezTo>
                  <a:pt x="2498" y="35801"/>
                  <a:pt x="38299" y="0"/>
                  <a:pt x="82462" y="0"/>
                </a:cubicBezTo>
                <a:close/>
              </a:path>
            </a:pathLst>
          </a:custGeo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2" name="Titel 1"/>
          <p:cNvSpPr>
            <a:spLocks noGrp="1"/>
          </p:cNvSpPr>
          <p:nvPr>
            <p:ph type="title"/>
          </p:nvPr>
        </p:nvSpPr>
        <p:spPr>
          <a:xfrm>
            <a:off x="471600" y="190800"/>
            <a:ext cx="11250000" cy="648000"/>
          </a:xfrm>
        </p:spPr>
        <p:txBody>
          <a:bodyPr anchor="t" anchorCtr="0"/>
          <a:lstStyle>
            <a:lvl1pPr algn="l">
              <a:defRPr/>
            </a:lvl1pPr>
          </a:lstStyle>
          <a:p>
            <a:r>
              <a:rPr lang="nl-NL" dirty="0"/>
              <a:t>Klik om stijl te bewerken</a:t>
            </a:r>
            <a:endParaRPr lang="en-GB" dirty="0"/>
          </a:p>
        </p:txBody>
      </p:sp>
      <p:sp>
        <p:nvSpPr>
          <p:cNvPr id="4" name="Tijdelijke aanduiding voor datum 3"/>
          <p:cNvSpPr>
            <a:spLocks noGrp="1"/>
          </p:cNvSpPr>
          <p:nvPr>
            <p:ph type="dt" sz="half" idx="10"/>
          </p:nvPr>
        </p:nvSpPr>
        <p:spPr/>
        <p:txBody>
          <a:bodyPr/>
          <a:lstStyle/>
          <a:p>
            <a:fld id="{74F8A65E-AAD8-48F0-AE8B-45D23D737D7B}"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1" y="-521614"/>
            <a:ext cx="5751095" cy="469107"/>
          </a:xfrm>
          <a:prstGeom prst="rect">
            <a:avLst/>
          </a:prstGeom>
          <a:noFill/>
        </p:spPr>
        <p:txBody>
          <a:bodyPr wrap="square" rtlCol="0" anchor="b">
            <a:noAutofit/>
          </a:bodyPr>
          <a:lstStyle/>
          <a:p>
            <a:r>
              <a:rPr lang="nl-NL" sz="1333" b="0" kern="1200" dirty="0">
                <a:solidFill>
                  <a:schemeClr val="accent6"/>
                </a:solidFill>
                <a:latin typeface="+mn-lt"/>
                <a:ea typeface="+mn-ea"/>
                <a:cs typeface="+mn-cs"/>
              </a:rPr>
              <a:t>Afbeelding (beeldvullend) + Titel + Logo donkerblauw</a:t>
            </a:r>
          </a:p>
        </p:txBody>
      </p:sp>
      <p:grpSp>
        <p:nvGrpSpPr>
          <p:cNvPr id="49" name="Groep 48">
            <a:extLst>
              <a:ext uri="{FF2B5EF4-FFF2-40B4-BE49-F238E27FC236}">
                <a16:creationId xmlns:a16="http://schemas.microsoft.com/office/drawing/2014/main" id="{1CB86391-C3A1-48A9-83A9-CDA9762F1594}"/>
              </a:ext>
            </a:extLst>
          </p:cNvPr>
          <p:cNvGrpSpPr/>
          <p:nvPr userDrawn="1"/>
        </p:nvGrpSpPr>
        <p:grpSpPr>
          <a:xfrm>
            <a:off x="12363871" y="-26002"/>
            <a:ext cx="3064812" cy="4530930"/>
            <a:chOff x="15419739" y="-26002"/>
            <a:chExt cx="3064812" cy="4530930"/>
          </a:xfrm>
        </p:grpSpPr>
        <p:sp>
          <p:nvSpPr>
            <p:cNvPr id="50" name="Tekstvak 33">
              <a:extLst>
                <a:ext uri="{FF2B5EF4-FFF2-40B4-BE49-F238E27FC236}">
                  <a16:creationId xmlns:a16="http://schemas.microsoft.com/office/drawing/2014/main" id="{2ADCA6F7-250E-4B72-B0DE-999BA8D650E9}"/>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51" name="Tekstvak 33">
              <a:extLst>
                <a:ext uri="{FF2B5EF4-FFF2-40B4-BE49-F238E27FC236}">
                  <a16:creationId xmlns:a16="http://schemas.microsoft.com/office/drawing/2014/main" id="{3D453C5E-479D-4F1D-9BFA-30110A165968}"/>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52" name="Ovaal 51">
              <a:extLst>
                <a:ext uri="{FF2B5EF4-FFF2-40B4-BE49-F238E27FC236}">
                  <a16:creationId xmlns:a16="http://schemas.microsoft.com/office/drawing/2014/main" id="{59F34422-D145-4BF6-A5D7-5A45F15882CF}"/>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53" name="Ovaal 52">
              <a:extLst>
                <a:ext uri="{FF2B5EF4-FFF2-40B4-BE49-F238E27FC236}">
                  <a16:creationId xmlns:a16="http://schemas.microsoft.com/office/drawing/2014/main" id="{4ADA4B64-59B4-479B-9F6E-5DE33E2E0DCC}"/>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54" name="Picture 3">
              <a:extLst>
                <a:ext uri="{FF2B5EF4-FFF2-40B4-BE49-F238E27FC236}">
                  <a16:creationId xmlns:a16="http://schemas.microsoft.com/office/drawing/2014/main" id="{10A71998-BA22-4DB3-B07F-8262582350FC}"/>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55" name="Picture 3">
              <a:extLst>
                <a:ext uri="{FF2B5EF4-FFF2-40B4-BE49-F238E27FC236}">
                  <a16:creationId xmlns:a16="http://schemas.microsoft.com/office/drawing/2014/main" id="{1267A3F0-F5E6-42C8-8255-B54664104A90}"/>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56" name="Tekstvak 55">
              <a:extLst>
                <a:ext uri="{FF2B5EF4-FFF2-40B4-BE49-F238E27FC236}">
                  <a16:creationId xmlns:a16="http://schemas.microsoft.com/office/drawing/2014/main" id="{5D1F6466-7E88-4C40-A76B-97C83D60BF13}"/>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57" name="Rechthoek 56">
              <a:extLst>
                <a:ext uri="{FF2B5EF4-FFF2-40B4-BE49-F238E27FC236}">
                  <a16:creationId xmlns:a16="http://schemas.microsoft.com/office/drawing/2014/main" id="{10BCE57B-8314-47AB-A6BE-574598C816CC}"/>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58" name="Groep 57">
              <a:extLst>
                <a:ext uri="{FF2B5EF4-FFF2-40B4-BE49-F238E27FC236}">
                  <a16:creationId xmlns:a16="http://schemas.microsoft.com/office/drawing/2014/main" id="{BB7B2A28-7AEE-40D5-9733-8D3A2C919095}"/>
                </a:ext>
              </a:extLst>
            </p:cNvPr>
            <p:cNvGrpSpPr/>
            <p:nvPr userDrawn="1"/>
          </p:nvGrpSpPr>
          <p:grpSpPr>
            <a:xfrm>
              <a:off x="15563079" y="358984"/>
              <a:ext cx="2489424" cy="4145944"/>
              <a:chOff x="15563079" y="358984"/>
              <a:chExt cx="2315772" cy="4145944"/>
            </a:xfrm>
          </p:grpSpPr>
          <p:cxnSp>
            <p:nvCxnSpPr>
              <p:cNvPr id="60" name="Rechte verbindingslijn 59">
                <a:extLst>
                  <a:ext uri="{FF2B5EF4-FFF2-40B4-BE49-F238E27FC236}">
                    <a16:creationId xmlns:a16="http://schemas.microsoft.com/office/drawing/2014/main" id="{01932068-E8F3-44CA-AA82-2D843012EC09}"/>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86E371A4-53F6-4D69-A675-664419DD843B}"/>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03719C9B-17A2-4360-8F5A-F299E9B3973B}"/>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59" name="Afbeelding 58">
              <a:extLst>
                <a:ext uri="{FF2B5EF4-FFF2-40B4-BE49-F238E27FC236}">
                  <a16:creationId xmlns:a16="http://schemas.microsoft.com/office/drawing/2014/main" id="{10AA9EE2-B9F0-4E48-B247-7B2A80B4D54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
        <p:nvSpPr>
          <p:cNvPr id="26" name="Tijdelijke aanduiding voor SmartArt 16">
            <a:extLst>
              <a:ext uri="{FF2B5EF4-FFF2-40B4-BE49-F238E27FC236}">
                <a16:creationId xmlns:a16="http://schemas.microsoft.com/office/drawing/2014/main" id="{9FF48B0A-4E27-4C06-82BD-2D1643A10F37}"/>
              </a:ext>
            </a:extLst>
          </p:cNvPr>
          <p:cNvSpPr>
            <a:spLocks noGrp="1"/>
          </p:cNvSpPr>
          <p:nvPr>
            <p:ph type="dgm" sz="quarter" idx="14" hasCustomPrompt="1"/>
          </p:nvPr>
        </p:nvSpPr>
        <p:spPr>
          <a:xfrm>
            <a:off x="9936848" y="6147174"/>
            <a:ext cx="1778902" cy="580580"/>
          </a:xfrm>
          <a:blipFill>
            <a:blip r:embed="rId5"/>
            <a:stretch>
              <a:fillRect/>
            </a:stretch>
          </a:blipFill>
        </p:spPr>
        <p:txBody>
          <a:bodyPr/>
          <a:lstStyle>
            <a:lvl1pPr>
              <a:defRPr sz="1800"/>
            </a:lvl1pPr>
          </a:lstStyle>
          <a:p>
            <a:r>
              <a:rPr lang="nl-NL" dirty="0"/>
              <a:t>Logo </a:t>
            </a:r>
            <a:r>
              <a:rPr lang="nl-NL" dirty="0" err="1"/>
              <a:t>HbR</a:t>
            </a:r>
            <a:endParaRPr lang="nl-NL" dirty="0"/>
          </a:p>
        </p:txBody>
      </p:sp>
    </p:spTree>
    <p:extLst>
      <p:ext uri="{BB962C8B-B14F-4D97-AF65-F5344CB8AC3E}">
        <p14:creationId xmlns:p14="http://schemas.microsoft.com/office/powerpoint/2010/main" val="3071534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fbeelding (beeldvullend) diapositief logo">
    <p:spTree>
      <p:nvGrpSpPr>
        <p:cNvPr id="1" name=""/>
        <p:cNvGrpSpPr/>
        <p:nvPr/>
      </p:nvGrpSpPr>
      <p:grpSpPr>
        <a:xfrm>
          <a:off x="0" y="0"/>
          <a:ext cx="0" cy="0"/>
          <a:chOff x="0" y="0"/>
          <a:chExt cx="0" cy="0"/>
        </a:xfrm>
      </p:grpSpPr>
      <p:sp>
        <p:nvSpPr>
          <p:cNvPr id="23" name="Afgeronde rechthoek 7">
            <a:extLst>
              <a:ext uri="{FF2B5EF4-FFF2-40B4-BE49-F238E27FC236}">
                <a16:creationId xmlns:a16="http://schemas.microsoft.com/office/drawing/2014/main" id="{9E686FF5-BE1E-475E-BC37-372393A83A53}"/>
              </a:ext>
            </a:extLst>
          </p:cNvPr>
          <p:cNvSpPr/>
          <p:nvPr userDrawn="1"/>
        </p:nvSpPr>
        <p:spPr>
          <a:xfrm>
            <a:off x="-1539" y="0"/>
            <a:ext cx="12195175" cy="6858000"/>
          </a:xfrm>
          <a:prstGeom prst="roundRect">
            <a:avLst>
              <a:gd name="adj" fmla="val 138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4" name="Tijdelijke aanduiding voor afbeelding 2">
            <a:extLst>
              <a:ext uri="{FF2B5EF4-FFF2-40B4-BE49-F238E27FC236}">
                <a16:creationId xmlns:a16="http://schemas.microsoft.com/office/drawing/2014/main" id="{1D05B44C-20FB-46FC-89F7-98B2A4DD604C}"/>
              </a:ext>
            </a:extLst>
          </p:cNvPr>
          <p:cNvSpPr>
            <a:spLocks noGrp="1"/>
          </p:cNvSpPr>
          <p:nvPr>
            <p:ph type="pic" idx="13"/>
          </p:nvPr>
        </p:nvSpPr>
        <p:spPr>
          <a:xfrm>
            <a:off x="-5055" y="0"/>
            <a:ext cx="12200599" cy="6859311"/>
          </a:xfrm>
          <a:custGeom>
            <a:avLst/>
            <a:gdLst>
              <a:gd name="connsiteX0" fmla="*/ 79964 w 12195175"/>
              <a:gd name="connsiteY0" fmla="*/ 0 h 6858000"/>
              <a:gd name="connsiteX1" fmla="*/ 12115211 w 12195175"/>
              <a:gd name="connsiteY1" fmla="*/ 0 h 6858000"/>
              <a:gd name="connsiteX2" fmla="*/ 12195175 w 12195175"/>
              <a:gd name="connsiteY2" fmla="*/ 79964 h 6858000"/>
              <a:gd name="connsiteX3" fmla="*/ 12195175 w 12195175"/>
              <a:gd name="connsiteY3" fmla="*/ 6858000 h 6858000"/>
              <a:gd name="connsiteX4" fmla="*/ 12195175 w 12195175"/>
              <a:gd name="connsiteY4" fmla="*/ 6858000 h 6858000"/>
              <a:gd name="connsiteX5" fmla="*/ 0 w 12195175"/>
              <a:gd name="connsiteY5" fmla="*/ 6858000 h 6858000"/>
              <a:gd name="connsiteX6" fmla="*/ 0 w 12195175"/>
              <a:gd name="connsiteY6" fmla="*/ 6858000 h 6858000"/>
              <a:gd name="connsiteX7" fmla="*/ 0 w 12195175"/>
              <a:gd name="connsiteY7" fmla="*/ 79964 h 6858000"/>
              <a:gd name="connsiteX8" fmla="*/ 79964 w 12195175"/>
              <a:gd name="connsiteY8"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7673 w 12197673"/>
              <a:gd name="connsiteY3" fmla="*/ 6858000 h 6858000"/>
              <a:gd name="connsiteX4" fmla="*/ 12197673 w 12197673"/>
              <a:gd name="connsiteY4" fmla="*/ 6858000 h 6858000"/>
              <a:gd name="connsiteX5" fmla="*/ 2498 w 12197673"/>
              <a:gd name="connsiteY5" fmla="*/ 6858000 h 6858000"/>
              <a:gd name="connsiteX6" fmla="*/ 2498 w 12197673"/>
              <a:gd name="connsiteY6" fmla="*/ 6858000 h 6858000"/>
              <a:gd name="connsiteX7" fmla="*/ 0 w 12197673"/>
              <a:gd name="connsiteY7" fmla="*/ 6785548 h 6858000"/>
              <a:gd name="connsiteX8" fmla="*/ 2498 w 12197673"/>
              <a:gd name="connsiteY8" fmla="*/ 79964 h 6858000"/>
              <a:gd name="connsiteX9" fmla="*/ 82462 w 12197673"/>
              <a:gd name="connsiteY9"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7673 w 12197673"/>
              <a:gd name="connsiteY3" fmla="*/ 6858000 h 6858000"/>
              <a:gd name="connsiteX4" fmla="*/ 12197673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97673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97673 w 12197673"/>
              <a:gd name="connsiteY5" fmla="*/ 6858000 h 6858000"/>
              <a:gd name="connsiteX6" fmla="*/ 12112052 w 12197673"/>
              <a:gd name="connsiteY6" fmla="*/ 6858000 h 6858000"/>
              <a:gd name="connsiteX7" fmla="*/ 74950 w 12197673"/>
              <a:gd name="connsiteY7" fmla="*/ 6855502 h 6858000"/>
              <a:gd name="connsiteX8" fmla="*/ 2498 w 12197673"/>
              <a:gd name="connsiteY8" fmla="*/ 6858000 h 6858000"/>
              <a:gd name="connsiteX9" fmla="*/ 2498 w 12197673"/>
              <a:gd name="connsiteY9" fmla="*/ 6858000 h 6858000"/>
              <a:gd name="connsiteX10" fmla="*/ 0 w 12197673"/>
              <a:gd name="connsiteY10" fmla="*/ 6785548 h 6858000"/>
              <a:gd name="connsiteX11" fmla="*/ 2498 w 12197673"/>
              <a:gd name="connsiteY11" fmla="*/ 79964 h 6858000"/>
              <a:gd name="connsiteX12" fmla="*/ 82462 w 12197673"/>
              <a:gd name="connsiteY12"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2498 w 12197673"/>
              <a:gd name="connsiteY7" fmla="*/ 6858000 h 6858224"/>
              <a:gd name="connsiteX8" fmla="*/ 0 w 12197673"/>
              <a:gd name="connsiteY8" fmla="*/ 6785548 h 6858224"/>
              <a:gd name="connsiteX9" fmla="*/ 2498 w 12197673"/>
              <a:gd name="connsiteY9" fmla="*/ 79964 h 6858224"/>
              <a:gd name="connsiteX10" fmla="*/ 82462 w 12197673"/>
              <a:gd name="connsiteY10"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2498 w 12197673"/>
              <a:gd name="connsiteY7" fmla="*/ 6858000 h 6858224"/>
              <a:gd name="connsiteX8" fmla="*/ 0 w 12197673"/>
              <a:gd name="connsiteY8" fmla="*/ 6785548 h 6858224"/>
              <a:gd name="connsiteX9" fmla="*/ 2498 w 12197673"/>
              <a:gd name="connsiteY9" fmla="*/ 79964 h 6858224"/>
              <a:gd name="connsiteX10" fmla="*/ 82462 w 12197673"/>
              <a:gd name="connsiteY10"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0 w 12197673"/>
              <a:gd name="connsiteY7" fmla="*/ 6785548 h 6858224"/>
              <a:gd name="connsiteX8" fmla="*/ 2498 w 12197673"/>
              <a:gd name="connsiteY8" fmla="*/ 79964 h 6858224"/>
              <a:gd name="connsiteX9" fmla="*/ 82462 w 12197673"/>
              <a:gd name="connsiteY9"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 name="connsiteX0" fmla="*/ 82462 w 12199580"/>
              <a:gd name="connsiteY0" fmla="*/ 0 h 6858178"/>
              <a:gd name="connsiteX1" fmla="*/ 12117709 w 12199580"/>
              <a:gd name="connsiteY1" fmla="*/ 0 h 6858178"/>
              <a:gd name="connsiteX2" fmla="*/ 12197673 w 12199580"/>
              <a:gd name="connsiteY2" fmla="*/ 79964 h 6858178"/>
              <a:gd name="connsiteX3" fmla="*/ 12199261 w 12199580"/>
              <a:gd name="connsiteY3" fmla="*/ 6768527 h 6858178"/>
              <a:gd name="connsiteX4" fmla="*/ 12112052 w 12199580"/>
              <a:gd name="connsiteY4" fmla="*/ 6858000 h 6858178"/>
              <a:gd name="connsiteX5" fmla="*/ 74950 w 12199580"/>
              <a:gd name="connsiteY5" fmla="*/ 6855502 h 6858178"/>
              <a:gd name="connsiteX6" fmla="*/ 0 w 12199580"/>
              <a:gd name="connsiteY6" fmla="*/ 6785548 h 6858178"/>
              <a:gd name="connsiteX7" fmla="*/ 2498 w 12199580"/>
              <a:gd name="connsiteY7" fmla="*/ 79964 h 6858178"/>
              <a:gd name="connsiteX8" fmla="*/ 82462 w 12199580"/>
              <a:gd name="connsiteY8" fmla="*/ 0 h 6858178"/>
              <a:gd name="connsiteX0" fmla="*/ 82462 w 12199580"/>
              <a:gd name="connsiteY0" fmla="*/ 0 h 6859535"/>
              <a:gd name="connsiteX1" fmla="*/ 12117709 w 12199580"/>
              <a:gd name="connsiteY1" fmla="*/ 0 h 6859535"/>
              <a:gd name="connsiteX2" fmla="*/ 12197673 w 12199580"/>
              <a:gd name="connsiteY2" fmla="*/ 79964 h 6859535"/>
              <a:gd name="connsiteX3" fmla="*/ 12199261 w 12199580"/>
              <a:gd name="connsiteY3" fmla="*/ 6768527 h 6859535"/>
              <a:gd name="connsiteX4" fmla="*/ 12112052 w 12199580"/>
              <a:gd name="connsiteY4" fmla="*/ 6858000 h 6859535"/>
              <a:gd name="connsiteX5" fmla="*/ 70974 w 12199580"/>
              <a:gd name="connsiteY5" fmla="*/ 6859478 h 6859535"/>
              <a:gd name="connsiteX6" fmla="*/ 0 w 12199580"/>
              <a:gd name="connsiteY6" fmla="*/ 6785548 h 6859535"/>
              <a:gd name="connsiteX7" fmla="*/ 2498 w 12199580"/>
              <a:gd name="connsiteY7" fmla="*/ 79964 h 6859535"/>
              <a:gd name="connsiteX8" fmla="*/ 82462 w 12199580"/>
              <a:gd name="connsiteY8" fmla="*/ 0 h 6859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9580" h="6859535">
                <a:moveTo>
                  <a:pt x="82462" y="0"/>
                </a:moveTo>
                <a:lnTo>
                  <a:pt x="12117709" y="0"/>
                </a:lnTo>
                <a:cubicBezTo>
                  <a:pt x="12161872" y="0"/>
                  <a:pt x="12197673" y="35801"/>
                  <a:pt x="12197673" y="79964"/>
                </a:cubicBezTo>
                <a:cubicBezTo>
                  <a:pt x="12196615" y="2312660"/>
                  <a:pt x="12200319" y="4535831"/>
                  <a:pt x="12199261" y="6768527"/>
                </a:cubicBezTo>
                <a:cubicBezTo>
                  <a:pt x="12204258" y="6817661"/>
                  <a:pt x="12149527" y="6861331"/>
                  <a:pt x="12112052" y="6858000"/>
                </a:cubicBezTo>
                <a:lnTo>
                  <a:pt x="70974" y="6859478"/>
                </a:lnTo>
                <a:cubicBezTo>
                  <a:pt x="33500" y="6861143"/>
                  <a:pt x="-1" y="6826354"/>
                  <a:pt x="0" y="6785548"/>
                </a:cubicBezTo>
                <a:cubicBezTo>
                  <a:pt x="833" y="4550353"/>
                  <a:pt x="1665" y="2315159"/>
                  <a:pt x="2498" y="79964"/>
                </a:cubicBezTo>
                <a:cubicBezTo>
                  <a:pt x="2498" y="35801"/>
                  <a:pt x="38299" y="0"/>
                  <a:pt x="82462" y="0"/>
                </a:cubicBezTo>
                <a:close/>
              </a:path>
            </a:pathLst>
          </a:custGeo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2" name="Titel 1"/>
          <p:cNvSpPr>
            <a:spLocks noGrp="1"/>
          </p:cNvSpPr>
          <p:nvPr>
            <p:ph type="title"/>
          </p:nvPr>
        </p:nvSpPr>
        <p:spPr>
          <a:xfrm>
            <a:off x="471600" y="190800"/>
            <a:ext cx="11250000" cy="648000"/>
          </a:xfrm>
        </p:spPr>
        <p:txBody>
          <a:bodyPr anchor="t" anchorCtr="0"/>
          <a:lstStyle>
            <a:lvl1pPr algn="l">
              <a:defRPr>
                <a:solidFill>
                  <a:schemeClr val="bg1"/>
                </a:solidFill>
              </a:defRPr>
            </a:lvl1pPr>
          </a:lstStyle>
          <a:p>
            <a:r>
              <a:rPr lang="nl-NL" dirty="0"/>
              <a:t>Klik om stijl te bewerken</a:t>
            </a:r>
            <a:endParaRPr lang="en-GB" dirty="0"/>
          </a:p>
        </p:txBody>
      </p:sp>
      <p:sp>
        <p:nvSpPr>
          <p:cNvPr id="4" name="Tijdelijke aanduiding voor datum 3"/>
          <p:cNvSpPr>
            <a:spLocks noGrp="1"/>
          </p:cNvSpPr>
          <p:nvPr>
            <p:ph type="dt" sz="half" idx="10"/>
          </p:nvPr>
        </p:nvSpPr>
        <p:spPr/>
        <p:txBody>
          <a:bodyPr/>
          <a:lstStyle>
            <a:lvl1pPr>
              <a:defRPr>
                <a:solidFill>
                  <a:schemeClr val="bg1"/>
                </a:solidFill>
              </a:defRPr>
            </a:lvl1pPr>
          </a:lstStyle>
          <a:p>
            <a:fld id="{8C3B6C6C-A51F-4640-A4E9-25CFDB85FAE0}" type="datetime4">
              <a:rPr lang="en-GB" smtClean="0"/>
              <a:t>29 May 2020</a:t>
            </a:fld>
            <a:endParaRPr lang="en-GB"/>
          </a:p>
        </p:txBody>
      </p:sp>
      <p:sp>
        <p:nvSpPr>
          <p:cNvPr id="5" name="Tijdelijke aanduiding voor voettekst 4"/>
          <p:cNvSpPr>
            <a:spLocks noGrp="1"/>
          </p:cNvSpPr>
          <p:nvPr>
            <p:ph type="ftr" sz="quarter" idx="11"/>
          </p:nvPr>
        </p:nvSpPr>
        <p:spPr/>
        <p:txBody>
          <a:bodyPr/>
          <a:lstStyle>
            <a:lvl1pPr>
              <a:defRPr>
                <a:solidFill>
                  <a:schemeClr val="bg1"/>
                </a:solidFill>
              </a:defRPr>
            </a:lvl1pPr>
          </a:lstStyle>
          <a:p>
            <a:r>
              <a:rPr lang="en-GB"/>
              <a:t>|</a:t>
            </a:r>
          </a:p>
        </p:txBody>
      </p:sp>
      <p:sp>
        <p:nvSpPr>
          <p:cNvPr id="6" name="Tijdelijke aanduiding voor dianummer 5"/>
          <p:cNvSpPr>
            <a:spLocks noGrp="1"/>
          </p:cNvSpPr>
          <p:nvPr>
            <p:ph type="sldNum" sz="quarter" idx="12"/>
          </p:nvPr>
        </p:nvSpPr>
        <p:spPr/>
        <p:txBody>
          <a:bodyPr/>
          <a:lstStyle>
            <a:lvl1pPr>
              <a:defRPr>
                <a:solidFill>
                  <a:schemeClr val="bg1"/>
                </a:solidFill>
              </a:defRPr>
            </a:lvl1pPr>
          </a:lstStyle>
          <a:p>
            <a:fld id="{534B5F9C-CFE5-4EC6-9BBB-664E2F56B033}" type="slidenum">
              <a:rPr lang="en-GB" smtClean="0"/>
              <a:pPr/>
              <a:t>‹nr.›</a:t>
            </a:fld>
            <a:endParaRPr lang="en-GB" dirty="0"/>
          </a:p>
        </p:txBody>
      </p:sp>
      <p:sp>
        <p:nvSpPr>
          <p:cNvPr id="10" name="Tekstvak 9"/>
          <p:cNvSpPr txBox="1"/>
          <p:nvPr userDrawn="1"/>
        </p:nvSpPr>
        <p:spPr>
          <a:xfrm>
            <a:off x="-1" y="-521614"/>
            <a:ext cx="5281863" cy="469107"/>
          </a:xfrm>
          <a:prstGeom prst="rect">
            <a:avLst/>
          </a:prstGeom>
          <a:noFill/>
        </p:spPr>
        <p:txBody>
          <a:bodyPr wrap="square" rtlCol="0" anchor="b">
            <a:noAutofit/>
          </a:bodyPr>
          <a:lstStyle/>
          <a:p>
            <a:r>
              <a:rPr lang="nl-NL" sz="1333" b="0" kern="1200" dirty="0">
                <a:solidFill>
                  <a:schemeClr val="accent6"/>
                </a:solidFill>
                <a:latin typeface="+mn-lt"/>
                <a:ea typeface="+mn-ea"/>
                <a:cs typeface="+mn-cs"/>
              </a:rPr>
              <a:t>Afbeelding (beeldvullend) + Titel + Logo diapositief</a:t>
            </a:r>
          </a:p>
        </p:txBody>
      </p:sp>
      <p:grpSp>
        <p:nvGrpSpPr>
          <p:cNvPr id="49" name="Groep 48">
            <a:extLst>
              <a:ext uri="{FF2B5EF4-FFF2-40B4-BE49-F238E27FC236}">
                <a16:creationId xmlns:a16="http://schemas.microsoft.com/office/drawing/2014/main" id="{1CB86391-C3A1-48A9-83A9-CDA9762F1594}"/>
              </a:ext>
            </a:extLst>
          </p:cNvPr>
          <p:cNvGrpSpPr/>
          <p:nvPr userDrawn="1"/>
        </p:nvGrpSpPr>
        <p:grpSpPr>
          <a:xfrm>
            <a:off x="12363871" y="-26002"/>
            <a:ext cx="3064812" cy="4530930"/>
            <a:chOff x="15419739" y="-26002"/>
            <a:chExt cx="3064812" cy="4530930"/>
          </a:xfrm>
        </p:grpSpPr>
        <p:sp>
          <p:nvSpPr>
            <p:cNvPr id="50" name="Tekstvak 33">
              <a:extLst>
                <a:ext uri="{FF2B5EF4-FFF2-40B4-BE49-F238E27FC236}">
                  <a16:creationId xmlns:a16="http://schemas.microsoft.com/office/drawing/2014/main" id="{2ADCA6F7-250E-4B72-B0DE-999BA8D650E9}"/>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51" name="Tekstvak 33">
              <a:extLst>
                <a:ext uri="{FF2B5EF4-FFF2-40B4-BE49-F238E27FC236}">
                  <a16:creationId xmlns:a16="http://schemas.microsoft.com/office/drawing/2014/main" id="{3D453C5E-479D-4F1D-9BFA-30110A165968}"/>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52" name="Ovaal 51">
              <a:extLst>
                <a:ext uri="{FF2B5EF4-FFF2-40B4-BE49-F238E27FC236}">
                  <a16:creationId xmlns:a16="http://schemas.microsoft.com/office/drawing/2014/main" id="{59F34422-D145-4BF6-A5D7-5A45F15882CF}"/>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53" name="Ovaal 52">
              <a:extLst>
                <a:ext uri="{FF2B5EF4-FFF2-40B4-BE49-F238E27FC236}">
                  <a16:creationId xmlns:a16="http://schemas.microsoft.com/office/drawing/2014/main" id="{4ADA4B64-59B4-479B-9F6E-5DE33E2E0DCC}"/>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54" name="Picture 3">
              <a:extLst>
                <a:ext uri="{FF2B5EF4-FFF2-40B4-BE49-F238E27FC236}">
                  <a16:creationId xmlns:a16="http://schemas.microsoft.com/office/drawing/2014/main" id="{10A71998-BA22-4DB3-B07F-8262582350FC}"/>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55" name="Picture 3">
              <a:extLst>
                <a:ext uri="{FF2B5EF4-FFF2-40B4-BE49-F238E27FC236}">
                  <a16:creationId xmlns:a16="http://schemas.microsoft.com/office/drawing/2014/main" id="{1267A3F0-F5E6-42C8-8255-B54664104A90}"/>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56" name="Tekstvak 55">
              <a:extLst>
                <a:ext uri="{FF2B5EF4-FFF2-40B4-BE49-F238E27FC236}">
                  <a16:creationId xmlns:a16="http://schemas.microsoft.com/office/drawing/2014/main" id="{5D1F6466-7E88-4C40-A76B-97C83D60BF13}"/>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57" name="Rechthoek 56">
              <a:extLst>
                <a:ext uri="{FF2B5EF4-FFF2-40B4-BE49-F238E27FC236}">
                  <a16:creationId xmlns:a16="http://schemas.microsoft.com/office/drawing/2014/main" id="{10BCE57B-8314-47AB-A6BE-574598C816CC}"/>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58" name="Groep 57">
              <a:extLst>
                <a:ext uri="{FF2B5EF4-FFF2-40B4-BE49-F238E27FC236}">
                  <a16:creationId xmlns:a16="http://schemas.microsoft.com/office/drawing/2014/main" id="{BB7B2A28-7AEE-40D5-9733-8D3A2C919095}"/>
                </a:ext>
              </a:extLst>
            </p:cNvPr>
            <p:cNvGrpSpPr/>
            <p:nvPr userDrawn="1"/>
          </p:nvGrpSpPr>
          <p:grpSpPr>
            <a:xfrm>
              <a:off x="15563079" y="358984"/>
              <a:ext cx="2489424" cy="4145944"/>
              <a:chOff x="15563079" y="358984"/>
              <a:chExt cx="2315772" cy="4145944"/>
            </a:xfrm>
          </p:grpSpPr>
          <p:cxnSp>
            <p:nvCxnSpPr>
              <p:cNvPr id="60" name="Rechte verbindingslijn 59">
                <a:extLst>
                  <a:ext uri="{FF2B5EF4-FFF2-40B4-BE49-F238E27FC236}">
                    <a16:creationId xmlns:a16="http://schemas.microsoft.com/office/drawing/2014/main" id="{01932068-E8F3-44CA-AA82-2D843012EC09}"/>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86E371A4-53F6-4D69-A675-664419DD843B}"/>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03719C9B-17A2-4360-8F5A-F299E9B3973B}"/>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59" name="Afbeelding 58">
              <a:extLst>
                <a:ext uri="{FF2B5EF4-FFF2-40B4-BE49-F238E27FC236}">
                  <a16:creationId xmlns:a16="http://schemas.microsoft.com/office/drawing/2014/main" id="{10AA9EE2-B9F0-4E48-B247-7B2A80B4D54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
        <p:nvSpPr>
          <p:cNvPr id="25" name="Tijdelijke aanduiding voor SmartArt 16">
            <a:extLst>
              <a:ext uri="{FF2B5EF4-FFF2-40B4-BE49-F238E27FC236}">
                <a16:creationId xmlns:a16="http://schemas.microsoft.com/office/drawing/2014/main" id="{59244192-AD8C-422E-A891-03B75EF8A706}"/>
              </a:ext>
            </a:extLst>
          </p:cNvPr>
          <p:cNvSpPr>
            <a:spLocks noGrp="1"/>
          </p:cNvSpPr>
          <p:nvPr>
            <p:ph type="dgm" sz="quarter" idx="14" hasCustomPrompt="1"/>
          </p:nvPr>
        </p:nvSpPr>
        <p:spPr>
          <a:xfrm>
            <a:off x="9936848" y="6147174"/>
            <a:ext cx="1778902" cy="580580"/>
          </a:xfrm>
          <a:blipFill>
            <a:blip r:embed="rId5"/>
            <a:stretch>
              <a:fillRect/>
            </a:stretch>
          </a:blipFill>
        </p:spPr>
        <p:txBody>
          <a:bodyPr/>
          <a:lstStyle>
            <a:lvl1pPr>
              <a:defRPr sz="1800"/>
            </a:lvl1pPr>
          </a:lstStyle>
          <a:p>
            <a:r>
              <a:rPr lang="nl-NL" dirty="0"/>
              <a:t>Logo </a:t>
            </a:r>
            <a:r>
              <a:rPr lang="nl-NL" dirty="0" err="1"/>
              <a:t>HbR</a:t>
            </a:r>
            <a:endParaRPr lang="nl-NL" dirty="0"/>
          </a:p>
        </p:txBody>
      </p:sp>
    </p:spTree>
    <p:extLst>
      <p:ext uri="{BB962C8B-B14F-4D97-AF65-F5344CB8AC3E}">
        <p14:creationId xmlns:p14="http://schemas.microsoft.com/office/powerpoint/2010/main" val="1047768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fbeelding (XXL)">
    <p:spTree>
      <p:nvGrpSpPr>
        <p:cNvPr id="1" name=""/>
        <p:cNvGrpSpPr/>
        <p:nvPr/>
      </p:nvGrpSpPr>
      <p:grpSpPr>
        <a:xfrm>
          <a:off x="0" y="0"/>
          <a:ext cx="0" cy="0"/>
          <a:chOff x="0" y="0"/>
          <a:chExt cx="0" cy="0"/>
        </a:xfrm>
      </p:grpSpPr>
      <p:sp>
        <p:nvSpPr>
          <p:cNvPr id="33" name="GRIJS"/>
          <p:cNvSpPr/>
          <p:nvPr userDrawn="1"/>
        </p:nvSpPr>
        <p:spPr>
          <a:xfrm>
            <a:off x="0" y="-1"/>
            <a:ext cx="12195175" cy="5989104"/>
          </a:xfrm>
          <a:prstGeom prst="round2SameRect">
            <a:avLst>
              <a:gd name="adj1" fmla="val 1089"/>
              <a:gd name="adj2" fmla="val 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34" name="Tijdelijke aanduiding voor afbeelding 2"/>
          <p:cNvSpPr>
            <a:spLocks noGrp="1"/>
          </p:cNvSpPr>
          <p:nvPr>
            <p:ph type="pic" idx="13"/>
          </p:nvPr>
        </p:nvSpPr>
        <p:spPr>
          <a:xfrm>
            <a:off x="0" y="0"/>
            <a:ext cx="12195175" cy="5989100"/>
          </a:xfrm>
          <a:prstGeom prst="round2SameRect">
            <a:avLst>
              <a:gd name="adj1" fmla="val 1166"/>
              <a:gd name="adj2" fmla="val 0"/>
            </a:avLst>
          </a:prstGeo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en-GB"/>
          </a:p>
        </p:txBody>
      </p:sp>
      <p:sp>
        <p:nvSpPr>
          <p:cNvPr id="2" name="Titel 1"/>
          <p:cNvSpPr>
            <a:spLocks noGrp="1"/>
          </p:cNvSpPr>
          <p:nvPr>
            <p:ph type="title"/>
          </p:nvPr>
        </p:nvSpPr>
        <p:spPr>
          <a:xfrm>
            <a:off x="2862000" y="-709200"/>
            <a:ext cx="8887500" cy="648000"/>
          </a:xfrm>
        </p:spPr>
        <p:txBody>
          <a:bodyPr anchor="b" anchorCtr="0"/>
          <a:lstStyle>
            <a:lvl1pPr algn="r">
              <a:defRPr/>
            </a:lvl1pPr>
          </a:lstStyle>
          <a:p>
            <a:r>
              <a:rPr lang="nl-NL" dirty="0"/>
              <a:t>Klik om stijl te bewerken</a:t>
            </a:r>
            <a:endParaRPr lang="en-GB" dirty="0"/>
          </a:p>
        </p:txBody>
      </p:sp>
      <p:sp>
        <p:nvSpPr>
          <p:cNvPr id="4" name="Tijdelijke aanduiding voor datum 3"/>
          <p:cNvSpPr>
            <a:spLocks noGrp="1"/>
          </p:cNvSpPr>
          <p:nvPr>
            <p:ph type="dt" sz="half" idx="10"/>
          </p:nvPr>
        </p:nvSpPr>
        <p:spPr/>
        <p:txBody>
          <a:bodyPr/>
          <a:lstStyle/>
          <a:p>
            <a:fld id="{5040652A-FEE2-4AB9-856B-6CA8B3EB5BA2}"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Afbeelding (XXL)</a:t>
            </a:r>
          </a:p>
        </p:txBody>
      </p:sp>
      <p:grpSp>
        <p:nvGrpSpPr>
          <p:cNvPr id="49" name="Groep 48">
            <a:extLst>
              <a:ext uri="{FF2B5EF4-FFF2-40B4-BE49-F238E27FC236}">
                <a16:creationId xmlns:a16="http://schemas.microsoft.com/office/drawing/2014/main" id="{1CB86391-C3A1-48A9-83A9-CDA9762F1594}"/>
              </a:ext>
            </a:extLst>
          </p:cNvPr>
          <p:cNvGrpSpPr/>
          <p:nvPr userDrawn="1"/>
        </p:nvGrpSpPr>
        <p:grpSpPr>
          <a:xfrm>
            <a:off x="12363871" y="-26002"/>
            <a:ext cx="3064812" cy="4530930"/>
            <a:chOff x="15419739" y="-26002"/>
            <a:chExt cx="3064812" cy="4530930"/>
          </a:xfrm>
        </p:grpSpPr>
        <p:sp>
          <p:nvSpPr>
            <p:cNvPr id="50" name="Tekstvak 33">
              <a:extLst>
                <a:ext uri="{FF2B5EF4-FFF2-40B4-BE49-F238E27FC236}">
                  <a16:creationId xmlns:a16="http://schemas.microsoft.com/office/drawing/2014/main" id="{2ADCA6F7-250E-4B72-B0DE-999BA8D650E9}"/>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51" name="Tekstvak 33">
              <a:extLst>
                <a:ext uri="{FF2B5EF4-FFF2-40B4-BE49-F238E27FC236}">
                  <a16:creationId xmlns:a16="http://schemas.microsoft.com/office/drawing/2014/main" id="{3D453C5E-479D-4F1D-9BFA-30110A165968}"/>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52" name="Ovaal 51">
              <a:extLst>
                <a:ext uri="{FF2B5EF4-FFF2-40B4-BE49-F238E27FC236}">
                  <a16:creationId xmlns:a16="http://schemas.microsoft.com/office/drawing/2014/main" id="{59F34422-D145-4BF6-A5D7-5A45F15882CF}"/>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53" name="Ovaal 52">
              <a:extLst>
                <a:ext uri="{FF2B5EF4-FFF2-40B4-BE49-F238E27FC236}">
                  <a16:creationId xmlns:a16="http://schemas.microsoft.com/office/drawing/2014/main" id="{4ADA4B64-59B4-479B-9F6E-5DE33E2E0DCC}"/>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54" name="Picture 3">
              <a:extLst>
                <a:ext uri="{FF2B5EF4-FFF2-40B4-BE49-F238E27FC236}">
                  <a16:creationId xmlns:a16="http://schemas.microsoft.com/office/drawing/2014/main" id="{10A71998-BA22-4DB3-B07F-8262582350FC}"/>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55" name="Picture 3">
              <a:extLst>
                <a:ext uri="{FF2B5EF4-FFF2-40B4-BE49-F238E27FC236}">
                  <a16:creationId xmlns:a16="http://schemas.microsoft.com/office/drawing/2014/main" id="{1267A3F0-F5E6-42C8-8255-B54664104A90}"/>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56" name="Tekstvak 55">
              <a:extLst>
                <a:ext uri="{FF2B5EF4-FFF2-40B4-BE49-F238E27FC236}">
                  <a16:creationId xmlns:a16="http://schemas.microsoft.com/office/drawing/2014/main" id="{5D1F6466-7E88-4C40-A76B-97C83D60BF13}"/>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57" name="Rechthoek 56">
              <a:extLst>
                <a:ext uri="{FF2B5EF4-FFF2-40B4-BE49-F238E27FC236}">
                  <a16:creationId xmlns:a16="http://schemas.microsoft.com/office/drawing/2014/main" id="{10BCE57B-8314-47AB-A6BE-574598C816CC}"/>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58" name="Groep 57">
              <a:extLst>
                <a:ext uri="{FF2B5EF4-FFF2-40B4-BE49-F238E27FC236}">
                  <a16:creationId xmlns:a16="http://schemas.microsoft.com/office/drawing/2014/main" id="{BB7B2A28-7AEE-40D5-9733-8D3A2C919095}"/>
                </a:ext>
              </a:extLst>
            </p:cNvPr>
            <p:cNvGrpSpPr/>
            <p:nvPr userDrawn="1"/>
          </p:nvGrpSpPr>
          <p:grpSpPr>
            <a:xfrm>
              <a:off x="15563079" y="358984"/>
              <a:ext cx="2489424" cy="4145944"/>
              <a:chOff x="15563079" y="358984"/>
              <a:chExt cx="2315772" cy="4145944"/>
            </a:xfrm>
          </p:grpSpPr>
          <p:cxnSp>
            <p:nvCxnSpPr>
              <p:cNvPr id="60" name="Rechte verbindingslijn 59">
                <a:extLst>
                  <a:ext uri="{FF2B5EF4-FFF2-40B4-BE49-F238E27FC236}">
                    <a16:creationId xmlns:a16="http://schemas.microsoft.com/office/drawing/2014/main" id="{01932068-E8F3-44CA-AA82-2D843012EC09}"/>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86E371A4-53F6-4D69-A675-664419DD843B}"/>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03719C9B-17A2-4360-8F5A-F299E9B3973B}"/>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59" name="Afbeelding 58">
              <a:extLst>
                <a:ext uri="{FF2B5EF4-FFF2-40B4-BE49-F238E27FC236}">
                  <a16:creationId xmlns:a16="http://schemas.microsoft.com/office/drawing/2014/main" id="{10AA9EE2-B9F0-4E48-B247-7B2A80B4D54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718040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kst Links + afbeelding (S)">
    <p:spTree>
      <p:nvGrpSpPr>
        <p:cNvPr id="1" name=""/>
        <p:cNvGrpSpPr/>
        <p:nvPr/>
      </p:nvGrpSpPr>
      <p:grpSpPr>
        <a:xfrm>
          <a:off x="0" y="0"/>
          <a:ext cx="0" cy="0"/>
          <a:chOff x="0" y="0"/>
          <a:chExt cx="0" cy="0"/>
        </a:xfrm>
      </p:grpSpPr>
      <p:sp>
        <p:nvSpPr>
          <p:cNvPr id="8" name="Rechthoek 7"/>
          <p:cNvSpPr/>
          <p:nvPr userDrawn="1"/>
        </p:nvSpPr>
        <p:spPr>
          <a:xfrm>
            <a:off x="7446174" y="1420284"/>
            <a:ext cx="4749001" cy="456189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p>
        </p:txBody>
      </p:sp>
      <p:sp>
        <p:nvSpPr>
          <p:cNvPr id="2" name="Titel 1"/>
          <p:cNvSpPr>
            <a:spLocks noGrp="1"/>
          </p:cNvSpPr>
          <p:nvPr>
            <p:ph type="title"/>
          </p:nvPr>
        </p:nvSpPr>
        <p:spPr/>
        <p:txBody>
          <a:bodyPr/>
          <a:lstStyle/>
          <a:p>
            <a:r>
              <a:rPr lang="nl-NL" dirty="0"/>
              <a:t>Klik om stijl te bewerken</a:t>
            </a:r>
            <a:endParaRPr lang="en-GB" dirty="0"/>
          </a:p>
        </p:txBody>
      </p:sp>
      <p:sp>
        <p:nvSpPr>
          <p:cNvPr id="3" name="Tijdelijke aanduiding voor verticale tekst 2"/>
          <p:cNvSpPr>
            <a:spLocks noGrp="1"/>
          </p:cNvSpPr>
          <p:nvPr>
            <p:ph type="body" orient="vert" idx="1"/>
          </p:nvPr>
        </p:nvSpPr>
        <p:spPr>
          <a:xfrm>
            <a:off x="472587" y="1420100"/>
            <a:ext cx="6962189" cy="4562078"/>
          </a:xfrm>
        </p:spPr>
        <p:txBody>
          <a:bodyPr vert="horz"/>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10"/>
          </p:nvPr>
        </p:nvSpPr>
        <p:spPr/>
        <p:txBody>
          <a:bodyPr/>
          <a:lstStyle/>
          <a:p>
            <a:fld id="{A54FF1B4-85D0-4659-975C-3FEB71240DCB}"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dirty="0"/>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ijdelijke aanduiding voor afbeelding 2"/>
          <p:cNvSpPr>
            <a:spLocks noGrp="1"/>
          </p:cNvSpPr>
          <p:nvPr>
            <p:ph type="pic" idx="13"/>
          </p:nvPr>
        </p:nvSpPr>
        <p:spPr>
          <a:xfrm>
            <a:off x="7434776" y="1420100"/>
            <a:ext cx="4749001" cy="4561888"/>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10" name="Tijdelijke aanduiding voor verticale tekst 2"/>
          <p:cNvSpPr>
            <a:spLocks noGrp="1"/>
          </p:cNvSpPr>
          <p:nvPr>
            <p:ph type="body" orient="vert" idx="14" hasCustomPrompt="1"/>
          </p:nvPr>
        </p:nvSpPr>
        <p:spPr>
          <a:xfrm>
            <a:off x="7434776" y="5478177"/>
            <a:ext cx="4760399" cy="504000"/>
          </a:xfrm>
          <a:solidFill>
            <a:schemeClr val="accent2"/>
          </a:solidFill>
        </p:spPr>
        <p:txBody>
          <a:bodyPr vert="horz" lIns="216000" tIns="36000" rIns="216000" bIns="0" anchor="ctr"/>
          <a:lstStyle>
            <a:lvl1pPr algn="l">
              <a:defRPr sz="1800" b="0">
                <a:solidFill>
                  <a:schemeClr val="tx2"/>
                </a:solidFill>
              </a:defRPr>
            </a:lvl1pPr>
          </a:lstStyle>
          <a:p>
            <a:pPr lvl="0"/>
            <a:r>
              <a:rPr lang="nl-NL" dirty="0"/>
              <a:t>Onderschrift</a:t>
            </a:r>
          </a:p>
        </p:txBody>
      </p:sp>
      <p:sp>
        <p:nvSpPr>
          <p:cNvPr id="11" name="Tekstvak 10"/>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Tekst Links + afbeelding (S) + onderschrift</a:t>
            </a:r>
          </a:p>
        </p:txBody>
      </p:sp>
      <p:grpSp>
        <p:nvGrpSpPr>
          <p:cNvPr id="192" name="Groep 191">
            <a:extLst>
              <a:ext uri="{FF2B5EF4-FFF2-40B4-BE49-F238E27FC236}">
                <a16:creationId xmlns:a16="http://schemas.microsoft.com/office/drawing/2014/main" id="{70028B3A-CAE9-4FFC-A979-1831739AD4D1}"/>
              </a:ext>
            </a:extLst>
          </p:cNvPr>
          <p:cNvGrpSpPr/>
          <p:nvPr userDrawn="1"/>
        </p:nvGrpSpPr>
        <p:grpSpPr>
          <a:xfrm>
            <a:off x="-2973833" y="0"/>
            <a:ext cx="2808312" cy="5805264"/>
            <a:chOff x="-2973833" y="0"/>
            <a:chExt cx="2808312" cy="5805264"/>
          </a:xfrm>
        </p:grpSpPr>
        <p:sp>
          <p:nvSpPr>
            <p:cNvPr id="193" name="Rechthoek 192">
              <a:extLst>
                <a:ext uri="{FF2B5EF4-FFF2-40B4-BE49-F238E27FC236}">
                  <a16:creationId xmlns:a16="http://schemas.microsoft.com/office/drawing/2014/main" id="{69680E4D-B238-48B8-A7E2-197371D6C9F2}"/>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194" name="Textfield placeholder">
              <a:extLst>
                <a:ext uri="{FF2B5EF4-FFF2-40B4-BE49-F238E27FC236}">
                  <a16:creationId xmlns:a16="http://schemas.microsoft.com/office/drawing/2014/main" id="{09971984-B863-4C98-943D-461DF0F4B291}"/>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195" name="Ovaal 194">
              <a:extLst>
                <a:ext uri="{FF2B5EF4-FFF2-40B4-BE49-F238E27FC236}">
                  <a16:creationId xmlns:a16="http://schemas.microsoft.com/office/drawing/2014/main" id="{BE2C7461-EEF6-4807-80F3-0A5B70C15232}"/>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196" name="Ovaal 195">
              <a:extLst>
                <a:ext uri="{FF2B5EF4-FFF2-40B4-BE49-F238E27FC236}">
                  <a16:creationId xmlns:a16="http://schemas.microsoft.com/office/drawing/2014/main" id="{A347E235-7542-42AC-A123-5E51F9AD572D}"/>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197" name="Ovaal 196">
              <a:extLst>
                <a:ext uri="{FF2B5EF4-FFF2-40B4-BE49-F238E27FC236}">
                  <a16:creationId xmlns:a16="http://schemas.microsoft.com/office/drawing/2014/main" id="{393809D0-7927-4E04-B54C-3FF93FFC9CD1}"/>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198" name="Ovaal 197">
              <a:extLst>
                <a:ext uri="{FF2B5EF4-FFF2-40B4-BE49-F238E27FC236}">
                  <a16:creationId xmlns:a16="http://schemas.microsoft.com/office/drawing/2014/main" id="{9EB955DA-678C-445E-89F0-F35370090EBD}"/>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199" name="Textfield placeholder">
              <a:extLst>
                <a:ext uri="{FF2B5EF4-FFF2-40B4-BE49-F238E27FC236}">
                  <a16:creationId xmlns:a16="http://schemas.microsoft.com/office/drawing/2014/main" id="{4908CBE5-32E7-4DA7-B842-B6446BE1BBA7}"/>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200" name="Textfield placeholder">
              <a:extLst>
                <a:ext uri="{FF2B5EF4-FFF2-40B4-BE49-F238E27FC236}">
                  <a16:creationId xmlns:a16="http://schemas.microsoft.com/office/drawing/2014/main" id="{66A61ACD-A4D8-4AD3-9F46-68389EBAF37E}"/>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201" name="Textfield placeholder">
              <a:extLst>
                <a:ext uri="{FF2B5EF4-FFF2-40B4-BE49-F238E27FC236}">
                  <a16:creationId xmlns:a16="http://schemas.microsoft.com/office/drawing/2014/main" id="{1D49C604-D74A-4427-8BB4-9D80B0EBCD70}"/>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202" name="Rechte verbindingslijn 201">
              <a:extLst>
                <a:ext uri="{FF2B5EF4-FFF2-40B4-BE49-F238E27FC236}">
                  <a16:creationId xmlns:a16="http://schemas.microsoft.com/office/drawing/2014/main" id="{D26D0C64-26B8-4A26-9A81-FBB771B845F6}"/>
                </a:ext>
              </a:extLst>
            </p:cNvPr>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3" name="Rechte verbindingslijn 202">
              <a:extLst>
                <a:ext uri="{FF2B5EF4-FFF2-40B4-BE49-F238E27FC236}">
                  <a16:creationId xmlns:a16="http://schemas.microsoft.com/office/drawing/2014/main" id="{20DD023F-28B0-43F5-9629-CC1C61DFACFA}"/>
                </a:ext>
              </a:extLst>
            </p:cNvPr>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4" name="Rechte verbindingslijn 203">
              <a:extLst>
                <a:ext uri="{FF2B5EF4-FFF2-40B4-BE49-F238E27FC236}">
                  <a16:creationId xmlns:a16="http://schemas.microsoft.com/office/drawing/2014/main" id="{7E447E74-66CD-49F5-B593-7D457C68C1CC}"/>
                </a:ext>
              </a:extLst>
            </p:cNvPr>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205" name="Picture 3">
              <a:extLst>
                <a:ext uri="{FF2B5EF4-FFF2-40B4-BE49-F238E27FC236}">
                  <a16:creationId xmlns:a16="http://schemas.microsoft.com/office/drawing/2014/main" id="{B7D63EE1-10F1-41AD-94F2-92FA76B6F6E1}"/>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6" name="Picture 4">
              <a:extLst>
                <a:ext uri="{FF2B5EF4-FFF2-40B4-BE49-F238E27FC236}">
                  <a16:creationId xmlns:a16="http://schemas.microsoft.com/office/drawing/2014/main" id="{0294FC7B-9A73-47D8-96F8-D8B2C49B8CA4}"/>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07" name="Groep 206">
              <a:extLst>
                <a:ext uri="{FF2B5EF4-FFF2-40B4-BE49-F238E27FC236}">
                  <a16:creationId xmlns:a16="http://schemas.microsoft.com/office/drawing/2014/main" id="{AF63F82E-63A9-41C9-A766-75E16627CD9C}"/>
                </a:ext>
              </a:extLst>
            </p:cNvPr>
            <p:cNvGrpSpPr/>
            <p:nvPr userDrawn="1"/>
          </p:nvGrpSpPr>
          <p:grpSpPr>
            <a:xfrm>
              <a:off x="-2098870" y="523279"/>
              <a:ext cx="435437" cy="427699"/>
              <a:chOff x="-1085063" y="758027"/>
              <a:chExt cx="633800" cy="622540"/>
            </a:xfrm>
          </p:grpSpPr>
          <p:sp>
            <p:nvSpPr>
              <p:cNvPr id="248" name="Afgeronde rechthoek 133">
                <a:extLst>
                  <a:ext uri="{FF2B5EF4-FFF2-40B4-BE49-F238E27FC236}">
                    <a16:creationId xmlns:a16="http://schemas.microsoft.com/office/drawing/2014/main" id="{6FF350EB-F8D1-4B34-A307-0CF83A9823FE}"/>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249" name="Groep 248">
                <a:extLst>
                  <a:ext uri="{FF2B5EF4-FFF2-40B4-BE49-F238E27FC236}">
                    <a16:creationId xmlns:a16="http://schemas.microsoft.com/office/drawing/2014/main" id="{870CAE51-C743-4A34-9C83-E20AF5BF30FE}"/>
                  </a:ext>
                </a:extLst>
              </p:cNvPr>
              <p:cNvGrpSpPr/>
              <p:nvPr userDrawn="1"/>
            </p:nvGrpSpPr>
            <p:grpSpPr>
              <a:xfrm>
                <a:off x="-977746" y="864082"/>
                <a:ext cx="419166" cy="410430"/>
                <a:chOff x="6366933" y="309013"/>
                <a:chExt cx="1901295" cy="1861668"/>
              </a:xfrm>
              <a:solidFill>
                <a:schemeClr val="tx1"/>
              </a:solidFill>
            </p:grpSpPr>
            <p:sp>
              <p:nvSpPr>
                <p:cNvPr id="250" name="Rechthoek 249">
                  <a:extLst>
                    <a:ext uri="{FF2B5EF4-FFF2-40B4-BE49-F238E27FC236}">
                      <a16:creationId xmlns:a16="http://schemas.microsoft.com/office/drawing/2014/main" id="{7E69ECA3-A2EA-4FAE-97F1-13139CF3807D}"/>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1" name="Rechthoek 250">
                  <a:extLst>
                    <a:ext uri="{FF2B5EF4-FFF2-40B4-BE49-F238E27FC236}">
                      <a16:creationId xmlns:a16="http://schemas.microsoft.com/office/drawing/2014/main" id="{CCA5CE54-29F7-4F25-8D4F-1D2FBD89C0AC}"/>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2" name="Rechthoek 251">
                  <a:extLst>
                    <a:ext uri="{FF2B5EF4-FFF2-40B4-BE49-F238E27FC236}">
                      <a16:creationId xmlns:a16="http://schemas.microsoft.com/office/drawing/2014/main" id="{3DAFD9BB-0496-4746-9307-D829B4699F6B}"/>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3" name="Rechthoek 252">
                  <a:extLst>
                    <a:ext uri="{FF2B5EF4-FFF2-40B4-BE49-F238E27FC236}">
                      <a16:creationId xmlns:a16="http://schemas.microsoft.com/office/drawing/2014/main" id="{E2C5A4CC-34CE-47C3-B700-229256C7E0E8}"/>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4" name="Rechthoek 253">
                  <a:extLst>
                    <a:ext uri="{FF2B5EF4-FFF2-40B4-BE49-F238E27FC236}">
                      <a16:creationId xmlns:a16="http://schemas.microsoft.com/office/drawing/2014/main" id="{39F20C2A-8626-46D3-AA18-52512EDE1C2D}"/>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5" name="Rechthoek 254">
                  <a:extLst>
                    <a:ext uri="{FF2B5EF4-FFF2-40B4-BE49-F238E27FC236}">
                      <a16:creationId xmlns:a16="http://schemas.microsoft.com/office/drawing/2014/main" id="{11553FA1-CD37-44DB-85A0-5CEA1051A3A0}"/>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6" name="Rechthoek 255">
                  <a:extLst>
                    <a:ext uri="{FF2B5EF4-FFF2-40B4-BE49-F238E27FC236}">
                      <a16:creationId xmlns:a16="http://schemas.microsoft.com/office/drawing/2014/main" id="{A3D52233-D3B8-465F-83B2-3B8DA0312208}"/>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7" name="Rechthoek 256">
                  <a:extLst>
                    <a:ext uri="{FF2B5EF4-FFF2-40B4-BE49-F238E27FC236}">
                      <a16:creationId xmlns:a16="http://schemas.microsoft.com/office/drawing/2014/main" id="{59165E77-130D-41A5-BCA2-F036E8AC6698}"/>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8" name="Rechthoek 257">
                  <a:extLst>
                    <a:ext uri="{FF2B5EF4-FFF2-40B4-BE49-F238E27FC236}">
                      <a16:creationId xmlns:a16="http://schemas.microsoft.com/office/drawing/2014/main" id="{B24ACFE2-B2DE-40FF-A9EC-DE1385EE0EA1}"/>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9" name="Rechthoek 258">
                  <a:extLst>
                    <a:ext uri="{FF2B5EF4-FFF2-40B4-BE49-F238E27FC236}">
                      <a16:creationId xmlns:a16="http://schemas.microsoft.com/office/drawing/2014/main" id="{28309360-D2B2-477B-8A88-59F9DEA5A046}"/>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60" name="Vrije vorm 145">
                  <a:extLst>
                    <a:ext uri="{FF2B5EF4-FFF2-40B4-BE49-F238E27FC236}">
                      <a16:creationId xmlns:a16="http://schemas.microsoft.com/office/drawing/2014/main" id="{4D5576F3-062B-42A7-95DB-D5A9E12C0F12}"/>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208" name="Groep 207">
              <a:extLst>
                <a:ext uri="{FF2B5EF4-FFF2-40B4-BE49-F238E27FC236}">
                  <a16:creationId xmlns:a16="http://schemas.microsoft.com/office/drawing/2014/main" id="{7119AE8A-6CF7-4181-92DB-02F93B82D8BB}"/>
                </a:ext>
              </a:extLst>
            </p:cNvPr>
            <p:cNvGrpSpPr/>
            <p:nvPr userDrawn="1"/>
          </p:nvGrpSpPr>
          <p:grpSpPr>
            <a:xfrm>
              <a:off x="-2095303" y="1071657"/>
              <a:ext cx="435437" cy="427699"/>
              <a:chOff x="-1845083" y="758027"/>
              <a:chExt cx="633800" cy="622540"/>
            </a:xfrm>
          </p:grpSpPr>
          <p:sp>
            <p:nvSpPr>
              <p:cNvPr id="235" name="Afgeronde rechthoek 120">
                <a:extLst>
                  <a:ext uri="{FF2B5EF4-FFF2-40B4-BE49-F238E27FC236}">
                    <a16:creationId xmlns:a16="http://schemas.microsoft.com/office/drawing/2014/main" id="{A180EB19-ECF4-45BD-B0CA-D4F7F7540BA2}"/>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236" name="Groep 235">
                <a:extLst>
                  <a:ext uri="{FF2B5EF4-FFF2-40B4-BE49-F238E27FC236}">
                    <a16:creationId xmlns:a16="http://schemas.microsoft.com/office/drawing/2014/main" id="{4FD852CA-8B8B-46E9-98EA-B5E31C280DEE}"/>
                  </a:ext>
                </a:extLst>
              </p:cNvPr>
              <p:cNvGrpSpPr/>
              <p:nvPr userDrawn="1"/>
            </p:nvGrpSpPr>
            <p:grpSpPr>
              <a:xfrm>
                <a:off x="-1737766" y="864082"/>
                <a:ext cx="419166" cy="410430"/>
                <a:chOff x="3708400" y="309013"/>
                <a:chExt cx="1901295" cy="1861668"/>
              </a:xfrm>
              <a:solidFill>
                <a:schemeClr val="tx1"/>
              </a:solidFill>
            </p:grpSpPr>
            <p:sp>
              <p:nvSpPr>
                <p:cNvPr id="237" name="Rechthoek 236">
                  <a:extLst>
                    <a:ext uri="{FF2B5EF4-FFF2-40B4-BE49-F238E27FC236}">
                      <a16:creationId xmlns:a16="http://schemas.microsoft.com/office/drawing/2014/main" id="{E566DC92-970A-42B2-A4ED-4D2AE1CAACE9}"/>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8" name="Rechthoek 237">
                  <a:extLst>
                    <a:ext uri="{FF2B5EF4-FFF2-40B4-BE49-F238E27FC236}">
                      <a16:creationId xmlns:a16="http://schemas.microsoft.com/office/drawing/2014/main" id="{B5DC0100-B982-432C-A7A1-E65A73E0C39D}"/>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9" name="Rechthoek 238">
                  <a:extLst>
                    <a:ext uri="{FF2B5EF4-FFF2-40B4-BE49-F238E27FC236}">
                      <a16:creationId xmlns:a16="http://schemas.microsoft.com/office/drawing/2014/main" id="{59ECBBA8-5758-40A6-9993-00124542F0B6}"/>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0" name="Rechthoek 239">
                  <a:extLst>
                    <a:ext uri="{FF2B5EF4-FFF2-40B4-BE49-F238E27FC236}">
                      <a16:creationId xmlns:a16="http://schemas.microsoft.com/office/drawing/2014/main" id="{AE7E5FAE-D674-4E0F-8BE0-7740ABCC6305}"/>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1" name="Rechthoek 240">
                  <a:extLst>
                    <a:ext uri="{FF2B5EF4-FFF2-40B4-BE49-F238E27FC236}">
                      <a16:creationId xmlns:a16="http://schemas.microsoft.com/office/drawing/2014/main" id="{46FAAC8A-4E79-428F-9E41-7ADEEE8E865E}"/>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2" name="Rechthoek 241">
                  <a:extLst>
                    <a:ext uri="{FF2B5EF4-FFF2-40B4-BE49-F238E27FC236}">
                      <a16:creationId xmlns:a16="http://schemas.microsoft.com/office/drawing/2014/main" id="{ACC93B68-1A17-47BF-9B31-E6ADF63C76A7}"/>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3" name="Rechthoek 242">
                  <a:extLst>
                    <a:ext uri="{FF2B5EF4-FFF2-40B4-BE49-F238E27FC236}">
                      <a16:creationId xmlns:a16="http://schemas.microsoft.com/office/drawing/2014/main" id="{3B17027F-4031-4BC6-AB1D-E51C8F3647F4}"/>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4" name="Rechthoek 243">
                  <a:extLst>
                    <a:ext uri="{FF2B5EF4-FFF2-40B4-BE49-F238E27FC236}">
                      <a16:creationId xmlns:a16="http://schemas.microsoft.com/office/drawing/2014/main" id="{31C7005E-F8F8-4E68-916B-7C74D59C28ED}"/>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5" name="Rechthoek 244">
                  <a:extLst>
                    <a:ext uri="{FF2B5EF4-FFF2-40B4-BE49-F238E27FC236}">
                      <a16:creationId xmlns:a16="http://schemas.microsoft.com/office/drawing/2014/main" id="{409EBDEA-0CB4-41D5-911F-480B627C2498}"/>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6" name="Rechthoek 245">
                  <a:extLst>
                    <a:ext uri="{FF2B5EF4-FFF2-40B4-BE49-F238E27FC236}">
                      <a16:creationId xmlns:a16="http://schemas.microsoft.com/office/drawing/2014/main" id="{FE71981C-3A84-439C-904E-72DE5209D84F}"/>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7" name="Vrije vorm 132">
                  <a:extLst>
                    <a:ext uri="{FF2B5EF4-FFF2-40B4-BE49-F238E27FC236}">
                      <a16:creationId xmlns:a16="http://schemas.microsoft.com/office/drawing/2014/main" id="{DE6AB9B6-AE74-4A79-A591-B984BB949641}"/>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209" name="Rechte verbindingslijn 208">
              <a:extLst>
                <a:ext uri="{FF2B5EF4-FFF2-40B4-BE49-F238E27FC236}">
                  <a16:creationId xmlns:a16="http://schemas.microsoft.com/office/drawing/2014/main" id="{CB0EB03A-32D2-40D4-8713-36E3F541C096}"/>
                </a:ext>
              </a:extLst>
            </p:cNvPr>
            <p:cNvCxnSpPr>
              <a:stCxn id="211" idx="2"/>
              <a:endCxn id="235"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10" name="Rechte verbindingslijn 209">
              <a:extLst>
                <a:ext uri="{FF2B5EF4-FFF2-40B4-BE49-F238E27FC236}">
                  <a16:creationId xmlns:a16="http://schemas.microsoft.com/office/drawing/2014/main" id="{06FD32AF-C4DE-4AD7-BA2E-060C656104F3}"/>
                </a:ext>
              </a:extLst>
            </p:cNvPr>
            <p:cNvCxnSpPr>
              <a:stCxn id="212" idx="3"/>
              <a:endCxn id="248"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11" name="Ovaal 210">
              <a:extLst>
                <a:ext uri="{FF2B5EF4-FFF2-40B4-BE49-F238E27FC236}">
                  <a16:creationId xmlns:a16="http://schemas.microsoft.com/office/drawing/2014/main" id="{0FF0FCFD-7FDF-4BF1-BB08-A752EF335C50}"/>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12" name="Ovaal 211">
              <a:extLst>
                <a:ext uri="{FF2B5EF4-FFF2-40B4-BE49-F238E27FC236}">
                  <a16:creationId xmlns:a16="http://schemas.microsoft.com/office/drawing/2014/main" id="{116E5979-3DC4-4E9E-A655-54C38AEDD49D}"/>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13" name="Textfield placeholder">
              <a:extLst>
                <a:ext uri="{FF2B5EF4-FFF2-40B4-BE49-F238E27FC236}">
                  <a16:creationId xmlns:a16="http://schemas.microsoft.com/office/drawing/2014/main" id="{9EFC5D02-FE4C-437E-932F-D82DB10FFCCB}"/>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214" name="Textfield placeholder">
              <a:extLst>
                <a:ext uri="{FF2B5EF4-FFF2-40B4-BE49-F238E27FC236}">
                  <a16:creationId xmlns:a16="http://schemas.microsoft.com/office/drawing/2014/main" id="{BDDCD4C1-5327-499B-A81E-1D585533ED68}"/>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215" name="Ovaal 214">
              <a:extLst>
                <a:ext uri="{FF2B5EF4-FFF2-40B4-BE49-F238E27FC236}">
                  <a16:creationId xmlns:a16="http://schemas.microsoft.com/office/drawing/2014/main" id="{320C0338-E61C-4418-99EF-E1A601B14A85}"/>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216" name="Ovaal 215">
              <a:extLst>
                <a:ext uri="{FF2B5EF4-FFF2-40B4-BE49-F238E27FC236}">
                  <a16:creationId xmlns:a16="http://schemas.microsoft.com/office/drawing/2014/main" id="{B5C56C7E-E7C8-478E-BF4C-1646A00EFB62}"/>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217" name="Ovaal 216">
              <a:extLst>
                <a:ext uri="{FF2B5EF4-FFF2-40B4-BE49-F238E27FC236}">
                  <a16:creationId xmlns:a16="http://schemas.microsoft.com/office/drawing/2014/main" id="{39D70243-6500-42D6-8996-4C54E0CA83CD}"/>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218" name="Ovaal 217">
              <a:extLst>
                <a:ext uri="{FF2B5EF4-FFF2-40B4-BE49-F238E27FC236}">
                  <a16:creationId xmlns:a16="http://schemas.microsoft.com/office/drawing/2014/main" id="{A933A0D9-778B-4093-B78B-29641541BB95}"/>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219" name="Ovaal 218">
              <a:extLst>
                <a:ext uri="{FF2B5EF4-FFF2-40B4-BE49-F238E27FC236}">
                  <a16:creationId xmlns:a16="http://schemas.microsoft.com/office/drawing/2014/main" id="{EFC679A0-1E14-4D89-932D-D902714EDFEE}"/>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220" name="Textfield placeholder">
              <a:extLst>
                <a:ext uri="{FF2B5EF4-FFF2-40B4-BE49-F238E27FC236}">
                  <a16:creationId xmlns:a16="http://schemas.microsoft.com/office/drawing/2014/main" id="{C020A968-C47B-4F91-AB99-839BAA32BDC1}"/>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21" name="Textfield placeholder">
              <a:extLst>
                <a:ext uri="{FF2B5EF4-FFF2-40B4-BE49-F238E27FC236}">
                  <a16:creationId xmlns:a16="http://schemas.microsoft.com/office/drawing/2014/main" id="{F612AE49-3C2C-4755-85E1-159CECB05302}"/>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22" name="Textfield placeholder">
              <a:extLst>
                <a:ext uri="{FF2B5EF4-FFF2-40B4-BE49-F238E27FC236}">
                  <a16:creationId xmlns:a16="http://schemas.microsoft.com/office/drawing/2014/main" id="{4115BB2D-411D-4FEC-B44A-68034C266A5F}"/>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23" name="Textfield placeholder">
              <a:extLst>
                <a:ext uri="{FF2B5EF4-FFF2-40B4-BE49-F238E27FC236}">
                  <a16:creationId xmlns:a16="http://schemas.microsoft.com/office/drawing/2014/main" id="{B30A857D-9F88-4C2B-A7C3-D93BE8F6C49F}"/>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224" name="Textfield placeholder">
              <a:extLst>
                <a:ext uri="{FF2B5EF4-FFF2-40B4-BE49-F238E27FC236}">
                  <a16:creationId xmlns:a16="http://schemas.microsoft.com/office/drawing/2014/main" id="{B8544B40-BD88-4142-835A-6A52232A73AF}"/>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25" name="Groep 224">
              <a:extLst>
                <a:ext uri="{FF2B5EF4-FFF2-40B4-BE49-F238E27FC236}">
                  <a16:creationId xmlns:a16="http://schemas.microsoft.com/office/drawing/2014/main" id="{B9DA38E5-C07F-4CA1-B216-0EC2F98A7E11}"/>
                </a:ext>
              </a:extLst>
            </p:cNvPr>
            <p:cNvGrpSpPr/>
            <p:nvPr userDrawn="1"/>
          </p:nvGrpSpPr>
          <p:grpSpPr>
            <a:xfrm>
              <a:off x="-950342" y="1837957"/>
              <a:ext cx="687412" cy="3758146"/>
              <a:chOff x="-740196" y="1837957"/>
              <a:chExt cx="1374825" cy="3758146"/>
            </a:xfrm>
          </p:grpSpPr>
          <p:sp>
            <p:nvSpPr>
              <p:cNvPr id="226" name="Textfield placeholder">
                <a:extLst>
                  <a:ext uri="{FF2B5EF4-FFF2-40B4-BE49-F238E27FC236}">
                    <a16:creationId xmlns:a16="http://schemas.microsoft.com/office/drawing/2014/main" id="{F9348514-5D7C-485D-90B1-D37463519349}"/>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27" name="Textfield placeholder">
                <a:extLst>
                  <a:ext uri="{FF2B5EF4-FFF2-40B4-BE49-F238E27FC236}">
                    <a16:creationId xmlns:a16="http://schemas.microsoft.com/office/drawing/2014/main" id="{D4CC8C9F-5E94-4E0D-9E06-FB88CF5D8E80}"/>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28" name="Textfield placeholder">
                <a:extLst>
                  <a:ext uri="{FF2B5EF4-FFF2-40B4-BE49-F238E27FC236}">
                    <a16:creationId xmlns:a16="http://schemas.microsoft.com/office/drawing/2014/main" id="{A397FB37-1377-442C-82B6-D87C979672BF}"/>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29" name="Textfield placeholder">
                <a:extLst>
                  <a:ext uri="{FF2B5EF4-FFF2-40B4-BE49-F238E27FC236}">
                    <a16:creationId xmlns:a16="http://schemas.microsoft.com/office/drawing/2014/main" id="{0143864C-B24E-450D-943B-71D0D249367C}"/>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230" name="Textfield placeholder">
                <a:extLst>
                  <a:ext uri="{FF2B5EF4-FFF2-40B4-BE49-F238E27FC236}">
                    <a16:creationId xmlns:a16="http://schemas.microsoft.com/office/drawing/2014/main" id="{937D2923-AFE3-4901-A509-1B376EAFC323}"/>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231" name="Textfield placeholder">
                <a:extLst>
                  <a:ext uri="{FF2B5EF4-FFF2-40B4-BE49-F238E27FC236}">
                    <a16:creationId xmlns:a16="http://schemas.microsoft.com/office/drawing/2014/main" id="{25DFA771-5F93-426C-855B-E6DB9FBD6DE5}"/>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32" name="Textfield placeholder">
                <a:extLst>
                  <a:ext uri="{FF2B5EF4-FFF2-40B4-BE49-F238E27FC236}">
                    <a16:creationId xmlns:a16="http://schemas.microsoft.com/office/drawing/2014/main" id="{46B6CD9F-4A56-431E-8E6C-7B5DEB39E445}"/>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33" name="Textfield placeholder">
                <a:extLst>
                  <a:ext uri="{FF2B5EF4-FFF2-40B4-BE49-F238E27FC236}">
                    <a16:creationId xmlns:a16="http://schemas.microsoft.com/office/drawing/2014/main" id="{58B00629-4C10-4BE2-AE14-FAC7FC5A86CB}"/>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234" name="Textfield placeholder">
                <a:extLst>
                  <a:ext uri="{FF2B5EF4-FFF2-40B4-BE49-F238E27FC236}">
                    <a16:creationId xmlns:a16="http://schemas.microsoft.com/office/drawing/2014/main" id="{5CE397CF-CC1B-46F2-95E1-525D914764A6}"/>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grpSp>
        <p:nvGrpSpPr>
          <p:cNvPr id="261" name="Groep 260">
            <a:extLst>
              <a:ext uri="{FF2B5EF4-FFF2-40B4-BE49-F238E27FC236}">
                <a16:creationId xmlns:a16="http://schemas.microsoft.com/office/drawing/2014/main" id="{904D91B8-CEE6-42EE-B6B9-E234E7E07EBF}"/>
              </a:ext>
            </a:extLst>
          </p:cNvPr>
          <p:cNvGrpSpPr/>
          <p:nvPr userDrawn="1"/>
        </p:nvGrpSpPr>
        <p:grpSpPr>
          <a:xfrm>
            <a:off x="12363871" y="-26002"/>
            <a:ext cx="3064812" cy="4530930"/>
            <a:chOff x="15419739" y="-26002"/>
            <a:chExt cx="3064812" cy="4530930"/>
          </a:xfrm>
        </p:grpSpPr>
        <p:sp>
          <p:nvSpPr>
            <p:cNvPr id="262" name="Tekstvak 33">
              <a:extLst>
                <a:ext uri="{FF2B5EF4-FFF2-40B4-BE49-F238E27FC236}">
                  <a16:creationId xmlns:a16="http://schemas.microsoft.com/office/drawing/2014/main" id="{B2F22902-5A13-4124-A89E-8131FB6CE09B}"/>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263" name="Tekstvak 33">
              <a:extLst>
                <a:ext uri="{FF2B5EF4-FFF2-40B4-BE49-F238E27FC236}">
                  <a16:creationId xmlns:a16="http://schemas.microsoft.com/office/drawing/2014/main" id="{4540B68E-B776-43CC-9096-CD1905B1269E}"/>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264" name="Ovaal 263">
              <a:extLst>
                <a:ext uri="{FF2B5EF4-FFF2-40B4-BE49-F238E27FC236}">
                  <a16:creationId xmlns:a16="http://schemas.microsoft.com/office/drawing/2014/main" id="{9DD4E13A-3438-4F43-8EB8-065410019561}"/>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265" name="Ovaal 264">
              <a:extLst>
                <a:ext uri="{FF2B5EF4-FFF2-40B4-BE49-F238E27FC236}">
                  <a16:creationId xmlns:a16="http://schemas.microsoft.com/office/drawing/2014/main" id="{EF32A6B2-FC3C-45F6-B307-4654D3F668E2}"/>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266" name="Picture 3">
              <a:extLst>
                <a:ext uri="{FF2B5EF4-FFF2-40B4-BE49-F238E27FC236}">
                  <a16:creationId xmlns:a16="http://schemas.microsoft.com/office/drawing/2014/main" id="{F129A862-156D-4927-A72E-CDFC12503723}"/>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67" name="Picture 3">
              <a:extLst>
                <a:ext uri="{FF2B5EF4-FFF2-40B4-BE49-F238E27FC236}">
                  <a16:creationId xmlns:a16="http://schemas.microsoft.com/office/drawing/2014/main" id="{582B25C4-5168-4325-8163-926BC50F2DC4}"/>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68" name="Tekstvak 267">
              <a:extLst>
                <a:ext uri="{FF2B5EF4-FFF2-40B4-BE49-F238E27FC236}">
                  <a16:creationId xmlns:a16="http://schemas.microsoft.com/office/drawing/2014/main" id="{87055E7D-EE31-411F-A896-8214FBBA9D48}"/>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269" name="Rechthoek 268">
              <a:extLst>
                <a:ext uri="{FF2B5EF4-FFF2-40B4-BE49-F238E27FC236}">
                  <a16:creationId xmlns:a16="http://schemas.microsoft.com/office/drawing/2014/main" id="{1B973D72-6CC8-4C45-B6B9-8D013C1F4A0F}"/>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270" name="Groep 269">
              <a:extLst>
                <a:ext uri="{FF2B5EF4-FFF2-40B4-BE49-F238E27FC236}">
                  <a16:creationId xmlns:a16="http://schemas.microsoft.com/office/drawing/2014/main" id="{B24E8DA4-12F5-413B-8856-83AB1775A6F3}"/>
                </a:ext>
              </a:extLst>
            </p:cNvPr>
            <p:cNvGrpSpPr/>
            <p:nvPr userDrawn="1"/>
          </p:nvGrpSpPr>
          <p:grpSpPr>
            <a:xfrm>
              <a:off x="15563079" y="358984"/>
              <a:ext cx="2489424" cy="4145944"/>
              <a:chOff x="15563079" y="358984"/>
              <a:chExt cx="2315772" cy="4145944"/>
            </a:xfrm>
          </p:grpSpPr>
          <p:cxnSp>
            <p:nvCxnSpPr>
              <p:cNvPr id="272" name="Rechte verbindingslijn 271">
                <a:extLst>
                  <a:ext uri="{FF2B5EF4-FFF2-40B4-BE49-F238E27FC236}">
                    <a16:creationId xmlns:a16="http://schemas.microsoft.com/office/drawing/2014/main" id="{3466E4A2-8DD4-4C18-886C-65D71E891732}"/>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3" name="Rechte verbindingslijn 272">
                <a:extLst>
                  <a:ext uri="{FF2B5EF4-FFF2-40B4-BE49-F238E27FC236}">
                    <a16:creationId xmlns:a16="http://schemas.microsoft.com/office/drawing/2014/main" id="{CF4C255F-A57E-422E-B246-605DB2B6ABE8}"/>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4" name="Rechte verbindingslijn 273">
                <a:extLst>
                  <a:ext uri="{FF2B5EF4-FFF2-40B4-BE49-F238E27FC236}">
                    <a16:creationId xmlns:a16="http://schemas.microsoft.com/office/drawing/2014/main" id="{CC092791-ACD0-4133-A103-7036B0C05279}"/>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71" name="Afbeelding 270">
              <a:extLst>
                <a:ext uri="{FF2B5EF4-FFF2-40B4-BE49-F238E27FC236}">
                  <a16:creationId xmlns:a16="http://schemas.microsoft.com/office/drawing/2014/main" id="{E605903A-9CA4-47E7-8616-84EBCB50D635}"/>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741664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fbeelding (XXL) 2x">
    <p:spTree>
      <p:nvGrpSpPr>
        <p:cNvPr id="1" name=""/>
        <p:cNvGrpSpPr/>
        <p:nvPr/>
      </p:nvGrpSpPr>
      <p:grpSpPr>
        <a:xfrm>
          <a:off x="0" y="0"/>
          <a:ext cx="0" cy="0"/>
          <a:chOff x="0" y="0"/>
          <a:chExt cx="0" cy="0"/>
        </a:xfrm>
      </p:grpSpPr>
      <p:sp>
        <p:nvSpPr>
          <p:cNvPr id="27" name="GRIJS"/>
          <p:cNvSpPr/>
          <p:nvPr userDrawn="1"/>
        </p:nvSpPr>
        <p:spPr>
          <a:xfrm>
            <a:off x="0" y="0"/>
            <a:ext cx="12195175" cy="5977882"/>
          </a:xfrm>
          <a:prstGeom prst="round2SameRect">
            <a:avLst>
              <a:gd name="adj1" fmla="val 1089"/>
              <a:gd name="adj2" fmla="val 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tel 1"/>
          <p:cNvSpPr>
            <a:spLocks noGrp="1"/>
          </p:cNvSpPr>
          <p:nvPr>
            <p:ph type="title"/>
          </p:nvPr>
        </p:nvSpPr>
        <p:spPr>
          <a:xfrm>
            <a:off x="2863515" y="-710349"/>
            <a:ext cx="8859071" cy="648000"/>
          </a:xfrm>
        </p:spPr>
        <p:txBody>
          <a:bodyPr anchor="b"/>
          <a:lstStyle>
            <a:lvl1pPr algn="r">
              <a:defRPr/>
            </a:lvl1pPr>
          </a:lstStyle>
          <a:p>
            <a:r>
              <a:rPr lang="nl-NL" dirty="0"/>
              <a:t>Klik om stijl te bewerken</a:t>
            </a:r>
            <a:endParaRPr lang="en-GB" dirty="0"/>
          </a:p>
        </p:txBody>
      </p:sp>
      <p:sp>
        <p:nvSpPr>
          <p:cNvPr id="4" name="Tijdelijke aanduiding voor datum 3"/>
          <p:cNvSpPr>
            <a:spLocks noGrp="1"/>
          </p:cNvSpPr>
          <p:nvPr>
            <p:ph type="dt" sz="half" idx="10"/>
          </p:nvPr>
        </p:nvSpPr>
        <p:spPr/>
        <p:txBody>
          <a:bodyPr/>
          <a:lstStyle/>
          <a:p>
            <a:fld id="{73FA6B73-01A9-4E9C-B105-8E1E6F02F6C2}"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Afbeelding (XXL) 2x</a:t>
            </a:r>
          </a:p>
        </p:txBody>
      </p:sp>
      <p:sp>
        <p:nvSpPr>
          <p:cNvPr id="9" name="Tijdelijke aanduiding voor afbeelding 2"/>
          <p:cNvSpPr>
            <a:spLocks noGrp="1"/>
          </p:cNvSpPr>
          <p:nvPr>
            <p:ph type="pic" idx="14"/>
          </p:nvPr>
        </p:nvSpPr>
        <p:spPr>
          <a:xfrm>
            <a:off x="6097587" y="-1"/>
            <a:ext cx="6097587" cy="5977883"/>
          </a:xfrm>
          <a:prstGeom prst="round1Rect">
            <a:avLst>
              <a:gd name="adj" fmla="val 794"/>
            </a:avLst>
          </a:prstGeo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en-GB" dirty="0"/>
          </a:p>
        </p:txBody>
      </p:sp>
      <p:sp>
        <p:nvSpPr>
          <p:cNvPr id="28" name="Tijdelijke aanduiding voor afbeelding 2">
            <a:extLst>
              <a:ext uri="{FF2B5EF4-FFF2-40B4-BE49-F238E27FC236}">
                <a16:creationId xmlns:a16="http://schemas.microsoft.com/office/drawing/2014/main" id="{0515165E-D78F-4052-B88A-EB1982E353D8}"/>
              </a:ext>
            </a:extLst>
          </p:cNvPr>
          <p:cNvSpPr>
            <a:spLocks noGrp="1"/>
          </p:cNvSpPr>
          <p:nvPr>
            <p:ph type="pic" idx="15"/>
          </p:nvPr>
        </p:nvSpPr>
        <p:spPr>
          <a:xfrm flipH="1">
            <a:off x="-1" y="-2"/>
            <a:ext cx="6097586" cy="5977883"/>
          </a:xfrm>
          <a:prstGeom prst="round1Rect">
            <a:avLst>
              <a:gd name="adj" fmla="val 794"/>
            </a:avLst>
          </a:prstGeo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grpSp>
        <p:nvGrpSpPr>
          <p:cNvPr id="43" name="Groep 42">
            <a:extLst>
              <a:ext uri="{FF2B5EF4-FFF2-40B4-BE49-F238E27FC236}">
                <a16:creationId xmlns:a16="http://schemas.microsoft.com/office/drawing/2014/main" id="{45303BE3-3FEC-4C7F-8835-09D0972BB4A2}"/>
              </a:ext>
            </a:extLst>
          </p:cNvPr>
          <p:cNvGrpSpPr/>
          <p:nvPr userDrawn="1"/>
        </p:nvGrpSpPr>
        <p:grpSpPr>
          <a:xfrm>
            <a:off x="12363871" y="-26002"/>
            <a:ext cx="3064812" cy="4530930"/>
            <a:chOff x="15419739" y="-26002"/>
            <a:chExt cx="3064812" cy="4530930"/>
          </a:xfrm>
        </p:grpSpPr>
        <p:sp>
          <p:nvSpPr>
            <p:cNvPr id="44" name="Tekstvak 33">
              <a:extLst>
                <a:ext uri="{FF2B5EF4-FFF2-40B4-BE49-F238E27FC236}">
                  <a16:creationId xmlns:a16="http://schemas.microsoft.com/office/drawing/2014/main" id="{BF826D9D-2BF8-4B26-A892-77992AC70E66}"/>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45" name="Tekstvak 33">
              <a:extLst>
                <a:ext uri="{FF2B5EF4-FFF2-40B4-BE49-F238E27FC236}">
                  <a16:creationId xmlns:a16="http://schemas.microsoft.com/office/drawing/2014/main" id="{111DB92F-D9CF-4AD7-91B3-027B45ABA7A3}"/>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46" name="Ovaal 45">
              <a:extLst>
                <a:ext uri="{FF2B5EF4-FFF2-40B4-BE49-F238E27FC236}">
                  <a16:creationId xmlns:a16="http://schemas.microsoft.com/office/drawing/2014/main" id="{DB6E5328-87AD-48CB-941B-FED6DF032DCA}"/>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47" name="Ovaal 46">
              <a:extLst>
                <a:ext uri="{FF2B5EF4-FFF2-40B4-BE49-F238E27FC236}">
                  <a16:creationId xmlns:a16="http://schemas.microsoft.com/office/drawing/2014/main" id="{E54EA4CC-7046-42F4-AE00-5200FB123D00}"/>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48" name="Picture 3">
              <a:extLst>
                <a:ext uri="{FF2B5EF4-FFF2-40B4-BE49-F238E27FC236}">
                  <a16:creationId xmlns:a16="http://schemas.microsoft.com/office/drawing/2014/main" id="{1C127519-58F8-424E-9DB5-331DE71E4949}"/>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49" name="Picture 3">
              <a:extLst>
                <a:ext uri="{FF2B5EF4-FFF2-40B4-BE49-F238E27FC236}">
                  <a16:creationId xmlns:a16="http://schemas.microsoft.com/office/drawing/2014/main" id="{E1765C74-1871-4130-AAA1-2AEF42E09D17}"/>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50" name="Tekstvak 49">
              <a:extLst>
                <a:ext uri="{FF2B5EF4-FFF2-40B4-BE49-F238E27FC236}">
                  <a16:creationId xmlns:a16="http://schemas.microsoft.com/office/drawing/2014/main" id="{5AC2283F-1CC4-4E25-9A51-F8B69D059238}"/>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51" name="Rechthoek 50">
              <a:extLst>
                <a:ext uri="{FF2B5EF4-FFF2-40B4-BE49-F238E27FC236}">
                  <a16:creationId xmlns:a16="http://schemas.microsoft.com/office/drawing/2014/main" id="{430FAE25-D277-4071-BAF8-866890DFE313}"/>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52" name="Groep 51">
              <a:extLst>
                <a:ext uri="{FF2B5EF4-FFF2-40B4-BE49-F238E27FC236}">
                  <a16:creationId xmlns:a16="http://schemas.microsoft.com/office/drawing/2014/main" id="{8A27A774-E9E2-43BB-87F3-65AA752073CA}"/>
                </a:ext>
              </a:extLst>
            </p:cNvPr>
            <p:cNvGrpSpPr/>
            <p:nvPr userDrawn="1"/>
          </p:nvGrpSpPr>
          <p:grpSpPr>
            <a:xfrm>
              <a:off x="15563079" y="358984"/>
              <a:ext cx="2489424" cy="4145944"/>
              <a:chOff x="15563079" y="358984"/>
              <a:chExt cx="2315772" cy="4145944"/>
            </a:xfrm>
          </p:grpSpPr>
          <p:cxnSp>
            <p:nvCxnSpPr>
              <p:cNvPr id="54" name="Rechte verbindingslijn 53">
                <a:extLst>
                  <a:ext uri="{FF2B5EF4-FFF2-40B4-BE49-F238E27FC236}">
                    <a16:creationId xmlns:a16="http://schemas.microsoft.com/office/drawing/2014/main" id="{48C122F1-CD63-4E33-8993-BE9F83ECE105}"/>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5" name="Rechte verbindingslijn 54">
                <a:extLst>
                  <a:ext uri="{FF2B5EF4-FFF2-40B4-BE49-F238E27FC236}">
                    <a16:creationId xmlns:a16="http://schemas.microsoft.com/office/drawing/2014/main" id="{C8ADCB7F-CBE3-42E9-8088-5B9346ADA8E1}"/>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6" name="Rechte verbindingslijn 55">
                <a:extLst>
                  <a:ext uri="{FF2B5EF4-FFF2-40B4-BE49-F238E27FC236}">
                    <a16:creationId xmlns:a16="http://schemas.microsoft.com/office/drawing/2014/main" id="{8AC0A2CA-1DFD-4A80-AA35-E1B341C4349D}"/>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53" name="Afbeelding 52">
              <a:extLst>
                <a:ext uri="{FF2B5EF4-FFF2-40B4-BE49-F238E27FC236}">
                  <a16:creationId xmlns:a16="http://schemas.microsoft.com/office/drawing/2014/main" id="{71A6602C-D931-4A61-B36C-E30073F0008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1351249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fbeelding (XXL) 3x">
    <p:spTree>
      <p:nvGrpSpPr>
        <p:cNvPr id="1" name=""/>
        <p:cNvGrpSpPr/>
        <p:nvPr/>
      </p:nvGrpSpPr>
      <p:grpSpPr>
        <a:xfrm>
          <a:off x="0" y="0"/>
          <a:ext cx="0" cy="0"/>
          <a:chOff x="0" y="0"/>
          <a:chExt cx="0" cy="0"/>
        </a:xfrm>
      </p:grpSpPr>
      <p:sp>
        <p:nvSpPr>
          <p:cNvPr id="32" name="GRIJS"/>
          <p:cNvSpPr/>
          <p:nvPr userDrawn="1"/>
        </p:nvSpPr>
        <p:spPr>
          <a:xfrm>
            <a:off x="0" y="1"/>
            <a:ext cx="12195175" cy="5978766"/>
          </a:xfrm>
          <a:prstGeom prst="round2SameRect">
            <a:avLst>
              <a:gd name="adj1" fmla="val 1089"/>
              <a:gd name="adj2" fmla="val 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tel 1"/>
          <p:cNvSpPr>
            <a:spLocks noGrp="1"/>
          </p:cNvSpPr>
          <p:nvPr>
            <p:ph type="title"/>
          </p:nvPr>
        </p:nvSpPr>
        <p:spPr>
          <a:xfrm>
            <a:off x="2863515" y="-710349"/>
            <a:ext cx="8859071" cy="648000"/>
          </a:xfrm>
        </p:spPr>
        <p:txBody>
          <a:bodyPr anchor="b"/>
          <a:lstStyle>
            <a:lvl1pPr algn="r">
              <a:defRPr/>
            </a:lvl1pPr>
          </a:lstStyle>
          <a:p>
            <a:r>
              <a:rPr lang="nl-NL"/>
              <a:t>Klik om stijl te bewerken</a:t>
            </a:r>
            <a:endParaRPr lang="en-GB" dirty="0"/>
          </a:p>
        </p:txBody>
      </p:sp>
      <p:sp>
        <p:nvSpPr>
          <p:cNvPr id="4" name="Tijdelijke aanduiding voor datum 3"/>
          <p:cNvSpPr>
            <a:spLocks noGrp="1"/>
          </p:cNvSpPr>
          <p:nvPr>
            <p:ph type="dt" sz="half" idx="10"/>
          </p:nvPr>
        </p:nvSpPr>
        <p:spPr/>
        <p:txBody>
          <a:bodyPr/>
          <a:lstStyle/>
          <a:p>
            <a:fld id="{90819607-09FD-404B-9B30-4156F8156B71}"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Afbeelding (XXL) 3x</a:t>
            </a:r>
          </a:p>
        </p:txBody>
      </p:sp>
      <p:sp>
        <p:nvSpPr>
          <p:cNvPr id="9" name="Tijdelijke aanduiding voor afbeelding 2"/>
          <p:cNvSpPr>
            <a:spLocks noGrp="1"/>
          </p:cNvSpPr>
          <p:nvPr>
            <p:ph type="pic" idx="14"/>
          </p:nvPr>
        </p:nvSpPr>
        <p:spPr>
          <a:xfrm>
            <a:off x="8142740" y="0"/>
            <a:ext cx="4052434" cy="5978764"/>
          </a:xfrm>
          <a:prstGeom prst="round1Rect">
            <a:avLst>
              <a:gd name="adj" fmla="val 794"/>
            </a:avLst>
          </a:prstGeom>
          <a:solidFill>
            <a:schemeClr val="accent2">
              <a:lumMod val="60000"/>
              <a:lumOff val="40000"/>
            </a:schemeClr>
          </a:solid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11" name="Tijdelijke aanduiding voor afbeelding 2"/>
          <p:cNvSpPr>
            <a:spLocks noGrp="1"/>
          </p:cNvSpPr>
          <p:nvPr>
            <p:ph type="pic" idx="15"/>
          </p:nvPr>
        </p:nvSpPr>
        <p:spPr>
          <a:xfrm>
            <a:off x="4068212" y="0"/>
            <a:ext cx="4058747" cy="5978765"/>
          </a:xfrm>
          <a:prstGeom prst="rect">
            <a:avLst/>
          </a:prstGeom>
          <a:solidFill>
            <a:schemeClr val="accent2">
              <a:lumMod val="60000"/>
              <a:lumOff val="40000"/>
            </a:schemeClr>
          </a:solid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33" name="Tijdelijke aanduiding voor afbeelding 2">
            <a:extLst>
              <a:ext uri="{FF2B5EF4-FFF2-40B4-BE49-F238E27FC236}">
                <a16:creationId xmlns:a16="http://schemas.microsoft.com/office/drawing/2014/main" id="{5D3862F8-4010-49BF-B516-49B46977FCED}"/>
              </a:ext>
            </a:extLst>
          </p:cNvPr>
          <p:cNvSpPr>
            <a:spLocks noGrp="1"/>
          </p:cNvSpPr>
          <p:nvPr>
            <p:ph type="pic" idx="16"/>
          </p:nvPr>
        </p:nvSpPr>
        <p:spPr>
          <a:xfrm flipH="1">
            <a:off x="-2" y="-2"/>
            <a:ext cx="4052433" cy="5977883"/>
          </a:xfrm>
          <a:prstGeom prst="round1Rect">
            <a:avLst>
              <a:gd name="adj" fmla="val 794"/>
            </a:avLst>
          </a:prstGeo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grpSp>
        <p:nvGrpSpPr>
          <p:cNvPr id="48" name="Groep 47">
            <a:extLst>
              <a:ext uri="{FF2B5EF4-FFF2-40B4-BE49-F238E27FC236}">
                <a16:creationId xmlns:a16="http://schemas.microsoft.com/office/drawing/2014/main" id="{57AC65DE-E272-47EE-88A4-71F81F13CD4A}"/>
              </a:ext>
            </a:extLst>
          </p:cNvPr>
          <p:cNvGrpSpPr/>
          <p:nvPr userDrawn="1"/>
        </p:nvGrpSpPr>
        <p:grpSpPr>
          <a:xfrm>
            <a:off x="12363871" y="-26002"/>
            <a:ext cx="3064812" cy="4530930"/>
            <a:chOff x="15419739" y="-26002"/>
            <a:chExt cx="3064812" cy="4530930"/>
          </a:xfrm>
        </p:grpSpPr>
        <p:sp>
          <p:nvSpPr>
            <p:cNvPr id="49" name="Tekstvak 33">
              <a:extLst>
                <a:ext uri="{FF2B5EF4-FFF2-40B4-BE49-F238E27FC236}">
                  <a16:creationId xmlns:a16="http://schemas.microsoft.com/office/drawing/2014/main" id="{E7AE648E-C385-4069-B932-1BD0518E6839}"/>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50" name="Tekstvak 33">
              <a:extLst>
                <a:ext uri="{FF2B5EF4-FFF2-40B4-BE49-F238E27FC236}">
                  <a16:creationId xmlns:a16="http://schemas.microsoft.com/office/drawing/2014/main" id="{6995838D-D4F7-4477-8DA0-A59D522C19D6}"/>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51" name="Ovaal 50">
              <a:extLst>
                <a:ext uri="{FF2B5EF4-FFF2-40B4-BE49-F238E27FC236}">
                  <a16:creationId xmlns:a16="http://schemas.microsoft.com/office/drawing/2014/main" id="{26AF732A-8BB1-4BF5-8B3A-8CDF09EE250C}"/>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52" name="Ovaal 51">
              <a:extLst>
                <a:ext uri="{FF2B5EF4-FFF2-40B4-BE49-F238E27FC236}">
                  <a16:creationId xmlns:a16="http://schemas.microsoft.com/office/drawing/2014/main" id="{C1B9D3EC-94FC-440F-B1EC-C4A0720B3CB2}"/>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53" name="Picture 3">
              <a:extLst>
                <a:ext uri="{FF2B5EF4-FFF2-40B4-BE49-F238E27FC236}">
                  <a16:creationId xmlns:a16="http://schemas.microsoft.com/office/drawing/2014/main" id="{FC794619-3C22-47ED-B021-8499FFC6AEA9}"/>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54" name="Picture 3">
              <a:extLst>
                <a:ext uri="{FF2B5EF4-FFF2-40B4-BE49-F238E27FC236}">
                  <a16:creationId xmlns:a16="http://schemas.microsoft.com/office/drawing/2014/main" id="{EFD940B4-89F3-4D88-B36A-99C295060EA4}"/>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55" name="Tekstvak 54">
              <a:extLst>
                <a:ext uri="{FF2B5EF4-FFF2-40B4-BE49-F238E27FC236}">
                  <a16:creationId xmlns:a16="http://schemas.microsoft.com/office/drawing/2014/main" id="{936BF892-1572-46AA-8ED8-2D0914AEF703}"/>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56" name="Rechthoek 55">
              <a:extLst>
                <a:ext uri="{FF2B5EF4-FFF2-40B4-BE49-F238E27FC236}">
                  <a16:creationId xmlns:a16="http://schemas.microsoft.com/office/drawing/2014/main" id="{9503650A-9E6C-42AE-ACAD-C5189FD55DF1}"/>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57" name="Groep 56">
              <a:extLst>
                <a:ext uri="{FF2B5EF4-FFF2-40B4-BE49-F238E27FC236}">
                  <a16:creationId xmlns:a16="http://schemas.microsoft.com/office/drawing/2014/main" id="{1B59DCA6-1446-492C-B8A7-7B641D23A392}"/>
                </a:ext>
              </a:extLst>
            </p:cNvPr>
            <p:cNvGrpSpPr/>
            <p:nvPr userDrawn="1"/>
          </p:nvGrpSpPr>
          <p:grpSpPr>
            <a:xfrm>
              <a:off x="15563079" y="358984"/>
              <a:ext cx="2489424" cy="4145944"/>
              <a:chOff x="15563079" y="358984"/>
              <a:chExt cx="2315772" cy="4145944"/>
            </a:xfrm>
          </p:grpSpPr>
          <p:cxnSp>
            <p:nvCxnSpPr>
              <p:cNvPr id="59" name="Rechte verbindingslijn 58">
                <a:extLst>
                  <a:ext uri="{FF2B5EF4-FFF2-40B4-BE49-F238E27FC236}">
                    <a16:creationId xmlns:a16="http://schemas.microsoft.com/office/drawing/2014/main" id="{2A0C149B-7CE6-4ED6-94EA-08124DC8BCA7}"/>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0" name="Rechte verbindingslijn 59">
                <a:extLst>
                  <a:ext uri="{FF2B5EF4-FFF2-40B4-BE49-F238E27FC236}">
                    <a16:creationId xmlns:a16="http://schemas.microsoft.com/office/drawing/2014/main" id="{E322D61D-CAE5-4AFB-BB9A-D23FEE92AE64}"/>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90AC7D5A-B0F7-4F40-AEC7-CF15B6F48B35}"/>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58" name="Afbeelding 57">
              <a:extLst>
                <a:ext uri="{FF2B5EF4-FFF2-40B4-BE49-F238E27FC236}">
                  <a16:creationId xmlns:a16="http://schemas.microsoft.com/office/drawing/2014/main" id="{AABAF79C-5171-4E9B-9A35-036F3D1D1CC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3198290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fbeelding (XXL) 4x">
    <p:spTree>
      <p:nvGrpSpPr>
        <p:cNvPr id="1" name=""/>
        <p:cNvGrpSpPr/>
        <p:nvPr/>
      </p:nvGrpSpPr>
      <p:grpSpPr>
        <a:xfrm>
          <a:off x="0" y="0"/>
          <a:ext cx="0" cy="0"/>
          <a:chOff x="0" y="0"/>
          <a:chExt cx="0" cy="0"/>
        </a:xfrm>
      </p:grpSpPr>
      <p:sp>
        <p:nvSpPr>
          <p:cNvPr id="36" name="GRIJS"/>
          <p:cNvSpPr/>
          <p:nvPr userDrawn="1"/>
        </p:nvSpPr>
        <p:spPr>
          <a:xfrm>
            <a:off x="0" y="0"/>
            <a:ext cx="12195175" cy="5977717"/>
          </a:xfrm>
          <a:prstGeom prst="round2SameRect">
            <a:avLst>
              <a:gd name="adj1" fmla="val 1089"/>
              <a:gd name="adj2" fmla="val 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tel 1"/>
          <p:cNvSpPr>
            <a:spLocks noGrp="1"/>
          </p:cNvSpPr>
          <p:nvPr>
            <p:ph type="title"/>
          </p:nvPr>
        </p:nvSpPr>
        <p:spPr>
          <a:xfrm>
            <a:off x="2863515" y="-710349"/>
            <a:ext cx="8859071" cy="648000"/>
          </a:xfrm>
        </p:spPr>
        <p:txBody>
          <a:bodyPr anchor="b"/>
          <a:lstStyle>
            <a:lvl1pPr algn="r">
              <a:defRPr/>
            </a:lvl1pPr>
          </a:lstStyle>
          <a:p>
            <a:r>
              <a:rPr lang="nl-NL"/>
              <a:t>Klik om stijl te bewerken</a:t>
            </a:r>
            <a:endParaRPr lang="en-GB" dirty="0"/>
          </a:p>
        </p:txBody>
      </p:sp>
      <p:sp>
        <p:nvSpPr>
          <p:cNvPr id="4" name="Tijdelijke aanduiding voor datum 3"/>
          <p:cNvSpPr>
            <a:spLocks noGrp="1"/>
          </p:cNvSpPr>
          <p:nvPr>
            <p:ph type="dt" sz="half" idx="10"/>
          </p:nvPr>
        </p:nvSpPr>
        <p:spPr/>
        <p:txBody>
          <a:bodyPr/>
          <a:lstStyle/>
          <a:p>
            <a:fld id="{B27D75F4-0D8A-4E18-8E3F-AE04C28E7916}"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Afbeelding (XXL) 4x</a:t>
            </a:r>
          </a:p>
        </p:txBody>
      </p:sp>
      <p:sp>
        <p:nvSpPr>
          <p:cNvPr id="9" name="Tijdelijke aanduiding voor afbeelding 2"/>
          <p:cNvSpPr>
            <a:spLocks noGrp="1"/>
          </p:cNvSpPr>
          <p:nvPr>
            <p:ph type="pic" idx="14"/>
          </p:nvPr>
        </p:nvSpPr>
        <p:spPr>
          <a:xfrm>
            <a:off x="6097588" y="858"/>
            <a:ext cx="6097587" cy="2988000"/>
          </a:xfrm>
          <a:prstGeom prst="round1Rect">
            <a:avLst>
              <a:gd name="adj" fmla="val 1511"/>
            </a:avLst>
          </a:prstGeo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11" name="Tijdelijke aanduiding voor afbeelding 2"/>
          <p:cNvSpPr>
            <a:spLocks noGrp="1"/>
          </p:cNvSpPr>
          <p:nvPr>
            <p:ph type="pic" idx="15"/>
          </p:nvPr>
        </p:nvSpPr>
        <p:spPr>
          <a:xfrm>
            <a:off x="0" y="2976690"/>
            <a:ext cx="6097585" cy="2988000"/>
          </a:xfrm>
          <a:prstGeom prst="rect">
            <a:avLst/>
          </a:prstGeo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12" name="Tijdelijke aanduiding voor afbeelding 2"/>
          <p:cNvSpPr>
            <a:spLocks noGrp="1"/>
          </p:cNvSpPr>
          <p:nvPr>
            <p:ph type="pic" idx="16"/>
          </p:nvPr>
        </p:nvSpPr>
        <p:spPr>
          <a:xfrm>
            <a:off x="6097588" y="2976690"/>
            <a:ext cx="6097587" cy="2988000"/>
          </a:xfrm>
          <a:prstGeom prst="rect">
            <a:avLst/>
          </a:prstGeo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37" name="Tijdelijke aanduiding voor afbeelding 2">
            <a:extLst>
              <a:ext uri="{FF2B5EF4-FFF2-40B4-BE49-F238E27FC236}">
                <a16:creationId xmlns:a16="http://schemas.microsoft.com/office/drawing/2014/main" id="{AC6CAF77-CDDC-4CC6-AA7D-C2325BC9EB22}"/>
              </a:ext>
            </a:extLst>
          </p:cNvPr>
          <p:cNvSpPr>
            <a:spLocks noGrp="1"/>
          </p:cNvSpPr>
          <p:nvPr>
            <p:ph type="pic" idx="17"/>
          </p:nvPr>
        </p:nvSpPr>
        <p:spPr>
          <a:xfrm flipH="1">
            <a:off x="0" y="858"/>
            <a:ext cx="6097586" cy="2988000"/>
          </a:xfrm>
          <a:prstGeom prst="round1Rect">
            <a:avLst>
              <a:gd name="adj" fmla="val 794"/>
            </a:avLst>
          </a:prstGeo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grpSp>
        <p:nvGrpSpPr>
          <p:cNvPr id="52" name="Groep 51">
            <a:extLst>
              <a:ext uri="{FF2B5EF4-FFF2-40B4-BE49-F238E27FC236}">
                <a16:creationId xmlns:a16="http://schemas.microsoft.com/office/drawing/2014/main" id="{A0852105-8731-4A3E-836B-64093868B477}"/>
              </a:ext>
            </a:extLst>
          </p:cNvPr>
          <p:cNvGrpSpPr/>
          <p:nvPr userDrawn="1"/>
        </p:nvGrpSpPr>
        <p:grpSpPr>
          <a:xfrm>
            <a:off x="12363871" y="-26002"/>
            <a:ext cx="3064812" cy="4530930"/>
            <a:chOff x="15419739" y="-26002"/>
            <a:chExt cx="3064812" cy="4530930"/>
          </a:xfrm>
        </p:grpSpPr>
        <p:sp>
          <p:nvSpPr>
            <p:cNvPr id="53" name="Tekstvak 33">
              <a:extLst>
                <a:ext uri="{FF2B5EF4-FFF2-40B4-BE49-F238E27FC236}">
                  <a16:creationId xmlns:a16="http://schemas.microsoft.com/office/drawing/2014/main" id="{B0B84B27-8D79-4525-B788-F5246F1769BB}"/>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54" name="Tekstvak 33">
              <a:extLst>
                <a:ext uri="{FF2B5EF4-FFF2-40B4-BE49-F238E27FC236}">
                  <a16:creationId xmlns:a16="http://schemas.microsoft.com/office/drawing/2014/main" id="{CA8FC25B-A455-4193-B8A6-D7B17128009C}"/>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55" name="Ovaal 54">
              <a:extLst>
                <a:ext uri="{FF2B5EF4-FFF2-40B4-BE49-F238E27FC236}">
                  <a16:creationId xmlns:a16="http://schemas.microsoft.com/office/drawing/2014/main" id="{C1B16BCC-18B9-48FC-B279-3A76910786F9}"/>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56" name="Ovaal 55">
              <a:extLst>
                <a:ext uri="{FF2B5EF4-FFF2-40B4-BE49-F238E27FC236}">
                  <a16:creationId xmlns:a16="http://schemas.microsoft.com/office/drawing/2014/main" id="{6EC18DAE-4010-46A0-91F5-8814D294D94A}"/>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57" name="Picture 3">
              <a:extLst>
                <a:ext uri="{FF2B5EF4-FFF2-40B4-BE49-F238E27FC236}">
                  <a16:creationId xmlns:a16="http://schemas.microsoft.com/office/drawing/2014/main" id="{A6D1860A-3ABE-4BBE-9597-76D4A73059BF}"/>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58" name="Picture 3">
              <a:extLst>
                <a:ext uri="{FF2B5EF4-FFF2-40B4-BE49-F238E27FC236}">
                  <a16:creationId xmlns:a16="http://schemas.microsoft.com/office/drawing/2014/main" id="{7CC006AA-FDEE-4778-B25D-FE11D319C05C}"/>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59" name="Tekstvak 58">
              <a:extLst>
                <a:ext uri="{FF2B5EF4-FFF2-40B4-BE49-F238E27FC236}">
                  <a16:creationId xmlns:a16="http://schemas.microsoft.com/office/drawing/2014/main" id="{5D98AA06-E3F2-421C-8F35-CF3164598BAB}"/>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60" name="Rechthoek 59">
              <a:extLst>
                <a:ext uri="{FF2B5EF4-FFF2-40B4-BE49-F238E27FC236}">
                  <a16:creationId xmlns:a16="http://schemas.microsoft.com/office/drawing/2014/main" id="{B3D11252-D528-4329-9E50-DF9CD81CD42F}"/>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61" name="Groep 60">
              <a:extLst>
                <a:ext uri="{FF2B5EF4-FFF2-40B4-BE49-F238E27FC236}">
                  <a16:creationId xmlns:a16="http://schemas.microsoft.com/office/drawing/2014/main" id="{CD00AE65-63D5-461E-B333-4ACAE4933E68}"/>
                </a:ext>
              </a:extLst>
            </p:cNvPr>
            <p:cNvGrpSpPr/>
            <p:nvPr userDrawn="1"/>
          </p:nvGrpSpPr>
          <p:grpSpPr>
            <a:xfrm>
              <a:off x="15563079" y="358984"/>
              <a:ext cx="2489424" cy="4145944"/>
              <a:chOff x="15563079" y="358984"/>
              <a:chExt cx="2315772" cy="4145944"/>
            </a:xfrm>
          </p:grpSpPr>
          <p:cxnSp>
            <p:nvCxnSpPr>
              <p:cNvPr id="63" name="Rechte verbindingslijn 62">
                <a:extLst>
                  <a:ext uri="{FF2B5EF4-FFF2-40B4-BE49-F238E27FC236}">
                    <a16:creationId xmlns:a16="http://schemas.microsoft.com/office/drawing/2014/main" id="{86D957CF-DD63-475E-90F2-71715B417D8D}"/>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4" name="Rechte verbindingslijn 63">
                <a:extLst>
                  <a:ext uri="{FF2B5EF4-FFF2-40B4-BE49-F238E27FC236}">
                    <a16:creationId xmlns:a16="http://schemas.microsoft.com/office/drawing/2014/main" id="{9AFCBDEC-C58C-4753-B981-1887B0203D81}"/>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5" name="Rechte verbindingslijn 64">
                <a:extLst>
                  <a:ext uri="{FF2B5EF4-FFF2-40B4-BE49-F238E27FC236}">
                    <a16:creationId xmlns:a16="http://schemas.microsoft.com/office/drawing/2014/main" id="{39D3A39D-BFCA-4676-ADE6-E810735EE24A}"/>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62" name="Afbeelding 61">
              <a:extLst>
                <a:ext uri="{FF2B5EF4-FFF2-40B4-BE49-F238E27FC236}">
                  <a16:creationId xmlns:a16="http://schemas.microsoft.com/office/drawing/2014/main" id="{3E8829BA-3227-463C-8632-4979A98646B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293565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fbeelding (XXL) + Tekstkader (Linksonder)">
    <p:spTree>
      <p:nvGrpSpPr>
        <p:cNvPr id="1" name=""/>
        <p:cNvGrpSpPr/>
        <p:nvPr/>
      </p:nvGrpSpPr>
      <p:grpSpPr>
        <a:xfrm>
          <a:off x="0" y="0"/>
          <a:ext cx="0" cy="0"/>
          <a:chOff x="0" y="0"/>
          <a:chExt cx="0" cy="0"/>
        </a:xfrm>
      </p:grpSpPr>
      <p:sp>
        <p:nvSpPr>
          <p:cNvPr id="100" name="GRIJS"/>
          <p:cNvSpPr/>
          <p:nvPr userDrawn="1"/>
        </p:nvSpPr>
        <p:spPr>
          <a:xfrm>
            <a:off x="0" y="-1"/>
            <a:ext cx="12195175" cy="5981007"/>
          </a:xfrm>
          <a:prstGeom prst="round2SameRect">
            <a:avLst>
              <a:gd name="adj1" fmla="val 1089"/>
              <a:gd name="adj2" fmla="val 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101" name="Tijdelijke aanduiding voor afbeelding 2"/>
          <p:cNvSpPr>
            <a:spLocks noGrp="1"/>
          </p:cNvSpPr>
          <p:nvPr>
            <p:ph type="pic" idx="13"/>
          </p:nvPr>
        </p:nvSpPr>
        <p:spPr>
          <a:xfrm>
            <a:off x="0" y="-11"/>
            <a:ext cx="12195175" cy="5981007"/>
          </a:xfrm>
          <a:prstGeom prst="round2SameRect">
            <a:avLst>
              <a:gd name="adj1" fmla="val 1166"/>
              <a:gd name="adj2" fmla="val 0"/>
            </a:avLst>
          </a:prstGeo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3" name="Tijdelijke aanduiding voor verticale tekst 2"/>
          <p:cNvSpPr>
            <a:spLocks noGrp="1"/>
          </p:cNvSpPr>
          <p:nvPr>
            <p:ph type="body" orient="vert" idx="1"/>
          </p:nvPr>
        </p:nvSpPr>
        <p:spPr>
          <a:xfrm>
            <a:off x="350500" y="2711116"/>
            <a:ext cx="5400000" cy="2887579"/>
          </a:xfrm>
          <a:solidFill>
            <a:srgbClr val="FFD800">
              <a:alpha val="94902"/>
            </a:srgbClr>
          </a:solidFill>
        </p:spPr>
        <p:txBody>
          <a:bodyPr vert="horz" lIns="324000" rIns="324000"/>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10"/>
          </p:nvPr>
        </p:nvSpPr>
        <p:spPr/>
        <p:txBody>
          <a:bodyPr/>
          <a:lstStyle/>
          <a:p>
            <a:fld id="{568A9427-A250-446B-B29D-89DEC711485B}"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dirty="0"/>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1" name="Tekstvak 10"/>
          <p:cNvSpPr txBox="1"/>
          <p:nvPr userDrawn="1"/>
        </p:nvSpPr>
        <p:spPr>
          <a:xfrm>
            <a:off x="-1" y="-521614"/>
            <a:ext cx="5773003" cy="469107"/>
          </a:xfrm>
          <a:prstGeom prst="rect">
            <a:avLst/>
          </a:prstGeom>
          <a:noFill/>
        </p:spPr>
        <p:txBody>
          <a:bodyPr wrap="square" rtlCol="0" anchor="b">
            <a:noAutofit/>
          </a:bodyPr>
          <a:lstStyle/>
          <a:p>
            <a:r>
              <a:rPr lang="nl-NL" sz="1333" b="0" dirty="0">
                <a:solidFill>
                  <a:schemeClr val="accent6"/>
                </a:solidFill>
                <a:latin typeface="+mj-lt"/>
              </a:rPr>
              <a:t>Afbeelding (XXL) + Tekstkader (Linksonder)</a:t>
            </a:r>
          </a:p>
        </p:txBody>
      </p:sp>
      <p:sp>
        <p:nvSpPr>
          <p:cNvPr id="14" name="Titel 1"/>
          <p:cNvSpPr>
            <a:spLocks noGrp="1"/>
          </p:cNvSpPr>
          <p:nvPr>
            <p:ph type="title"/>
          </p:nvPr>
        </p:nvSpPr>
        <p:spPr>
          <a:xfrm>
            <a:off x="2863515" y="-710349"/>
            <a:ext cx="8859071" cy="648000"/>
          </a:xfrm>
        </p:spPr>
        <p:txBody>
          <a:bodyPr anchor="b"/>
          <a:lstStyle>
            <a:lvl1pPr algn="r">
              <a:defRPr/>
            </a:lvl1pPr>
          </a:lstStyle>
          <a:p>
            <a:r>
              <a:rPr lang="nl-NL"/>
              <a:t>Klik om stijl te bewerken</a:t>
            </a:r>
            <a:endParaRPr lang="en-GB" dirty="0"/>
          </a:p>
        </p:txBody>
      </p:sp>
      <p:sp>
        <p:nvSpPr>
          <p:cNvPr id="99" name="Tijdelijke aanduiding voor tekst 8"/>
          <p:cNvSpPr>
            <a:spLocks noGrp="1"/>
          </p:cNvSpPr>
          <p:nvPr>
            <p:ph type="body" sz="quarter" idx="14" hasCustomPrompt="1"/>
          </p:nvPr>
        </p:nvSpPr>
        <p:spPr>
          <a:xfrm>
            <a:off x="350500" y="5526695"/>
            <a:ext cx="11880000" cy="72000"/>
          </a:xfrm>
          <a:solidFill>
            <a:schemeClr val="bg2"/>
          </a:solidFill>
        </p:spPr>
        <p:txBody>
          <a:bodyPr anchor="ctr"/>
          <a:lstStyle>
            <a:lvl1pPr algn="ctr">
              <a:defRPr sz="700"/>
            </a:lvl1pPr>
          </a:lstStyle>
          <a:p>
            <a:pPr lvl="0"/>
            <a:r>
              <a:rPr lang="nl-NL" noProof="0" dirty="0"/>
              <a:t>Vormgeving (niet verwijderen!)</a:t>
            </a:r>
          </a:p>
        </p:txBody>
      </p:sp>
      <p:grpSp>
        <p:nvGrpSpPr>
          <p:cNvPr id="185" name="Groep 184">
            <a:extLst>
              <a:ext uri="{FF2B5EF4-FFF2-40B4-BE49-F238E27FC236}">
                <a16:creationId xmlns:a16="http://schemas.microsoft.com/office/drawing/2014/main" id="{F3846EB7-8C93-4DD1-89E2-84133F8712C5}"/>
              </a:ext>
            </a:extLst>
          </p:cNvPr>
          <p:cNvGrpSpPr/>
          <p:nvPr userDrawn="1"/>
        </p:nvGrpSpPr>
        <p:grpSpPr>
          <a:xfrm>
            <a:off x="-2973833" y="0"/>
            <a:ext cx="2808312" cy="5805264"/>
            <a:chOff x="-2973833" y="0"/>
            <a:chExt cx="2808312" cy="5805264"/>
          </a:xfrm>
        </p:grpSpPr>
        <p:sp>
          <p:nvSpPr>
            <p:cNvPr id="186" name="Rechthoek 185">
              <a:extLst>
                <a:ext uri="{FF2B5EF4-FFF2-40B4-BE49-F238E27FC236}">
                  <a16:creationId xmlns:a16="http://schemas.microsoft.com/office/drawing/2014/main" id="{BE3AC02F-FF4A-4552-A21C-511F34E467F5}"/>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187" name="Textfield placeholder">
              <a:extLst>
                <a:ext uri="{FF2B5EF4-FFF2-40B4-BE49-F238E27FC236}">
                  <a16:creationId xmlns:a16="http://schemas.microsoft.com/office/drawing/2014/main" id="{1E43FC24-D424-4731-8978-6BA16FA0C8FF}"/>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188" name="Ovaal 187">
              <a:extLst>
                <a:ext uri="{FF2B5EF4-FFF2-40B4-BE49-F238E27FC236}">
                  <a16:creationId xmlns:a16="http://schemas.microsoft.com/office/drawing/2014/main" id="{66A45E67-CDB0-4688-9492-F815693E2A39}"/>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189" name="Ovaal 188">
              <a:extLst>
                <a:ext uri="{FF2B5EF4-FFF2-40B4-BE49-F238E27FC236}">
                  <a16:creationId xmlns:a16="http://schemas.microsoft.com/office/drawing/2014/main" id="{F330F8B9-BA3C-491F-83E9-1A35AF45C760}"/>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190" name="Ovaal 189">
              <a:extLst>
                <a:ext uri="{FF2B5EF4-FFF2-40B4-BE49-F238E27FC236}">
                  <a16:creationId xmlns:a16="http://schemas.microsoft.com/office/drawing/2014/main" id="{2150A1E4-D55C-4C19-924B-5E9DCCDB2953}"/>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191" name="Ovaal 190">
              <a:extLst>
                <a:ext uri="{FF2B5EF4-FFF2-40B4-BE49-F238E27FC236}">
                  <a16:creationId xmlns:a16="http://schemas.microsoft.com/office/drawing/2014/main" id="{19E6A307-A8EB-4C2D-86ED-8E6AFFC1037F}"/>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192" name="Textfield placeholder">
              <a:extLst>
                <a:ext uri="{FF2B5EF4-FFF2-40B4-BE49-F238E27FC236}">
                  <a16:creationId xmlns:a16="http://schemas.microsoft.com/office/drawing/2014/main" id="{FD39EF07-752E-47FE-9B64-92563CBAB75F}"/>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193" name="Textfield placeholder">
              <a:extLst>
                <a:ext uri="{FF2B5EF4-FFF2-40B4-BE49-F238E27FC236}">
                  <a16:creationId xmlns:a16="http://schemas.microsoft.com/office/drawing/2014/main" id="{73007F75-14FF-4A60-8313-A9E3B93B1897}"/>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194" name="Textfield placeholder">
              <a:extLst>
                <a:ext uri="{FF2B5EF4-FFF2-40B4-BE49-F238E27FC236}">
                  <a16:creationId xmlns:a16="http://schemas.microsoft.com/office/drawing/2014/main" id="{974BF86A-0E45-4D08-8C35-2297E35FD55F}"/>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195" name="Rechte verbindingslijn 194">
              <a:extLst>
                <a:ext uri="{FF2B5EF4-FFF2-40B4-BE49-F238E27FC236}">
                  <a16:creationId xmlns:a16="http://schemas.microsoft.com/office/drawing/2014/main" id="{67790D6D-A46D-4CC7-93BC-AF31BE2D6C92}"/>
                </a:ext>
              </a:extLst>
            </p:cNvPr>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6" name="Rechte verbindingslijn 195">
              <a:extLst>
                <a:ext uri="{FF2B5EF4-FFF2-40B4-BE49-F238E27FC236}">
                  <a16:creationId xmlns:a16="http://schemas.microsoft.com/office/drawing/2014/main" id="{BC3F508B-8D1D-4B14-85F5-854AA1C831EB}"/>
                </a:ext>
              </a:extLst>
            </p:cNvPr>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7" name="Rechte verbindingslijn 196">
              <a:extLst>
                <a:ext uri="{FF2B5EF4-FFF2-40B4-BE49-F238E27FC236}">
                  <a16:creationId xmlns:a16="http://schemas.microsoft.com/office/drawing/2014/main" id="{97168E3A-BBB2-4320-BFEC-EC495045842D}"/>
                </a:ext>
              </a:extLst>
            </p:cNvPr>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98" name="Picture 3">
              <a:extLst>
                <a:ext uri="{FF2B5EF4-FFF2-40B4-BE49-F238E27FC236}">
                  <a16:creationId xmlns:a16="http://schemas.microsoft.com/office/drawing/2014/main" id="{5EDDB22C-FDD9-4444-89F4-49178F970603}"/>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9" name="Picture 4">
              <a:extLst>
                <a:ext uri="{FF2B5EF4-FFF2-40B4-BE49-F238E27FC236}">
                  <a16:creationId xmlns:a16="http://schemas.microsoft.com/office/drawing/2014/main" id="{D41C851C-5450-459A-A918-C4E94BCEADB2}"/>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00" name="Groep 199">
              <a:extLst>
                <a:ext uri="{FF2B5EF4-FFF2-40B4-BE49-F238E27FC236}">
                  <a16:creationId xmlns:a16="http://schemas.microsoft.com/office/drawing/2014/main" id="{4F99A8D7-2490-42D2-99F3-FC746BA47FCF}"/>
                </a:ext>
              </a:extLst>
            </p:cNvPr>
            <p:cNvGrpSpPr/>
            <p:nvPr userDrawn="1"/>
          </p:nvGrpSpPr>
          <p:grpSpPr>
            <a:xfrm>
              <a:off x="-2098870" y="523279"/>
              <a:ext cx="435437" cy="427699"/>
              <a:chOff x="-1085063" y="758027"/>
              <a:chExt cx="633800" cy="622540"/>
            </a:xfrm>
          </p:grpSpPr>
          <p:sp>
            <p:nvSpPr>
              <p:cNvPr id="241" name="Afgeronde rechthoek 133">
                <a:extLst>
                  <a:ext uri="{FF2B5EF4-FFF2-40B4-BE49-F238E27FC236}">
                    <a16:creationId xmlns:a16="http://schemas.microsoft.com/office/drawing/2014/main" id="{05D83377-0577-4032-AB2F-A16A1C494A17}"/>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242" name="Groep 241">
                <a:extLst>
                  <a:ext uri="{FF2B5EF4-FFF2-40B4-BE49-F238E27FC236}">
                    <a16:creationId xmlns:a16="http://schemas.microsoft.com/office/drawing/2014/main" id="{D8C4B7DC-E43C-4E13-8D72-3BC06CECA0A4}"/>
                  </a:ext>
                </a:extLst>
              </p:cNvPr>
              <p:cNvGrpSpPr/>
              <p:nvPr userDrawn="1"/>
            </p:nvGrpSpPr>
            <p:grpSpPr>
              <a:xfrm>
                <a:off x="-977746" y="864082"/>
                <a:ext cx="419166" cy="410430"/>
                <a:chOff x="6366933" y="309013"/>
                <a:chExt cx="1901295" cy="1861668"/>
              </a:xfrm>
              <a:solidFill>
                <a:schemeClr val="tx1"/>
              </a:solidFill>
            </p:grpSpPr>
            <p:sp>
              <p:nvSpPr>
                <p:cNvPr id="243" name="Rechthoek 242">
                  <a:extLst>
                    <a:ext uri="{FF2B5EF4-FFF2-40B4-BE49-F238E27FC236}">
                      <a16:creationId xmlns:a16="http://schemas.microsoft.com/office/drawing/2014/main" id="{5B726271-B82A-4448-A5C4-42BD2BAF654D}"/>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4" name="Rechthoek 243">
                  <a:extLst>
                    <a:ext uri="{FF2B5EF4-FFF2-40B4-BE49-F238E27FC236}">
                      <a16:creationId xmlns:a16="http://schemas.microsoft.com/office/drawing/2014/main" id="{81EAB2CA-91BB-4DAE-BE05-E5AD5B8BF6FD}"/>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5" name="Rechthoek 244">
                  <a:extLst>
                    <a:ext uri="{FF2B5EF4-FFF2-40B4-BE49-F238E27FC236}">
                      <a16:creationId xmlns:a16="http://schemas.microsoft.com/office/drawing/2014/main" id="{D7EE7575-7305-436F-BBDA-CDAD0FDD0FE4}"/>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6" name="Rechthoek 245">
                  <a:extLst>
                    <a:ext uri="{FF2B5EF4-FFF2-40B4-BE49-F238E27FC236}">
                      <a16:creationId xmlns:a16="http://schemas.microsoft.com/office/drawing/2014/main" id="{FD073C45-9A3B-441D-B650-E86905594E0D}"/>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7" name="Rechthoek 246">
                  <a:extLst>
                    <a:ext uri="{FF2B5EF4-FFF2-40B4-BE49-F238E27FC236}">
                      <a16:creationId xmlns:a16="http://schemas.microsoft.com/office/drawing/2014/main" id="{52C74C8A-D444-4B1F-B460-776DDEC21C3B}"/>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8" name="Rechthoek 247">
                  <a:extLst>
                    <a:ext uri="{FF2B5EF4-FFF2-40B4-BE49-F238E27FC236}">
                      <a16:creationId xmlns:a16="http://schemas.microsoft.com/office/drawing/2014/main" id="{711B1AE9-19EC-4EF3-BA80-6850BA2D0FD1}"/>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9" name="Rechthoek 248">
                  <a:extLst>
                    <a:ext uri="{FF2B5EF4-FFF2-40B4-BE49-F238E27FC236}">
                      <a16:creationId xmlns:a16="http://schemas.microsoft.com/office/drawing/2014/main" id="{2B586813-4AEF-4888-8F75-90D4101CD73B}"/>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0" name="Rechthoek 249">
                  <a:extLst>
                    <a:ext uri="{FF2B5EF4-FFF2-40B4-BE49-F238E27FC236}">
                      <a16:creationId xmlns:a16="http://schemas.microsoft.com/office/drawing/2014/main" id="{62FD6E59-4B0E-4BFD-97C9-EB6ECCD3AAC0}"/>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1" name="Rechthoek 250">
                  <a:extLst>
                    <a:ext uri="{FF2B5EF4-FFF2-40B4-BE49-F238E27FC236}">
                      <a16:creationId xmlns:a16="http://schemas.microsoft.com/office/drawing/2014/main" id="{66B4A961-B832-4EF9-940D-C1919790AD7F}"/>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2" name="Rechthoek 251">
                  <a:extLst>
                    <a:ext uri="{FF2B5EF4-FFF2-40B4-BE49-F238E27FC236}">
                      <a16:creationId xmlns:a16="http://schemas.microsoft.com/office/drawing/2014/main" id="{CEF5100F-7039-4317-B0D7-89C388E95BF8}"/>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3" name="Vrije vorm 145">
                  <a:extLst>
                    <a:ext uri="{FF2B5EF4-FFF2-40B4-BE49-F238E27FC236}">
                      <a16:creationId xmlns:a16="http://schemas.microsoft.com/office/drawing/2014/main" id="{394768C3-C7FE-42F2-9184-E19B32CFD9E2}"/>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201" name="Groep 200">
              <a:extLst>
                <a:ext uri="{FF2B5EF4-FFF2-40B4-BE49-F238E27FC236}">
                  <a16:creationId xmlns:a16="http://schemas.microsoft.com/office/drawing/2014/main" id="{B5AC2DE9-EE76-44D4-840D-F0D89E1D2AE0}"/>
                </a:ext>
              </a:extLst>
            </p:cNvPr>
            <p:cNvGrpSpPr/>
            <p:nvPr userDrawn="1"/>
          </p:nvGrpSpPr>
          <p:grpSpPr>
            <a:xfrm>
              <a:off x="-2095303" y="1071657"/>
              <a:ext cx="435437" cy="427699"/>
              <a:chOff x="-1845083" y="758027"/>
              <a:chExt cx="633800" cy="622540"/>
            </a:xfrm>
          </p:grpSpPr>
          <p:sp>
            <p:nvSpPr>
              <p:cNvPr id="228" name="Afgeronde rechthoek 120">
                <a:extLst>
                  <a:ext uri="{FF2B5EF4-FFF2-40B4-BE49-F238E27FC236}">
                    <a16:creationId xmlns:a16="http://schemas.microsoft.com/office/drawing/2014/main" id="{A95350A7-070F-4123-B8DE-1BB55294BB57}"/>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229" name="Groep 228">
                <a:extLst>
                  <a:ext uri="{FF2B5EF4-FFF2-40B4-BE49-F238E27FC236}">
                    <a16:creationId xmlns:a16="http://schemas.microsoft.com/office/drawing/2014/main" id="{6804DB8E-6BCA-4218-92BB-3723C0C170F6}"/>
                  </a:ext>
                </a:extLst>
              </p:cNvPr>
              <p:cNvGrpSpPr/>
              <p:nvPr userDrawn="1"/>
            </p:nvGrpSpPr>
            <p:grpSpPr>
              <a:xfrm>
                <a:off x="-1737766" y="864082"/>
                <a:ext cx="419166" cy="410430"/>
                <a:chOff x="3708400" y="309013"/>
                <a:chExt cx="1901295" cy="1861668"/>
              </a:xfrm>
              <a:solidFill>
                <a:schemeClr val="tx1"/>
              </a:solidFill>
            </p:grpSpPr>
            <p:sp>
              <p:nvSpPr>
                <p:cNvPr id="230" name="Rechthoek 229">
                  <a:extLst>
                    <a:ext uri="{FF2B5EF4-FFF2-40B4-BE49-F238E27FC236}">
                      <a16:creationId xmlns:a16="http://schemas.microsoft.com/office/drawing/2014/main" id="{C0750521-98E1-445C-8983-8BE9E190067F}"/>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1" name="Rechthoek 230">
                  <a:extLst>
                    <a:ext uri="{FF2B5EF4-FFF2-40B4-BE49-F238E27FC236}">
                      <a16:creationId xmlns:a16="http://schemas.microsoft.com/office/drawing/2014/main" id="{4D0C7628-6DF0-40BC-87D5-30697E9352A5}"/>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2" name="Rechthoek 231">
                  <a:extLst>
                    <a:ext uri="{FF2B5EF4-FFF2-40B4-BE49-F238E27FC236}">
                      <a16:creationId xmlns:a16="http://schemas.microsoft.com/office/drawing/2014/main" id="{DE487069-9B71-457E-AE60-6A19B00A02FD}"/>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3" name="Rechthoek 232">
                  <a:extLst>
                    <a:ext uri="{FF2B5EF4-FFF2-40B4-BE49-F238E27FC236}">
                      <a16:creationId xmlns:a16="http://schemas.microsoft.com/office/drawing/2014/main" id="{C37ECB86-F6D8-4274-8CC4-E7DE80D4AE36}"/>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4" name="Rechthoek 233">
                  <a:extLst>
                    <a:ext uri="{FF2B5EF4-FFF2-40B4-BE49-F238E27FC236}">
                      <a16:creationId xmlns:a16="http://schemas.microsoft.com/office/drawing/2014/main" id="{9725CDB8-54D9-4C07-9157-624AEB42F872}"/>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5" name="Rechthoek 234">
                  <a:extLst>
                    <a:ext uri="{FF2B5EF4-FFF2-40B4-BE49-F238E27FC236}">
                      <a16:creationId xmlns:a16="http://schemas.microsoft.com/office/drawing/2014/main" id="{B539C874-5324-44B4-BB83-34108A57C734}"/>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6" name="Rechthoek 235">
                  <a:extLst>
                    <a:ext uri="{FF2B5EF4-FFF2-40B4-BE49-F238E27FC236}">
                      <a16:creationId xmlns:a16="http://schemas.microsoft.com/office/drawing/2014/main" id="{EAEEA495-9BAA-451D-93A4-48E2D00C3C44}"/>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7" name="Rechthoek 236">
                  <a:extLst>
                    <a:ext uri="{FF2B5EF4-FFF2-40B4-BE49-F238E27FC236}">
                      <a16:creationId xmlns:a16="http://schemas.microsoft.com/office/drawing/2014/main" id="{0BD56F08-DDD3-4BB6-9A3E-728C42CA462F}"/>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8" name="Rechthoek 237">
                  <a:extLst>
                    <a:ext uri="{FF2B5EF4-FFF2-40B4-BE49-F238E27FC236}">
                      <a16:creationId xmlns:a16="http://schemas.microsoft.com/office/drawing/2014/main" id="{94E65A0C-EEBC-4355-A93D-6AE8138B9745}"/>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9" name="Rechthoek 238">
                  <a:extLst>
                    <a:ext uri="{FF2B5EF4-FFF2-40B4-BE49-F238E27FC236}">
                      <a16:creationId xmlns:a16="http://schemas.microsoft.com/office/drawing/2014/main" id="{77ACA64F-5A54-4F4D-B92A-85FBC842BE81}"/>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0" name="Vrije vorm 132">
                  <a:extLst>
                    <a:ext uri="{FF2B5EF4-FFF2-40B4-BE49-F238E27FC236}">
                      <a16:creationId xmlns:a16="http://schemas.microsoft.com/office/drawing/2014/main" id="{118FA151-4C4D-42FA-8980-968C5F3CF869}"/>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202" name="Rechte verbindingslijn 201">
              <a:extLst>
                <a:ext uri="{FF2B5EF4-FFF2-40B4-BE49-F238E27FC236}">
                  <a16:creationId xmlns:a16="http://schemas.microsoft.com/office/drawing/2014/main" id="{3918DD72-AD84-4EA0-B31B-C09B87238927}"/>
                </a:ext>
              </a:extLst>
            </p:cNvPr>
            <p:cNvCxnSpPr>
              <a:stCxn id="204" idx="2"/>
              <a:endCxn id="228"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03" name="Rechte verbindingslijn 202">
              <a:extLst>
                <a:ext uri="{FF2B5EF4-FFF2-40B4-BE49-F238E27FC236}">
                  <a16:creationId xmlns:a16="http://schemas.microsoft.com/office/drawing/2014/main" id="{94201CA1-9494-4920-9EB3-479E9B56D7B9}"/>
                </a:ext>
              </a:extLst>
            </p:cNvPr>
            <p:cNvCxnSpPr>
              <a:stCxn id="205" idx="3"/>
              <a:endCxn id="241"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04" name="Ovaal 203">
              <a:extLst>
                <a:ext uri="{FF2B5EF4-FFF2-40B4-BE49-F238E27FC236}">
                  <a16:creationId xmlns:a16="http://schemas.microsoft.com/office/drawing/2014/main" id="{30C7CB20-30C2-436F-906B-5168575212F8}"/>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05" name="Ovaal 204">
              <a:extLst>
                <a:ext uri="{FF2B5EF4-FFF2-40B4-BE49-F238E27FC236}">
                  <a16:creationId xmlns:a16="http://schemas.microsoft.com/office/drawing/2014/main" id="{C029838A-F239-4D46-A041-AD358A70FADA}"/>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06" name="Textfield placeholder">
              <a:extLst>
                <a:ext uri="{FF2B5EF4-FFF2-40B4-BE49-F238E27FC236}">
                  <a16:creationId xmlns:a16="http://schemas.microsoft.com/office/drawing/2014/main" id="{C035BCB6-0EA6-4195-8E6F-BDE319047C29}"/>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207" name="Textfield placeholder">
              <a:extLst>
                <a:ext uri="{FF2B5EF4-FFF2-40B4-BE49-F238E27FC236}">
                  <a16:creationId xmlns:a16="http://schemas.microsoft.com/office/drawing/2014/main" id="{5D40D7F4-3294-4AA8-8FA1-4EDA0980459E}"/>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208" name="Ovaal 207">
              <a:extLst>
                <a:ext uri="{FF2B5EF4-FFF2-40B4-BE49-F238E27FC236}">
                  <a16:creationId xmlns:a16="http://schemas.microsoft.com/office/drawing/2014/main" id="{5BAAE56B-F3CC-4DD6-B765-BA8EEF4450DD}"/>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209" name="Ovaal 208">
              <a:extLst>
                <a:ext uri="{FF2B5EF4-FFF2-40B4-BE49-F238E27FC236}">
                  <a16:creationId xmlns:a16="http://schemas.microsoft.com/office/drawing/2014/main" id="{C83DBA4F-B5B7-45E6-8517-6DD111701C75}"/>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210" name="Ovaal 209">
              <a:extLst>
                <a:ext uri="{FF2B5EF4-FFF2-40B4-BE49-F238E27FC236}">
                  <a16:creationId xmlns:a16="http://schemas.microsoft.com/office/drawing/2014/main" id="{86688B82-BFAC-416A-B8A2-F9DE66E03DF3}"/>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211" name="Ovaal 210">
              <a:extLst>
                <a:ext uri="{FF2B5EF4-FFF2-40B4-BE49-F238E27FC236}">
                  <a16:creationId xmlns:a16="http://schemas.microsoft.com/office/drawing/2014/main" id="{804425D4-1F73-47A6-9529-F03EF43A7DD3}"/>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212" name="Ovaal 211">
              <a:extLst>
                <a:ext uri="{FF2B5EF4-FFF2-40B4-BE49-F238E27FC236}">
                  <a16:creationId xmlns:a16="http://schemas.microsoft.com/office/drawing/2014/main" id="{69CAC6D6-791C-475D-BAC3-5BFAB7860ABD}"/>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213" name="Textfield placeholder">
              <a:extLst>
                <a:ext uri="{FF2B5EF4-FFF2-40B4-BE49-F238E27FC236}">
                  <a16:creationId xmlns:a16="http://schemas.microsoft.com/office/drawing/2014/main" id="{25EF31D7-D8B7-4DCD-8078-91EAAFC8FB22}"/>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14" name="Textfield placeholder">
              <a:extLst>
                <a:ext uri="{FF2B5EF4-FFF2-40B4-BE49-F238E27FC236}">
                  <a16:creationId xmlns:a16="http://schemas.microsoft.com/office/drawing/2014/main" id="{0B546AB8-56E8-4B81-99E4-422C73BD2368}"/>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15" name="Textfield placeholder">
              <a:extLst>
                <a:ext uri="{FF2B5EF4-FFF2-40B4-BE49-F238E27FC236}">
                  <a16:creationId xmlns:a16="http://schemas.microsoft.com/office/drawing/2014/main" id="{65AE9941-BCF5-43B5-AC51-EFE24F67333F}"/>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16" name="Textfield placeholder">
              <a:extLst>
                <a:ext uri="{FF2B5EF4-FFF2-40B4-BE49-F238E27FC236}">
                  <a16:creationId xmlns:a16="http://schemas.microsoft.com/office/drawing/2014/main" id="{845381F0-11CA-4DEA-AD27-B1F701574FA7}"/>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217" name="Textfield placeholder">
              <a:extLst>
                <a:ext uri="{FF2B5EF4-FFF2-40B4-BE49-F238E27FC236}">
                  <a16:creationId xmlns:a16="http://schemas.microsoft.com/office/drawing/2014/main" id="{63D99000-B04B-440F-AFC9-2980E8F20205}"/>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18" name="Groep 217">
              <a:extLst>
                <a:ext uri="{FF2B5EF4-FFF2-40B4-BE49-F238E27FC236}">
                  <a16:creationId xmlns:a16="http://schemas.microsoft.com/office/drawing/2014/main" id="{667E6344-1BEB-4F90-B64E-AD098A691CA8}"/>
                </a:ext>
              </a:extLst>
            </p:cNvPr>
            <p:cNvGrpSpPr/>
            <p:nvPr userDrawn="1"/>
          </p:nvGrpSpPr>
          <p:grpSpPr>
            <a:xfrm>
              <a:off x="-950342" y="1837957"/>
              <a:ext cx="687412" cy="3758146"/>
              <a:chOff x="-740196" y="1837957"/>
              <a:chExt cx="1374825" cy="3758146"/>
            </a:xfrm>
          </p:grpSpPr>
          <p:sp>
            <p:nvSpPr>
              <p:cNvPr id="219" name="Textfield placeholder">
                <a:extLst>
                  <a:ext uri="{FF2B5EF4-FFF2-40B4-BE49-F238E27FC236}">
                    <a16:creationId xmlns:a16="http://schemas.microsoft.com/office/drawing/2014/main" id="{127523B8-27FF-41F4-A642-FDF021BD7624}"/>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20" name="Textfield placeholder">
                <a:extLst>
                  <a:ext uri="{FF2B5EF4-FFF2-40B4-BE49-F238E27FC236}">
                    <a16:creationId xmlns:a16="http://schemas.microsoft.com/office/drawing/2014/main" id="{46289516-808C-402F-8C78-6D583C8233AA}"/>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21" name="Textfield placeholder">
                <a:extLst>
                  <a:ext uri="{FF2B5EF4-FFF2-40B4-BE49-F238E27FC236}">
                    <a16:creationId xmlns:a16="http://schemas.microsoft.com/office/drawing/2014/main" id="{83B96774-094F-457B-B06F-0270F3B43111}"/>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22" name="Textfield placeholder">
                <a:extLst>
                  <a:ext uri="{FF2B5EF4-FFF2-40B4-BE49-F238E27FC236}">
                    <a16:creationId xmlns:a16="http://schemas.microsoft.com/office/drawing/2014/main" id="{E0CB3CEC-BC45-40A5-A8C4-6AF621CFE1DC}"/>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223" name="Textfield placeholder">
                <a:extLst>
                  <a:ext uri="{FF2B5EF4-FFF2-40B4-BE49-F238E27FC236}">
                    <a16:creationId xmlns:a16="http://schemas.microsoft.com/office/drawing/2014/main" id="{F947F187-49B1-4373-9BB6-9A7AEFCA4AAB}"/>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224" name="Textfield placeholder">
                <a:extLst>
                  <a:ext uri="{FF2B5EF4-FFF2-40B4-BE49-F238E27FC236}">
                    <a16:creationId xmlns:a16="http://schemas.microsoft.com/office/drawing/2014/main" id="{62D33AFB-6868-499B-BE91-EAA221DA4DD1}"/>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25" name="Textfield placeholder">
                <a:extLst>
                  <a:ext uri="{FF2B5EF4-FFF2-40B4-BE49-F238E27FC236}">
                    <a16:creationId xmlns:a16="http://schemas.microsoft.com/office/drawing/2014/main" id="{0031AF63-4271-44D6-A42C-D6DBAD2C451F}"/>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26" name="Textfield placeholder">
                <a:extLst>
                  <a:ext uri="{FF2B5EF4-FFF2-40B4-BE49-F238E27FC236}">
                    <a16:creationId xmlns:a16="http://schemas.microsoft.com/office/drawing/2014/main" id="{F5A8F322-CF52-4B9B-9646-C8C674DF5BBF}"/>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227" name="Textfield placeholder">
                <a:extLst>
                  <a:ext uri="{FF2B5EF4-FFF2-40B4-BE49-F238E27FC236}">
                    <a16:creationId xmlns:a16="http://schemas.microsoft.com/office/drawing/2014/main" id="{D6ABFF3E-039C-4F0B-9E5C-8DDEF764F59A}"/>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grpSp>
        <p:nvGrpSpPr>
          <p:cNvPr id="254" name="Groep 253">
            <a:extLst>
              <a:ext uri="{FF2B5EF4-FFF2-40B4-BE49-F238E27FC236}">
                <a16:creationId xmlns:a16="http://schemas.microsoft.com/office/drawing/2014/main" id="{EC3CFFA9-AE6D-44E9-847D-4466FEC81E3B}"/>
              </a:ext>
            </a:extLst>
          </p:cNvPr>
          <p:cNvGrpSpPr/>
          <p:nvPr userDrawn="1"/>
        </p:nvGrpSpPr>
        <p:grpSpPr>
          <a:xfrm>
            <a:off x="12363871" y="-26002"/>
            <a:ext cx="3064812" cy="4530930"/>
            <a:chOff x="15419739" y="-26002"/>
            <a:chExt cx="3064812" cy="4530930"/>
          </a:xfrm>
        </p:grpSpPr>
        <p:sp>
          <p:nvSpPr>
            <p:cNvPr id="255" name="Tekstvak 33">
              <a:extLst>
                <a:ext uri="{FF2B5EF4-FFF2-40B4-BE49-F238E27FC236}">
                  <a16:creationId xmlns:a16="http://schemas.microsoft.com/office/drawing/2014/main" id="{5B2EFA50-D0D4-48B4-BFDD-36D7214C624D}"/>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256" name="Tekstvak 33">
              <a:extLst>
                <a:ext uri="{FF2B5EF4-FFF2-40B4-BE49-F238E27FC236}">
                  <a16:creationId xmlns:a16="http://schemas.microsoft.com/office/drawing/2014/main" id="{E880FBF8-BE80-438F-A4EC-522BFC37FF6F}"/>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257" name="Ovaal 256">
              <a:extLst>
                <a:ext uri="{FF2B5EF4-FFF2-40B4-BE49-F238E27FC236}">
                  <a16:creationId xmlns:a16="http://schemas.microsoft.com/office/drawing/2014/main" id="{2A1E9BB1-1F94-485C-BBF7-2207325E9869}"/>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258" name="Ovaal 257">
              <a:extLst>
                <a:ext uri="{FF2B5EF4-FFF2-40B4-BE49-F238E27FC236}">
                  <a16:creationId xmlns:a16="http://schemas.microsoft.com/office/drawing/2014/main" id="{C41AF96B-6E82-4A32-B5B6-6A7AD808D52D}"/>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259" name="Picture 3">
              <a:extLst>
                <a:ext uri="{FF2B5EF4-FFF2-40B4-BE49-F238E27FC236}">
                  <a16:creationId xmlns:a16="http://schemas.microsoft.com/office/drawing/2014/main" id="{17FDB02F-5839-4762-BA8F-E574E68E0DD4}"/>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60" name="Picture 3">
              <a:extLst>
                <a:ext uri="{FF2B5EF4-FFF2-40B4-BE49-F238E27FC236}">
                  <a16:creationId xmlns:a16="http://schemas.microsoft.com/office/drawing/2014/main" id="{828F3706-7DCD-400B-8CC5-DB410EBF6051}"/>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61" name="Tekstvak 260">
              <a:extLst>
                <a:ext uri="{FF2B5EF4-FFF2-40B4-BE49-F238E27FC236}">
                  <a16:creationId xmlns:a16="http://schemas.microsoft.com/office/drawing/2014/main" id="{4FD8992C-6838-4574-88E2-8403298F5D0D}"/>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262" name="Rechthoek 261">
              <a:extLst>
                <a:ext uri="{FF2B5EF4-FFF2-40B4-BE49-F238E27FC236}">
                  <a16:creationId xmlns:a16="http://schemas.microsoft.com/office/drawing/2014/main" id="{43683E9E-39BA-40BA-A3DF-54CE19C8AF82}"/>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263" name="Groep 262">
              <a:extLst>
                <a:ext uri="{FF2B5EF4-FFF2-40B4-BE49-F238E27FC236}">
                  <a16:creationId xmlns:a16="http://schemas.microsoft.com/office/drawing/2014/main" id="{4D0AC76D-AB57-4B5A-A363-43CBF9FE6266}"/>
                </a:ext>
              </a:extLst>
            </p:cNvPr>
            <p:cNvGrpSpPr/>
            <p:nvPr userDrawn="1"/>
          </p:nvGrpSpPr>
          <p:grpSpPr>
            <a:xfrm>
              <a:off x="15563079" y="358984"/>
              <a:ext cx="2489424" cy="4145944"/>
              <a:chOff x="15563079" y="358984"/>
              <a:chExt cx="2315772" cy="4145944"/>
            </a:xfrm>
          </p:grpSpPr>
          <p:cxnSp>
            <p:nvCxnSpPr>
              <p:cNvPr id="265" name="Rechte verbindingslijn 264">
                <a:extLst>
                  <a:ext uri="{FF2B5EF4-FFF2-40B4-BE49-F238E27FC236}">
                    <a16:creationId xmlns:a16="http://schemas.microsoft.com/office/drawing/2014/main" id="{D097FBF5-8590-4F2E-99E7-59D595B4AD67}"/>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6" name="Rechte verbindingslijn 265">
                <a:extLst>
                  <a:ext uri="{FF2B5EF4-FFF2-40B4-BE49-F238E27FC236}">
                    <a16:creationId xmlns:a16="http://schemas.microsoft.com/office/drawing/2014/main" id="{88B80B47-A3F9-4402-849C-9055050F6BEB}"/>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7" name="Rechte verbindingslijn 266">
                <a:extLst>
                  <a:ext uri="{FF2B5EF4-FFF2-40B4-BE49-F238E27FC236}">
                    <a16:creationId xmlns:a16="http://schemas.microsoft.com/office/drawing/2014/main" id="{FE372CF1-5B0B-490B-BB26-FA4A79262ADE}"/>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64" name="Afbeelding 263">
              <a:extLst>
                <a:ext uri="{FF2B5EF4-FFF2-40B4-BE49-F238E27FC236}">
                  <a16:creationId xmlns:a16="http://schemas.microsoft.com/office/drawing/2014/main" id="{0959F746-263C-4EDF-9869-F1EBD36FC837}"/>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3365733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fbeelding (XXL) + Tekstkader (Rechtsonder)">
    <p:spTree>
      <p:nvGrpSpPr>
        <p:cNvPr id="1" name=""/>
        <p:cNvGrpSpPr/>
        <p:nvPr/>
      </p:nvGrpSpPr>
      <p:grpSpPr>
        <a:xfrm>
          <a:off x="0" y="0"/>
          <a:ext cx="0" cy="0"/>
          <a:chOff x="0" y="0"/>
          <a:chExt cx="0" cy="0"/>
        </a:xfrm>
      </p:grpSpPr>
      <p:sp>
        <p:nvSpPr>
          <p:cNvPr id="101" name="GRIJS"/>
          <p:cNvSpPr/>
          <p:nvPr userDrawn="1"/>
        </p:nvSpPr>
        <p:spPr>
          <a:xfrm>
            <a:off x="0" y="0"/>
            <a:ext cx="12195175" cy="5983071"/>
          </a:xfrm>
          <a:prstGeom prst="round2SameRect">
            <a:avLst>
              <a:gd name="adj1" fmla="val 1089"/>
              <a:gd name="adj2" fmla="val 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102" name="Tijdelijke aanduiding voor afbeelding 2"/>
          <p:cNvSpPr>
            <a:spLocks noGrp="1"/>
          </p:cNvSpPr>
          <p:nvPr>
            <p:ph type="pic" idx="13"/>
          </p:nvPr>
        </p:nvSpPr>
        <p:spPr>
          <a:xfrm>
            <a:off x="0" y="1"/>
            <a:ext cx="12195175" cy="5983070"/>
          </a:xfrm>
          <a:prstGeom prst="round2SameRect">
            <a:avLst>
              <a:gd name="adj1" fmla="val 1166"/>
              <a:gd name="adj2" fmla="val 0"/>
            </a:avLst>
          </a:prstGeo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en-GB"/>
          </a:p>
        </p:txBody>
      </p:sp>
      <p:sp>
        <p:nvSpPr>
          <p:cNvPr id="4" name="Tijdelijke aanduiding voor datum 3"/>
          <p:cNvSpPr>
            <a:spLocks noGrp="1"/>
          </p:cNvSpPr>
          <p:nvPr>
            <p:ph type="dt" sz="half" idx="10"/>
          </p:nvPr>
        </p:nvSpPr>
        <p:spPr/>
        <p:txBody>
          <a:bodyPr/>
          <a:lstStyle/>
          <a:p>
            <a:fld id="{6517C8AD-68BD-4DFC-B084-3FD8AE97D939}"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1" name="Tekstvak 10"/>
          <p:cNvSpPr txBox="1"/>
          <p:nvPr userDrawn="1"/>
        </p:nvSpPr>
        <p:spPr>
          <a:xfrm>
            <a:off x="0" y="-521614"/>
            <a:ext cx="5500048" cy="469107"/>
          </a:xfrm>
          <a:prstGeom prst="rect">
            <a:avLst/>
          </a:prstGeom>
          <a:noFill/>
        </p:spPr>
        <p:txBody>
          <a:bodyPr wrap="square" rtlCol="0" anchor="b">
            <a:noAutofit/>
          </a:bodyPr>
          <a:lstStyle/>
          <a:p>
            <a:r>
              <a:rPr lang="nl-NL" sz="1333" b="0" dirty="0">
                <a:solidFill>
                  <a:schemeClr val="accent6"/>
                </a:solidFill>
                <a:latin typeface="+mj-lt"/>
              </a:rPr>
              <a:t>Afbeelding (XXL) + Tekstkader (Rechtsonder)</a:t>
            </a:r>
          </a:p>
        </p:txBody>
      </p:sp>
      <p:sp>
        <p:nvSpPr>
          <p:cNvPr id="14" name="Titel 1"/>
          <p:cNvSpPr>
            <a:spLocks noGrp="1"/>
          </p:cNvSpPr>
          <p:nvPr>
            <p:ph type="title"/>
          </p:nvPr>
        </p:nvSpPr>
        <p:spPr>
          <a:xfrm>
            <a:off x="2863515" y="-710349"/>
            <a:ext cx="8859071" cy="648000"/>
          </a:xfrm>
        </p:spPr>
        <p:txBody>
          <a:bodyPr anchor="b"/>
          <a:lstStyle>
            <a:lvl1pPr algn="r">
              <a:defRPr/>
            </a:lvl1pPr>
          </a:lstStyle>
          <a:p>
            <a:r>
              <a:rPr lang="nl-NL"/>
              <a:t>Klik om stijl te bewerken</a:t>
            </a:r>
            <a:endParaRPr lang="en-GB" dirty="0"/>
          </a:p>
        </p:txBody>
      </p:sp>
      <p:sp>
        <p:nvSpPr>
          <p:cNvPr id="99" name="Tijdelijke aanduiding voor verticale tekst 2"/>
          <p:cNvSpPr>
            <a:spLocks noGrp="1"/>
          </p:cNvSpPr>
          <p:nvPr>
            <p:ph type="body" orient="vert" idx="1"/>
          </p:nvPr>
        </p:nvSpPr>
        <p:spPr>
          <a:xfrm>
            <a:off x="6455115" y="2711116"/>
            <a:ext cx="5400000" cy="2887579"/>
          </a:xfrm>
          <a:solidFill>
            <a:srgbClr val="FFD800">
              <a:alpha val="94902"/>
            </a:srgbClr>
          </a:solidFill>
        </p:spPr>
        <p:txBody>
          <a:bodyPr vert="horz" lIns="324000" rIns="324000"/>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100" name="Tijdelijke aanduiding voor tekst 8"/>
          <p:cNvSpPr>
            <a:spLocks noGrp="1"/>
          </p:cNvSpPr>
          <p:nvPr>
            <p:ph type="body" sz="quarter" idx="14" hasCustomPrompt="1"/>
          </p:nvPr>
        </p:nvSpPr>
        <p:spPr>
          <a:xfrm>
            <a:off x="-24885" y="5526695"/>
            <a:ext cx="11880000" cy="72000"/>
          </a:xfrm>
          <a:solidFill>
            <a:schemeClr val="bg2"/>
          </a:solidFill>
        </p:spPr>
        <p:txBody>
          <a:bodyPr anchor="ctr"/>
          <a:lstStyle>
            <a:lvl1pPr algn="ctr">
              <a:defRPr sz="700"/>
            </a:lvl1pPr>
          </a:lstStyle>
          <a:p>
            <a:pPr lvl="0"/>
            <a:r>
              <a:rPr lang="nl-NL" noProof="0" dirty="0"/>
              <a:t>Vormgeving (niet verwijderen!)</a:t>
            </a:r>
          </a:p>
        </p:txBody>
      </p:sp>
      <p:grpSp>
        <p:nvGrpSpPr>
          <p:cNvPr id="186" name="Groep 185">
            <a:extLst>
              <a:ext uri="{FF2B5EF4-FFF2-40B4-BE49-F238E27FC236}">
                <a16:creationId xmlns:a16="http://schemas.microsoft.com/office/drawing/2014/main" id="{A6D03BD0-BF93-492B-81B8-3E3F11D5B1E0}"/>
              </a:ext>
            </a:extLst>
          </p:cNvPr>
          <p:cNvGrpSpPr/>
          <p:nvPr userDrawn="1"/>
        </p:nvGrpSpPr>
        <p:grpSpPr>
          <a:xfrm>
            <a:off x="-2973833" y="0"/>
            <a:ext cx="2808312" cy="5805264"/>
            <a:chOff x="-2973833" y="0"/>
            <a:chExt cx="2808312" cy="5805264"/>
          </a:xfrm>
        </p:grpSpPr>
        <p:sp>
          <p:nvSpPr>
            <p:cNvPr id="187" name="Rechthoek 186">
              <a:extLst>
                <a:ext uri="{FF2B5EF4-FFF2-40B4-BE49-F238E27FC236}">
                  <a16:creationId xmlns:a16="http://schemas.microsoft.com/office/drawing/2014/main" id="{818D9A8B-4CD4-4924-9757-E6712B8297D6}"/>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188" name="Textfield placeholder">
              <a:extLst>
                <a:ext uri="{FF2B5EF4-FFF2-40B4-BE49-F238E27FC236}">
                  <a16:creationId xmlns:a16="http://schemas.microsoft.com/office/drawing/2014/main" id="{16E5B524-DB9F-40AA-95BE-45B18609A87E}"/>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189" name="Ovaal 188">
              <a:extLst>
                <a:ext uri="{FF2B5EF4-FFF2-40B4-BE49-F238E27FC236}">
                  <a16:creationId xmlns:a16="http://schemas.microsoft.com/office/drawing/2014/main" id="{DDCA4FCA-DAC5-45E0-8B3F-DE2AC948B4C0}"/>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190" name="Ovaal 189">
              <a:extLst>
                <a:ext uri="{FF2B5EF4-FFF2-40B4-BE49-F238E27FC236}">
                  <a16:creationId xmlns:a16="http://schemas.microsoft.com/office/drawing/2014/main" id="{6F88A384-8C3F-40D7-8F23-CC4456E1E3FA}"/>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191" name="Ovaal 190">
              <a:extLst>
                <a:ext uri="{FF2B5EF4-FFF2-40B4-BE49-F238E27FC236}">
                  <a16:creationId xmlns:a16="http://schemas.microsoft.com/office/drawing/2014/main" id="{3F0AABE5-2C16-4409-A6FB-4DD763756DD8}"/>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192" name="Ovaal 191">
              <a:extLst>
                <a:ext uri="{FF2B5EF4-FFF2-40B4-BE49-F238E27FC236}">
                  <a16:creationId xmlns:a16="http://schemas.microsoft.com/office/drawing/2014/main" id="{66C61B56-9581-4854-8AD5-213BDCBBBE50}"/>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193" name="Textfield placeholder">
              <a:extLst>
                <a:ext uri="{FF2B5EF4-FFF2-40B4-BE49-F238E27FC236}">
                  <a16:creationId xmlns:a16="http://schemas.microsoft.com/office/drawing/2014/main" id="{089F613D-10C1-4A8B-8218-6CD345103CC6}"/>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194" name="Textfield placeholder">
              <a:extLst>
                <a:ext uri="{FF2B5EF4-FFF2-40B4-BE49-F238E27FC236}">
                  <a16:creationId xmlns:a16="http://schemas.microsoft.com/office/drawing/2014/main" id="{249D8E6A-9527-44B1-9AF9-048DC0FBE262}"/>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195" name="Textfield placeholder">
              <a:extLst>
                <a:ext uri="{FF2B5EF4-FFF2-40B4-BE49-F238E27FC236}">
                  <a16:creationId xmlns:a16="http://schemas.microsoft.com/office/drawing/2014/main" id="{30DF174B-D043-4F73-ABFA-7565E8AE0C30}"/>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196" name="Rechte verbindingslijn 195">
              <a:extLst>
                <a:ext uri="{FF2B5EF4-FFF2-40B4-BE49-F238E27FC236}">
                  <a16:creationId xmlns:a16="http://schemas.microsoft.com/office/drawing/2014/main" id="{691C30FE-5C73-4821-97AB-76525474167D}"/>
                </a:ext>
              </a:extLst>
            </p:cNvPr>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7" name="Rechte verbindingslijn 196">
              <a:extLst>
                <a:ext uri="{FF2B5EF4-FFF2-40B4-BE49-F238E27FC236}">
                  <a16:creationId xmlns:a16="http://schemas.microsoft.com/office/drawing/2014/main" id="{6985CA2A-0281-4767-A459-D24153D2EB81}"/>
                </a:ext>
              </a:extLst>
            </p:cNvPr>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8" name="Rechte verbindingslijn 197">
              <a:extLst>
                <a:ext uri="{FF2B5EF4-FFF2-40B4-BE49-F238E27FC236}">
                  <a16:creationId xmlns:a16="http://schemas.microsoft.com/office/drawing/2014/main" id="{72B7428A-19F3-4631-9A3D-55A7EC122845}"/>
                </a:ext>
              </a:extLst>
            </p:cNvPr>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99" name="Picture 3">
              <a:extLst>
                <a:ext uri="{FF2B5EF4-FFF2-40B4-BE49-F238E27FC236}">
                  <a16:creationId xmlns:a16="http://schemas.microsoft.com/office/drawing/2014/main" id="{8677D104-0594-4768-B24E-E467EDCF149A}"/>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0" name="Picture 4">
              <a:extLst>
                <a:ext uri="{FF2B5EF4-FFF2-40B4-BE49-F238E27FC236}">
                  <a16:creationId xmlns:a16="http://schemas.microsoft.com/office/drawing/2014/main" id="{D6A10952-6818-46AB-983F-B5114E4D9F79}"/>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01" name="Groep 200">
              <a:extLst>
                <a:ext uri="{FF2B5EF4-FFF2-40B4-BE49-F238E27FC236}">
                  <a16:creationId xmlns:a16="http://schemas.microsoft.com/office/drawing/2014/main" id="{2C9111B2-59C0-4707-8037-36D6B99A95EF}"/>
                </a:ext>
              </a:extLst>
            </p:cNvPr>
            <p:cNvGrpSpPr/>
            <p:nvPr userDrawn="1"/>
          </p:nvGrpSpPr>
          <p:grpSpPr>
            <a:xfrm>
              <a:off x="-2098870" y="523279"/>
              <a:ext cx="435437" cy="427699"/>
              <a:chOff x="-1085063" y="758027"/>
              <a:chExt cx="633800" cy="622540"/>
            </a:xfrm>
          </p:grpSpPr>
          <p:sp>
            <p:nvSpPr>
              <p:cNvPr id="242" name="Afgeronde rechthoek 133">
                <a:extLst>
                  <a:ext uri="{FF2B5EF4-FFF2-40B4-BE49-F238E27FC236}">
                    <a16:creationId xmlns:a16="http://schemas.microsoft.com/office/drawing/2014/main" id="{99B6807E-DED1-4B58-82C4-074050297022}"/>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243" name="Groep 242">
                <a:extLst>
                  <a:ext uri="{FF2B5EF4-FFF2-40B4-BE49-F238E27FC236}">
                    <a16:creationId xmlns:a16="http://schemas.microsoft.com/office/drawing/2014/main" id="{25E5AEA8-1A30-4398-B774-885ECF260C05}"/>
                  </a:ext>
                </a:extLst>
              </p:cNvPr>
              <p:cNvGrpSpPr/>
              <p:nvPr userDrawn="1"/>
            </p:nvGrpSpPr>
            <p:grpSpPr>
              <a:xfrm>
                <a:off x="-977746" y="864082"/>
                <a:ext cx="419166" cy="410430"/>
                <a:chOff x="6366933" y="309013"/>
                <a:chExt cx="1901295" cy="1861668"/>
              </a:xfrm>
              <a:solidFill>
                <a:schemeClr val="tx1"/>
              </a:solidFill>
            </p:grpSpPr>
            <p:sp>
              <p:nvSpPr>
                <p:cNvPr id="244" name="Rechthoek 243">
                  <a:extLst>
                    <a:ext uri="{FF2B5EF4-FFF2-40B4-BE49-F238E27FC236}">
                      <a16:creationId xmlns:a16="http://schemas.microsoft.com/office/drawing/2014/main" id="{EF6C15AB-BC39-4DB8-8902-3A4095BCC813}"/>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5" name="Rechthoek 244">
                  <a:extLst>
                    <a:ext uri="{FF2B5EF4-FFF2-40B4-BE49-F238E27FC236}">
                      <a16:creationId xmlns:a16="http://schemas.microsoft.com/office/drawing/2014/main" id="{7ED4EC79-2B4E-49CD-A3D4-3DC37503C9D2}"/>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6" name="Rechthoek 245">
                  <a:extLst>
                    <a:ext uri="{FF2B5EF4-FFF2-40B4-BE49-F238E27FC236}">
                      <a16:creationId xmlns:a16="http://schemas.microsoft.com/office/drawing/2014/main" id="{1A78D817-DC86-4E1D-B6A7-D4C1DBF8B696}"/>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7" name="Rechthoek 246">
                  <a:extLst>
                    <a:ext uri="{FF2B5EF4-FFF2-40B4-BE49-F238E27FC236}">
                      <a16:creationId xmlns:a16="http://schemas.microsoft.com/office/drawing/2014/main" id="{01ADEE6B-B886-41E4-BD6F-B6A7BCB184FC}"/>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8" name="Rechthoek 247">
                  <a:extLst>
                    <a:ext uri="{FF2B5EF4-FFF2-40B4-BE49-F238E27FC236}">
                      <a16:creationId xmlns:a16="http://schemas.microsoft.com/office/drawing/2014/main" id="{D8259161-2DC5-4361-8CB5-514B55858C39}"/>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9" name="Rechthoek 248">
                  <a:extLst>
                    <a:ext uri="{FF2B5EF4-FFF2-40B4-BE49-F238E27FC236}">
                      <a16:creationId xmlns:a16="http://schemas.microsoft.com/office/drawing/2014/main" id="{A686E7C9-0F9C-4AB2-98D8-146E8B7505DB}"/>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0" name="Rechthoek 249">
                  <a:extLst>
                    <a:ext uri="{FF2B5EF4-FFF2-40B4-BE49-F238E27FC236}">
                      <a16:creationId xmlns:a16="http://schemas.microsoft.com/office/drawing/2014/main" id="{D668261A-0B4E-4DBC-8144-8095FE1D6501}"/>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1" name="Rechthoek 250">
                  <a:extLst>
                    <a:ext uri="{FF2B5EF4-FFF2-40B4-BE49-F238E27FC236}">
                      <a16:creationId xmlns:a16="http://schemas.microsoft.com/office/drawing/2014/main" id="{B23C9AAE-3DA5-404D-98C5-15ADB62BD793}"/>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2" name="Rechthoek 251">
                  <a:extLst>
                    <a:ext uri="{FF2B5EF4-FFF2-40B4-BE49-F238E27FC236}">
                      <a16:creationId xmlns:a16="http://schemas.microsoft.com/office/drawing/2014/main" id="{B415C3AB-3C5E-4871-8E1A-6ED950290497}"/>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3" name="Rechthoek 252">
                  <a:extLst>
                    <a:ext uri="{FF2B5EF4-FFF2-40B4-BE49-F238E27FC236}">
                      <a16:creationId xmlns:a16="http://schemas.microsoft.com/office/drawing/2014/main" id="{8C8DB9C1-1DEB-43AD-A5E2-8B267624E2C7}"/>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4" name="Vrije vorm 145">
                  <a:extLst>
                    <a:ext uri="{FF2B5EF4-FFF2-40B4-BE49-F238E27FC236}">
                      <a16:creationId xmlns:a16="http://schemas.microsoft.com/office/drawing/2014/main" id="{530DD4E6-15FD-4F28-AB8D-CC688C44325A}"/>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202" name="Groep 201">
              <a:extLst>
                <a:ext uri="{FF2B5EF4-FFF2-40B4-BE49-F238E27FC236}">
                  <a16:creationId xmlns:a16="http://schemas.microsoft.com/office/drawing/2014/main" id="{C36460F5-53C2-4F63-8643-A36612099B87}"/>
                </a:ext>
              </a:extLst>
            </p:cNvPr>
            <p:cNvGrpSpPr/>
            <p:nvPr userDrawn="1"/>
          </p:nvGrpSpPr>
          <p:grpSpPr>
            <a:xfrm>
              <a:off x="-2095303" y="1071657"/>
              <a:ext cx="435437" cy="427699"/>
              <a:chOff x="-1845083" y="758027"/>
              <a:chExt cx="633800" cy="622540"/>
            </a:xfrm>
          </p:grpSpPr>
          <p:sp>
            <p:nvSpPr>
              <p:cNvPr id="229" name="Afgeronde rechthoek 120">
                <a:extLst>
                  <a:ext uri="{FF2B5EF4-FFF2-40B4-BE49-F238E27FC236}">
                    <a16:creationId xmlns:a16="http://schemas.microsoft.com/office/drawing/2014/main" id="{9EFA6E72-C19B-4156-8DDA-6075CEB7DB2B}"/>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230" name="Groep 229">
                <a:extLst>
                  <a:ext uri="{FF2B5EF4-FFF2-40B4-BE49-F238E27FC236}">
                    <a16:creationId xmlns:a16="http://schemas.microsoft.com/office/drawing/2014/main" id="{79BFDE3C-87CB-4E35-BEE8-BA05D91F4DA2}"/>
                  </a:ext>
                </a:extLst>
              </p:cNvPr>
              <p:cNvGrpSpPr/>
              <p:nvPr userDrawn="1"/>
            </p:nvGrpSpPr>
            <p:grpSpPr>
              <a:xfrm>
                <a:off x="-1737766" y="864082"/>
                <a:ext cx="419166" cy="410430"/>
                <a:chOff x="3708400" y="309013"/>
                <a:chExt cx="1901295" cy="1861668"/>
              </a:xfrm>
              <a:solidFill>
                <a:schemeClr val="tx1"/>
              </a:solidFill>
            </p:grpSpPr>
            <p:sp>
              <p:nvSpPr>
                <p:cNvPr id="231" name="Rechthoek 230">
                  <a:extLst>
                    <a:ext uri="{FF2B5EF4-FFF2-40B4-BE49-F238E27FC236}">
                      <a16:creationId xmlns:a16="http://schemas.microsoft.com/office/drawing/2014/main" id="{08D9AB2D-4758-4298-AA15-E338E8163AB2}"/>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2" name="Rechthoek 231">
                  <a:extLst>
                    <a:ext uri="{FF2B5EF4-FFF2-40B4-BE49-F238E27FC236}">
                      <a16:creationId xmlns:a16="http://schemas.microsoft.com/office/drawing/2014/main" id="{631F8DA1-3B20-476C-B756-735F9BCD3EC7}"/>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3" name="Rechthoek 232">
                  <a:extLst>
                    <a:ext uri="{FF2B5EF4-FFF2-40B4-BE49-F238E27FC236}">
                      <a16:creationId xmlns:a16="http://schemas.microsoft.com/office/drawing/2014/main" id="{57385E5B-3AEF-44C3-BF26-5809E70F25DC}"/>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4" name="Rechthoek 233">
                  <a:extLst>
                    <a:ext uri="{FF2B5EF4-FFF2-40B4-BE49-F238E27FC236}">
                      <a16:creationId xmlns:a16="http://schemas.microsoft.com/office/drawing/2014/main" id="{ED3391AC-D626-4A3E-BD89-5A05B2328D5D}"/>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5" name="Rechthoek 234">
                  <a:extLst>
                    <a:ext uri="{FF2B5EF4-FFF2-40B4-BE49-F238E27FC236}">
                      <a16:creationId xmlns:a16="http://schemas.microsoft.com/office/drawing/2014/main" id="{22F25FB6-897C-4C61-9435-063E341F64CC}"/>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6" name="Rechthoek 235">
                  <a:extLst>
                    <a:ext uri="{FF2B5EF4-FFF2-40B4-BE49-F238E27FC236}">
                      <a16:creationId xmlns:a16="http://schemas.microsoft.com/office/drawing/2014/main" id="{A4489C61-CA5F-4294-B652-12B286A520E1}"/>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7" name="Rechthoek 236">
                  <a:extLst>
                    <a:ext uri="{FF2B5EF4-FFF2-40B4-BE49-F238E27FC236}">
                      <a16:creationId xmlns:a16="http://schemas.microsoft.com/office/drawing/2014/main" id="{C2229101-2F02-407A-870D-1AD5F1571F9F}"/>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8" name="Rechthoek 237">
                  <a:extLst>
                    <a:ext uri="{FF2B5EF4-FFF2-40B4-BE49-F238E27FC236}">
                      <a16:creationId xmlns:a16="http://schemas.microsoft.com/office/drawing/2014/main" id="{1A64C1B6-E450-456C-AEC9-DACF1E82A4E9}"/>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9" name="Rechthoek 238">
                  <a:extLst>
                    <a:ext uri="{FF2B5EF4-FFF2-40B4-BE49-F238E27FC236}">
                      <a16:creationId xmlns:a16="http://schemas.microsoft.com/office/drawing/2014/main" id="{31CAEB4F-9524-43DA-BEBA-4B65E4790DF7}"/>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0" name="Rechthoek 239">
                  <a:extLst>
                    <a:ext uri="{FF2B5EF4-FFF2-40B4-BE49-F238E27FC236}">
                      <a16:creationId xmlns:a16="http://schemas.microsoft.com/office/drawing/2014/main" id="{5C298174-2D20-4932-A3B8-3E706784483D}"/>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1" name="Vrije vorm 132">
                  <a:extLst>
                    <a:ext uri="{FF2B5EF4-FFF2-40B4-BE49-F238E27FC236}">
                      <a16:creationId xmlns:a16="http://schemas.microsoft.com/office/drawing/2014/main" id="{B1904785-E41D-4944-95F8-1193BE28874E}"/>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203" name="Rechte verbindingslijn 202">
              <a:extLst>
                <a:ext uri="{FF2B5EF4-FFF2-40B4-BE49-F238E27FC236}">
                  <a16:creationId xmlns:a16="http://schemas.microsoft.com/office/drawing/2014/main" id="{46A54E55-8D8F-45FE-882F-775A29830A49}"/>
                </a:ext>
              </a:extLst>
            </p:cNvPr>
            <p:cNvCxnSpPr>
              <a:stCxn id="205" idx="2"/>
              <a:endCxn id="229"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04" name="Rechte verbindingslijn 203">
              <a:extLst>
                <a:ext uri="{FF2B5EF4-FFF2-40B4-BE49-F238E27FC236}">
                  <a16:creationId xmlns:a16="http://schemas.microsoft.com/office/drawing/2014/main" id="{DEB8566A-2410-456A-B5D5-B2AA15CA35A5}"/>
                </a:ext>
              </a:extLst>
            </p:cNvPr>
            <p:cNvCxnSpPr>
              <a:stCxn id="206" idx="3"/>
              <a:endCxn id="242"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05" name="Ovaal 204">
              <a:extLst>
                <a:ext uri="{FF2B5EF4-FFF2-40B4-BE49-F238E27FC236}">
                  <a16:creationId xmlns:a16="http://schemas.microsoft.com/office/drawing/2014/main" id="{E92FE5BA-AB82-49D9-8CFA-24A403771B10}"/>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06" name="Ovaal 205">
              <a:extLst>
                <a:ext uri="{FF2B5EF4-FFF2-40B4-BE49-F238E27FC236}">
                  <a16:creationId xmlns:a16="http://schemas.microsoft.com/office/drawing/2014/main" id="{2700124A-1608-4EB1-9642-02ABF67511C8}"/>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07" name="Textfield placeholder">
              <a:extLst>
                <a:ext uri="{FF2B5EF4-FFF2-40B4-BE49-F238E27FC236}">
                  <a16:creationId xmlns:a16="http://schemas.microsoft.com/office/drawing/2014/main" id="{640ED574-4504-4F30-9E52-6EA86940FE28}"/>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208" name="Textfield placeholder">
              <a:extLst>
                <a:ext uri="{FF2B5EF4-FFF2-40B4-BE49-F238E27FC236}">
                  <a16:creationId xmlns:a16="http://schemas.microsoft.com/office/drawing/2014/main" id="{42A633A2-8DA2-4308-83AA-0B4F5ED1FA73}"/>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209" name="Ovaal 208">
              <a:extLst>
                <a:ext uri="{FF2B5EF4-FFF2-40B4-BE49-F238E27FC236}">
                  <a16:creationId xmlns:a16="http://schemas.microsoft.com/office/drawing/2014/main" id="{72686863-C5F8-4892-909F-9D887F0DDCFB}"/>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210" name="Ovaal 209">
              <a:extLst>
                <a:ext uri="{FF2B5EF4-FFF2-40B4-BE49-F238E27FC236}">
                  <a16:creationId xmlns:a16="http://schemas.microsoft.com/office/drawing/2014/main" id="{D394D1B6-24B8-4CF3-BBB8-E7C0834FDFA3}"/>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211" name="Ovaal 210">
              <a:extLst>
                <a:ext uri="{FF2B5EF4-FFF2-40B4-BE49-F238E27FC236}">
                  <a16:creationId xmlns:a16="http://schemas.microsoft.com/office/drawing/2014/main" id="{90F7E4BB-E4C0-4BA6-9AFF-D643348C4F8C}"/>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212" name="Ovaal 211">
              <a:extLst>
                <a:ext uri="{FF2B5EF4-FFF2-40B4-BE49-F238E27FC236}">
                  <a16:creationId xmlns:a16="http://schemas.microsoft.com/office/drawing/2014/main" id="{09332F61-855E-4526-BFD4-EDDB774566E6}"/>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213" name="Ovaal 212">
              <a:extLst>
                <a:ext uri="{FF2B5EF4-FFF2-40B4-BE49-F238E27FC236}">
                  <a16:creationId xmlns:a16="http://schemas.microsoft.com/office/drawing/2014/main" id="{7D75EEE5-B2D1-4D6F-A2BA-0B13DF9764AC}"/>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214" name="Textfield placeholder">
              <a:extLst>
                <a:ext uri="{FF2B5EF4-FFF2-40B4-BE49-F238E27FC236}">
                  <a16:creationId xmlns:a16="http://schemas.microsoft.com/office/drawing/2014/main" id="{C6CFD388-5B84-4D2E-8FB3-8F3E3D56C0E8}"/>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15" name="Textfield placeholder">
              <a:extLst>
                <a:ext uri="{FF2B5EF4-FFF2-40B4-BE49-F238E27FC236}">
                  <a16:creationId xmlns:a16="http://schemas.microsoft.com/office/drawing/2014/main" id="{0291BAFB-20F9-4173-A9D1-AF5BF220C0C4}"/>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16" name="Textfield placeholder">
              <a:extLst>
                <a:ext uri="{FF2B5EF4-FFF2-40B4-BE49-F238E27FC236}">
                  <a16:creationId xmlns:a16="http://schemas.microsoft.com/office/drawing/2014/main" id="{23F6B083-DB8B-4047-A96D-703B95B20804}"/>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17" name="Textfield placeholder">
              <a:extLst>
                <a:ext uri="{FF2B5EF4-FFF2-40B4-BE49-F238E27FC236}">
                  <a16:creationId xmlns:a16="http://schemas.microsoft.com/office/drawing/2014/main" id="{5BFDB090-6A78-4937-B009-7D40F3C80FF9}"/>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218" name="Textfield placeholder">
              <a:extLst>
                <a:ext uri="{FF2B5EF4-FFF2-40B4-BE49-F238E27FC236}">
                  <a16:creationId xmlns:a16="http://schemas.microsoft.com/office/drawing/2014/main" id="{3CF8C4AE-DAF8-4FEE-8D78-1DC24E6E0D69}"/>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19" name="Groep 218">
              <a:extLst>
                <a:ext uri="{FF2B5EF4-FFF2-40B4-BE49-F238E27FC236}">
                  <a16:creationId xmlns:a16="http://schemas.microsoft.com/office/drawing/2014/main" id="{4A39EF40-98DF-42A1-8712-A64FAEE59046}"/>
                </a:ext>
              </a:extLst>
            </p:cNvPr>
            <p:cNvGrpSpPr/>
            <p:nvPr userDrawn="1"/>
          </p:nvGrpSpPr>
          <p:grpSpPr>
            <a:xfrm>
              <a:off x="-950342" y="1837957"/>
              <a:ext cx="687412" cy="3758146"/>
              <a:chOff x="-740196" y="1837957"/>
              <a:chExt cx="1374825" cy="3758146"/>
            </a:xfrm>
          </p:grpSpPr>
          <p:sp>
            <p:nvSpPr>
              <p:cNvPr id="220" name="Textfield placeholder">
                <a:extLst>
                  <a:ext uri="{FF2B5EF4-FFF2-40B4-BE49-F238E27FC236}">
                    <a16:creationId xmlns:a16="http://schemas.microsoft.com/office/drawing/2014/main" id="{0E562110-C561-4944-BF28-38B9D766E24A}"/>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21" name="Textfield placeholder">
                <a:extLst>
                  <a:ext uri="{FF2B5EF4-FFF2-40B4-BE49-F238E27FC236}">
                    <a16:creationId xmlns:a16="http://schemas.microsoft.com/office/drawing/2014/main" id="{CC3BD390-1D54-4C5E-B7FF-EACFDC9A15F3}"/>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22" name="Textfield placeholder">
                <a:extLst>
                  <a:ext uri="{FF2B5EF4-FFF2-40B4-BE49-F238E27FC236}">
                    <a16:creationId xmlns:a16="http://schemas.microsoft.com/office/drawing/2014/main" id="{8EE31930-82A5-45DE-AAE5-927C35CC07D1}"/>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23" name="Textfield placeholder">
                <a:extLst>
                  <a:ext uri="{FF2B5EF4-FFF2-40B4-BE49-F238E27FC236}">
                    <a16:creationId xmlns:a16="http://schemas.microsoft.com/office/drawing/2014/main" id="{85C8A466-6870-4B4C-A90D-E8CA097742AE}"/>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224" name="Textfield placeholder">
                <a:extLst>
                  <a:ext uri="{FF2B5EF4-FFF2-40B4-BE49-F238E27FC236}">
                    <a16:creationId xmlns:a16="http://schemas.microsoft.com/office/drawing/2014/main" id="{914E0F03-ECE5-41BA-B27A-30459F830355}"/>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225" name="Textfield placeholder">
                <a:extLst>
                  <a:ext uri="{FF2B5EF4-FFF2-40B4-BE49-F238E27FC236}">
                    <a16:creationId xmlns:a16="http://schemas.microsoft.com/office/drawing/2014/main" id="{36443231-C2A4-4370-A545-83C07C686BB3}"/>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26" name="Textfield placeholder">
                <a:extLst>
                  <a:ext uri="{FF2B5EF4-FFF2-40B4-BE49-F238E27FC236}">
                    <a16:creationId xmlns:a16="http://schemas.microsoft.com/office/drawing/2014/main" id="{19AC0B19-F71F-4045-8C6C-C2D1D9F2E916}"/>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27" name="Textfield placeholder">
                <a:extLst>
                  <a:ext uri="{FF2B5EF4-FFF2-40B4-BE49-F238E27FC236}">
                    <a16:creationId xmlns:a16="http://schemas.microsoft.com/office/drawing/2014/main" id="{BF261581-36B8-419D-9E8D-8654BD6A4E19}"/>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228" name="Textfield placeholder">
                <a:extLst>
                  <a:ext uri="{FF2B5EF4-FFF2-40B4-BE49-F238E27FC236}">
                    <a16:creationId xmlns:a16="http://schemas.microsoft.com/office/drawing/2014/main" id="{FA05E0B6-A2DB-4370-84E8-7715A8BCFF76}"/>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grpSp>
        <p:nvGrpSpPr>
          <p:cNvPr id="255" name="Groep 254">
            <a:extLst>
              <a:ext uri="{FF2B5EF4-FFF2-40B4-BE49-F238E27FC236}">
                <a16:creationId xmlns:a16="http://schemas.microsoft.com/office/drawing/2014/main" id="{B2C454CE-45B7-449F-8DF1-DE17544F68D6}"/>
              </a:ext>
            </a:extLst>
          </p:cNvPr>
          <p:cNvGrpSpPr/>
          <p:nvPr userDrawn="1"/>
        </p:nvGrpSpPr>
        <p:grpSpPr>
          <a:xfrm>
            <a:off x="12363871" y="-26002"/>
            <a:ext cx="3064812" cy="4530930"/>
            <a:chOff x="15419739" y="-26002"/>
            <a:chExt cx="3064812" cy="4530930"/>
          </a:xfrm>
        </p:grpSpPr>
        <p:sp>
          <p:nvSpPr>
            <p:cNvPr id="256" name="Tekstvak 33">
              <a:extLst>
                <a:ext uri="{FF2B5EF4-FFF2-40B4-BE49-F238E27FC236}">
                  <a16:creationId xmlns:a16="http://schemas.microsoft.com/office/drawing/2014/main" id="{E9A80365-DDEF-4779-BE97-66276CEF93D5}"/>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257" name="Tekstvak 33">
              <a:extLst>
                <a:ext uri="{FF2B5EF4-FFF2-40B4-BE49-F238E27FC236}">
                  <a16:creationId xmlns:a16="http://schemas.microsoft.com/office/drawing/2014/main" id="{F84ADAFF-33DA-4B53-A97D-2C33FAA1175A}"/>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258" name="Ovaal 257">
              <a:extLst>
                <a:ext uri="{FF2B5EF4-FFF2-40B4-BE49-F238E27FC236}">
                  <a16:creationId xmlns:a16="http://schemas.microsoft.com/office/drawing/2014/main" id="{0F91132A-B683-4261-AE79-92EAEC546303}"/>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259" name="Ovaal 258">
              <a:extLst>
                <a:ext uri="{FF2B5EF4-FFF2-40B4-BE49-F238E27FC236}">
                  <a16:creationId xmlns:a16="http://schemas.microsoft.com/office/drawing/2014/main" id="{4570757C-53C7-41F9-AF0E-04346F197E90}"/>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260" name="Picture 3">
              <a:extLst>
                <a:ext uri="{FF2B5EF4-FFF2-40B4-BE49-F238E27FC236}">
                  <a16:creationId xmlns:a16="http://schemas.microsoft.com/office/drawing/2014/main" id="{C5C09757-78D0-4391-B64B-1153CA075107}"/>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61" name="Picture 3">
              <a:extLst>
                <a:ext uri="{FF2B5EF4-FFF2-40B4-BE49-F238E27FC236}">
                  <a16:creationId xmlns:a16="http://schemas.microsoft.com/office/drawing/2014/main" id="{43A2137D-DA0E-4C62-93F7-0BC23D33897E}"/>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62" name="Tekstvak 261">
              <a:extLst>
                <a:ext uri="{FF2B5EF4-FFF2-40B4-BE49-F238E27FC236}">
                  <a16:creationId xmlns:a16="http://schemas.microsoft.com/office/drawing/2014/main" id="{8139C46E-D85B-4636-9481-5486742C6F6A}"/>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263" name="Rechthoek 262">
              <a:extLst>
                <a:ext uri="{FF2B5EF4-FFF2-40B4-BE49-F238E27FC236}">
                  <a16:creationId xmlns:a16="http://schemas.microsoft.com/office/drawing/2014/main" id="{1F635049-1798-4B0F-B6DD-0431FEB02E2E}"/>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264" name="Groep 263">
              <a:extLst>
                <a:ext uri="{FF2B5EF4-FFF2-40B4-BE49-F238E27FC236}">
                  <a16:creationId xmlns:a16="http://schemas.microsoft.com/office/drawing/2014/main" id="{5251E722-1E59-4631-8793-A3581743A408}"/>
                </a:ext>
              </a:extLst>
            </p:cNvPr>
            <p:cNvGrpSpPr/>
            <p:nvPr userDrawn="1"/>
          </p:nvGrpSpPr>
          <p:grpSpPr>
            <a:xfrm>
              <a:off x="15563079" y="358984"/>
              <a:ext cx="2489424" cy="4145944"/>
              <a:chOff x="15563079" y="358984"/>
              <a:chExt cx="2315772" cy="4145944"/>
            </a:xfrm>
          </p:grpSpPr>
          <p:cxnSp>
            <p:nvCxnSpPr>
              <p:cNvPr id="266" name="Rechte verbindingslijn 265">
                <a:extLst>
                  <a:ext uri="{FF2B5EF4-FFF2-40B4-BE49-F238E27FC236}">
                    <a16:creationId xmlns:a16="http://schemas.microsoft.com/office/drawing/2014/main" id="{C49B0ABF-FE15-425B-B542-16EF3535C843}"/>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7" name="Rechte verbindingslijn 266">
                <a:extLst>
                  <a:ext uri="{FF2B5EF4-FFF2-40B4-BE49-F238E27FC236}">
                    <a16:creationId xmlns:a16="http://schemas.microsoft.com/office/drawing/2014/main" id="{0AE411B7-AC3C-4E4D-A277-A3AE931E39A6}"/>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8" name="Rechte verbindingslijn 267">
                <a:extLst>
                  <a:ext uri="{FF2B5EF4-FFF2-40B4-BE49-F238E27FC236}">
                    <a16:creationId xmlns:a16="http://schemas.microsoft.com/office/drawing/2014/main" id="{BED35447-C014-40E1-AFF5-3AC4D39AFEE0}"/>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65" name="Afbeelding 264">
              <a:extLst>
                <a:ext uri="{FF2B5EF4-FFF2-40B4-BE49-F238E27FC236}">
                  <a16:creationId xmlns:a16="http://schemas.microsoft.com/office/drawing/2014/main" id="{695DAD50-6BBA-498E-BC67-A590B3A0C6B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306571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fbeelding (XXL) + Tekstkader (Linksboven)">
    <p:spTree>
      <p:nvGrpSpPr>
        <p:cNvPr id="1" name=""/>
        <p:cNvGrpSpPr/>
        <p:nvPr/>
      </p:nvGrpSpPr>
      <p:grpSpPr>
        <a:xfrm>
          <a:off x="0" y="0"/>
          <a:ext cx="0" cy="0"/>
          <a:chOff x="0" y="0"/>
          <a:chExt cx="0" cy="0"/>
        </a:xfrm>
      </p:grpSpPr>
      <p:sp>
        <p:nvSpPr>
          <p:cNvPr id="12" name="GRIJS"/>
          <p:cNvSpPr/>
          <p:nvPr userDrawn="1"/>
        </p:nvSpPr>
        <p:spPr>
          <a:xfrm>
            <a:off x="0" y="-1"/>
            <a:ext cx="12195175" cy="5980827"/>
          </a:xfrm>
          <a:prstGeom prst="round2SameRect">
            <a:avLst>
              <a:gd name="adj1" fmla="val 1089"/>
              <a:gd name="adj2" fmla="val 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102" name="Tijdelijke aanduiding voor afbeelding 2"/>
          <p:cNvSpPr>
            <a:spLocks noGrp="1"/>
          </p:cNvSpPr>
          <p:nvPr>
            <p:ph type="pic" idx="13"/>
          </p:nvPr>
        </p:nvSpPr>
        <p:spPr>
          <a:xfrm>
            <a:off x="0" y="-1"/>
            <a:ext cx="12195175" cy="5980815"/>
          </a:xfrm>
          <a:prstGeom prst="round2SameRect">
            <a:avLst>
              <a:gd name="adj1" fmla="val 1166"/>
              <a:gd name="adj2" fmla="val 0"/>
            </a:avLst>
          </a:prstGeo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en-GB"/>
          </a:p>
        </p:txBody>
      </p:sp>
      <p:sp>
        <p:nvSpPr>
          <p:cNvPr id="4" name="Tijdelijke aanduiding voor datum 3"/>
          <p:cNvSpPr>
            <a:spLocks noGrp="1"/>
          </p:cNvSpPr>
          <p:nvPr>
            <p:ph type="dt" sz="half" idx="10"/>
          </p:nvPr>
        </p:nvSpPr>
        <p:spPr/>
        <p:txBody>
          <a:bodyPr/>
          <a:lstStyle/>
          <a:p>
            <a:fld id="{E1598B5C-953B-4828-A401-3532EF53F0AE}"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1" name="Tekstvak 10"/>
          <p:cNvSpPr txBox="1"/>
          <p:nvPr userDrawn="1"/>
        </p:nvSpPr>
        <p:spPr>
          <a:xfrm>
            <a:off x="-1" y="-521614"/>
            <a:ext cx="5677469" cy="469107"/>
          </a:xfrm>
          <a:prstGeom prst="rect">
            <a:avLst/>
          </a:prstGeom>
          <a:noFill/>
        </p:spPr>
        <p:txBody>
          <a:bodyPr wrap="square" rtlCol="0" anchor="b">
            <a:noAutofit/>
          </a:bodyPr>
          <a:lstStyle/>
          <a:p>
            <a:r>
              <a:rPr lang="nl-NL" sz="1333" b="0" dirty="0">
                <a:solidFill>
                  <a:schemeClr val="accent6"/>
                </a:solidFill>
                <a:latin typeface="+mj-lt"/>
              </a:rPr>
              <a:t>Afbeelding (XXL) + Tekstkader (Linksboven)</a:t>
            </a:r>
          </a:p>
        </p:txBody>
      </p:sp>
      <p:sp>
        <p:nvSpPr>
          <p:cNvPr id="14" name="Titel 1"/>
          <p:cNvSpPr>
            <a:spLocks noGrp="1"/>
          </p:cNvSpPr>
          <p:nvPr>
            <p:ph type="title"/>
          </p:nvPr>
        </p:nvSpPr>
        <p:spPr>
          <a:xfrm>
            <a:off x="2863515" y="-710349"/>
            <a:ext cx="8859071" cy="648000"/>
          </a:xfrm>
        </p:spPr>
        <p:txBody>
          <a:bodyPr anchor="b"/>
          <a:lstStyle>
            <a:lvl1pPr algn="r">
              <a:defRPr/>
            </a:lvl1pPr>
          </a:lstStyle>
          <a:p>
            <a:r>
              <a:rPr lang="nl-NL"/>
              <a:t>Klik om stijl te bewerken</a:t>
            </a:r>
            <a:endParaRPr lang="en-GB" dirty="0"/>
          </a:p>
        </p:txBody>
      </p:sp>
      <p:sp>
        <p:nvSpPr>
          <p:cNvPr id="99" name="Tijdelijke aanduiding voor verticale tekst 2"/>
          <p:cNvSpPr>
            <a:spLocks noGrp="1"/>
          </p:cNvSpPr>
          <p:nvPr>
            <p:ph type="body" orient="vert" idx="1"/>
          </p:nvPr>
        </p:nvSpPr>
        <p:spPr>
          <a:xfrm>
            <a:off x="350500" y="352928"/>
            <a:ext cx="5400000" cy="2887579"/>
          </a:xfrm>
          <a:solidFill>
            <a:srgbClr val="FFD800">
              <a:alpha val="94902"/>
            </a:srgbClr>
          </a:solidFill>
        </p:spPr>
        <p:txBody>
          <a:bodyPr vert="horz" lIns="324000" rIns="324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dirty="0"/>
          </a:p>
        </p:txBody>
      </p:sp>
      <p:sp>
        <p:nvSpPr>
          <p:cNvPr id="100" name="Tijdelijke aanduiding voor tekst 8"/>
          <p:cNvSpPr>
            <a:spLocks noGrp="1"/>
          </p:cNvSpPr>
          <p:nvPr>
            <p:ph type="body" sz="quarter" idx="14" hasCustomPrompt="1"/>
          </p:nvPr>
        </p:nvSpPr>
        <p:spPr>
          <a:xfrm>
            <a:off x="350500" y="352928"/>
            <a:ext cx="11880000" cy="72000"/>
          </a:xfrm>
          <a:solidFill>
            <a:schemeClr val="bg2"/>
          </a:solidFill>
        </p:spPr>
        <p:txBody>
          <a:bodyPr anchor="ctr"/>
          <a:lstStyle>
            <a:lvl1pPr algn="ctr">
              <a:defRPr sz="700"/>
            </a:lvl1pPr>
          </a:lstStyle>
          <a:p>
            <a:pPr lvl="0"/>
            <a:r>
              <a:rPr lang="nl-NL" noProof="0" dirty="0"/>
              <a:t>Vormgeving (niet verwijderen!)</a:t>
            </a:r>
          </a:p>
        </p:txBody>
      </p:sp>
      <p:grpSp>
        <p:nvGrpSpPr>
          <p:cNvPr id="185" name="Groep 184">
            <a:extLst>
              <a:ext uri="{FF2B5EF4-FFF2-40B4-BE49-F238E27FC236}">
                <a16:creationId xmlns:a16="http://schemas.microsoft.com/office/drawing/2014/main" id="{5288FC3B-D5F7-4896-95C7-C3811B3814C4}"/>
              </a:ext>
            </a:extLst>
          </p:cNvPr>
          <p:cNvGrpSpPr/>
          <p:nvPr userDrawn="1"/>
        </p:nvGrpSpPr>
        <p:grpSpPr>
          <a:xfrm>
            <a:off x="-2973833" y="0"/>
            <a:ext cx="2808312" cy="5805264"/>
            <a:chOff x="-2973833" y="0"/>
            <a:chExt cx="2808312" cy="5805264"/>
          </a:xfrm>
        </p:grpSpPr>
        <p:sp>
          <p:nvSpPr>
            <p:cNvPr id="186" name="Rechthoek 185">
              <a:extLst>
                <a:ext uri="{FF2B5EF4-FFF2-40B4-BE49-F238E27FC236}">
                  <a16:creationId xmlns:a16="http://schemas.microsoft.com/office/drawing/2014/main" id="{547936E8-BFFE-4DE6-96DF-AE9C5DAFBE94}"/>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187" name="Textfield placeholder">
              <a:extLst>
                <a:ext uri="{FF2B5EF4-FFF2-40B4-BE49-F238E27FC236}">
                  <a16:creationId xmlns:a16="http://schemas.microsoft.com/office/drawing/2014/main" id="{4FD82E9E-421D-4B9E-8472-1321BC4BBFEC}"/>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188" name="Ovaal 187">
              <a:extLst>
                <a:ext uri="{FF2B5EF4-FFF2-40B4-BE49-F238E27FC236}">
                  <a16:creationId xmlns:a16="http://schemas.microsoft.com/office/drawing/2014/main" id="{E969B218-B09A-4994-8402-EEB0B94701A7}"/>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189" name="Ovaal 188">
              <a:extLst>
                <a:ext uri="{FF2B5EF4-FFF2-40B4-BE49-F238E27FC236}">
                  <a16:creationId xmlns:a16="http://schemas.microsoft.com/office/drawing/2014/main" id="{7AD46D59-48D1-4123-A86E-EF533C54ADFB}"/>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190" name="Ovaal 189">
              <a:extLst>
                <a:ext uri="{FF2B5EF4-FFF2-40B4-BE49-F238E27FC236}">
                  <a16:creationId xmlns:a16="http://schemas.microsoft.com/office/drawing/2014/main" id="{B50EB376-BE40-4519-938D-08120DCA4BB2}"/>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191" name="Ovaal 190">
              <a:extLst>
                <a:ext uri="{FF2B5EF4-FFF2-40B4-BE49-F238E27FC236}">
                  <a16:creationId xmlns:a16="http://schemas.microsoft.com/office/drawing/2014/main" id="{B1D64BD2-72F1-41D4-AC7E-4DC4D78A59D5}"/>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192" name="Textfield placeholder">
              <a:extLst>
                <a:ext uri="{FF2B5EF4-FFF2-40B4-BE49-F238E27FC236}">
                  <a16:creationId xmlns:a16="http://schemas.microsoft.com/office/drawing/2014/main" id="{660F988F-5EBC-4ADC-9F38-BAEF61BE57F3}"/>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193" name="Textfield placeholder">
              <a:extLst>
                <a:ext uri="{FF2B5EF4-FFF2-40B4-BE49-F238E27FC236}">
                  <a16:creationId xmlns:a16="http://schemas.microsoft.com/office/drawing/2014/main" id="{379F921C-FBBC-43B7-8FC1-10C160CBE402}"/>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194" name="Textfield placeholder">
              <a:extLst>
                <a:ext uri="{FF2B5EF4-FFF2-40B4-BE49-F238E27FC236}">
                  <a16:creationId xmlns:a16="http://schemas.microsoft.com/office/drawing/2014/main" id="{33E74D89-3A02-4879-8EA8-D555DB48CC3A}"/>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195" name="Rechte verbindingslijn 194">
              <a:extLst>
                <a:ext uri="{FF2B5EF4-FFF2-40B4-BE49-F238E27FC236}">
                  <a16:creationId xmlns:a16="http://schemas.microsoft.com/office/drawing/2014/main" id="{1E6E6987-95C4-4FBD-B196-898BC659BF77}"/>
                </a:ext>
              </a:extLst>
            </p:cNvPr>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6" name="Rechte verbindingslijn 195">
              <a:extLst>
                <a:ext uri="{FF2B5EF4-FFF2-40B4-BE49-F238E27FC236}">
                  <a16:creationId xmlns:a16="http://schemas.microsoft.com/office/drawing/2014/main" id="{39F0F4D3-BC1E-482C-9B38-08D695BF06D8}"/>
                </a:ext>
              </a:extLst>
            </p:cNvPr>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7" name="Rechte verbindingslijn 196">
              <a:extLst>
                <a:ext uri="{FF2B5EF4-FFF2-40B4-BE49-F238E27FC236}">
                  <a16:creationId xmlns:a16="http://schemas.microsoft.com/office/drawing/2014/main" id="{AFB36AE5-4CD1-4DCD-945D-4D1540292077}"/>
                </a:ext>
              </a:extLst>
            </p:cNvPr>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98" name="Picture 3">
              <a:extLst>
                <a:ext uri="{FF2B5EF4-FFF2-40B4-BE49-F238E27FC236}">
                  <a16:creationId xmlns:a16="http://schemas.microsoft.com/office/drawing/2014/main" id="{B28B01C9-8D07-483D-81FC-43D3B239F812}"/>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9" name="Picture 4">
              <a:extLst>
                <a:ext uri="{FF2B5EF4-FFF2-40B4-BE49-F238E27FC236}">
                  <a16:creationId xmlns:a16="http://schemas.microsoft.com/office/drawing/2014/main" id="{8DB63D33-C32A-40BC-A414-AD76873E2F3E}"/>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00" name="Groep 199">
              <a:extLst>
                <a:ext uri="{FF2B5EF4-FFF2-40B4-BE49-F238E27FC236}">
                  <a16:creationId xmlns:a16="http://schemas.microsoft.com/office/drawing/2014/main" id="{0AA25BB8-6169-4B26-9A27-010096189855}"/>
                </a:ext>
              </a:extLst>
            </p:cNvPr>
            <p:cNvGrpSpPr/>
            <p:nvPr userDrawn="1"/>
          </p:nvGrpSpPr>
          <p:grpSpPr>
            <a:xfrm>
              <a:off x="-2098870" y="523279"/>
              <a:ext cx="435437" cy="427699"/>
              <a:chOff x="-1085063" y="758027"/>
              <a:chExt cx="633800" cy="622540"/>
            </a:xfrm>
          </p:grpSpPr>
          <p:sp>
            <p:nvSpPr>
              <p:cNvPr id="241" name="Afgeronde rechthoek 133">
                <a:extLst>
                  <a:ext uri="{FF2B5EF4-FFF2-40B4-BE49-F238E27FC236}">
                    <a16:creationId xmlns:a16="http://schemas.microsoft.com/office/drawing/2014/main" id="{F4512CBE-A49D-423E-883E-A2CCFF7BAA2D}"/>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242" name="Groep 241">
                <a:extLst>
                  <a:ext uri="{FF2B5EF4-FFF2-40B4-BE49-F238E27FC236}">
                    <a16:creationId xmlns:a16="http://schemas.microsoft.com/office/drawing/2014/main" id="{DE384B36-2A2C-4FA2-B1B2-672A243A2606}"/>
                  </a:ext>
                </a:extLst>
              </p:cNvPr>
              <p:cNvGrpSpPr/>
              <p:nvPr userDrawn="1"/>
            </p:nvGrpSpPr>
            <p:grpSpPr>
              <a:xfrm>
                <a:off x="-977746" y="864082"/>
                <a:ext cx="419166" cy="410430"/>
                <a:chOff x="6366933" y="309013"/>
                <a:chExt cx="1901295" cy="1861668"/>
              </a:xfrm>
              <a:solidFill>
                <a:schemeClr val="tx1"/>
              </a:solidFill>
            </p:grpSpPr>
            <p:sp>
              <p:nvSpPr>
                <p:cNvPr id="243" name="Rechthoek 242">
                  <a:extLst>
                    <a:ext uri="{FF2B5EF4-FFF2-40B4-BE49-F238E27FC236}">
                      <a16:creationId xmlns:a16="http://schemas.microsoft.com/office/drawing/2014/main" id="{DCA461D1-D7F0-44A1-97C7-1D889DFA9400}"/>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4" name="Rechthoek 243">
                  <a:extLst>
                    <a:ext uri="{FF2B5EF4-FFF2-40B4-BE49-F238E27FC236}">
                      <a16:creationId xmlns:a16="http://schemas.microsoft.com/office/drawing/2014/main" id="{A7E0F110-119E-4AAA-9039-C6B888057AA1}"/>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5" name="Rechthoek 244">
                  <a:extLst>
                    <a:ext uri="{FF2B5EF4-FFF2-40B4-BE49-F238E27FC236}">
                      <a16:creationId xmlns:a16="http://schemas.microsoft.com/office/drawing/2014/main" id="{410F497E-33D7-491E-83BF-8FEFD61D937F}"/>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6" name="Rechthoek 245">
                  <a:extLst>
                    <a:ext uri="{FF2B5EF4-FFF2-40B4-BE49-F238E27FC236}">
                      <a16:creationId xmlns:a16="http://schemas.microsoft.com/office/drawing/2014/main" id="{1819051A-047E-459C-9D65-E38867902290}"/>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7" name="Rechthoek 246">
                  <a:extLst>
                    <a:ext uri="{FF2B5EF4-FFF2-40B4-BE49-F238E27FC236}">
                      <a16:creationId xmlns:a16="http://schemas.microsoft.com/office/drawing/2014/main" id="{D3007306-BAD1-47A0-9387-371675E64645}"/>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8" name="Rechthoek 247">
                  <a:extLst>
                    <a:ext uri="{FF2B5EF4-FFF2-40B4-BE49-F238E27FC236}">
                      <a16:creationId xmlns:a16="http://schemas.microsoft.com/office/drawing/2014/main" id="{AA2462B9-E3C8-48D5-9C65-54A8D81D16B6}"/>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9" name="Rechthoek 248">
                  <a:extLst>
                    <a:ext uri="{FF2B5EF4-FFF2-40B4-BE49-F238E27FC236}">
                      <a16:creationId xmlns:a16="http://schemas.microsoft.com/office/drawing/2014/main" id="{9354061A-B57C-4176-A13C-A22C9D5325BD}"/>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0" name="Rechthoek 249">
                  <a:extLst>
                    <a:ext uri="{FF2B5EF4-FFF2-40B4-BE49-F238E27FC236}">
                      <a16:creationId xmlns:a16="http://schemas.microsoft.com/office/drawing/2014/main" id="{FE631A33-CE68-4E97-A966-C45C93F0047D}"/>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1" name="Rechthoek 250">
                  <a:extLst>
                    <a:ext uri="{FF2B5EF4-FFF2-40B4-BE49-F238E27FC236}">
                      <a16:creationId xmlns:a16="http://schemas.microsoft.com/office/drawing/2014/main" id="{26ED5581-B430-4492-B388-CD2FACB8A97A}"/>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2" name="Rechthoek 251">
                  <a:extLst>
                    <a:ext uri="{FF2B5EF4-FFF2-40B4-BE49-F238E27FC236}">
                      <a16:creationId xmlns:a16="http://schemas.microsoft.com/office/drawing/2014/main" id="{6F9B3EED-C103-4780-914F-43AB4A91B2A9}"/>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3" name="Vrije vorm 145">
                  <a:extLst>
                    <a:ext uri="{FF2B5EF4-FFF2-40B4-BE49-F238E27FC236}">
                      <a16:creationId xmlns:a16="http://schemas.microsoft.com/office/drawing/2014/main" id="{D7E0DB1D-81F6-4BF1-87D9-1C04AFD01833}"/>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201" name="Groep 200">
              <a:extLst>
                <a:ext uri="{FF2B5EF4-FFF2-40B4-BE49-F238E27FC236}">
                  <a16:creationId xmlns:a16="http://schemas.microsoft.com/office/drawing/2014/main" id="{43EB3B9B-D51C-415C-94BD-8E0564E92D00}"/>
                </a:ext>
              </a:extLst>
            </p:cNvPr>
            <p:cNvGrpSpPr/>
            <p:nvPr userDrawn="1"/>
          </p:nvGrpSpPr>
          <p:grpSpPr>
            <a:xfrm>
              <a:off x="-2095303" y="1071657"/>
              <a:ext cx="435437" cy="427699"/>
              <a:chOff x="-1845083" y="758027"/>
              <a:chExt cx="633800" cy="622540"/>
            </a:xfrm>
          </p:grpSpPr>
          <p:sp>
            <p:nvSpPr>
              <p:cNvPr id="228" name="Afgeronde rechthoek 120">
                <a:extLst>
                  <a:ext uri="{FF2B5EF4-FFF2-40B4-BE49-F238E27FC236}">
                    <a16:creationId xmlns:a16="http://schemas.microsoft.com/office/drawing/2014/main" id="{E69131CA-E4A7-4F1D-AA85-2BDDF2CAE55B}"/>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229" name="Groep 228">
                <a:extLst>
                  <a:ext uri="{FF2B5EF4-FFF2-40B4-BE49-F238E27FC236}">
                    <a16:creationId xmlns:a16="http://schemas.microsoft.com/office/drawing/2014/main" id="{CBBAD2B7-418C-4A3C-87DE-56F478189A78}"/>
                  </a:ext>
                </a:extLst>
              </p:cNvPr>
              <p:cNvGrpSpPr/>
              <p:nvPr userDrawn="1"/>
            </p:nvGrpSpPr>
            <p:grpSpPr>
              <a:xfrm>
                <a:off x="-1737766" y="864082"/>
                <a:ext cx="419166" cy="410430"/>
                <a:chOff x="3708400" y="309013"/>
                <a:chExt cx="1901295" cy="1861668"/>
              </a:xfrm>
              <a:solidFill>
                <a:schemeClr val="tx1"/>
              </a:solidFill>
            </p:grpSpPr>
            <p:sp>
              <p:nvSpPr>
                <p:cNvPr id="230" name="Rechthoek 229">
                  <a:extLst>
                    <a:ext uri="{FF2B5EF4-FFF2-40B4-BE49-F238E27FC236}">
                      <a16:creationId xmlns:a16="http://schemas.microsoft.com/office/drawing/2014/main" id="{3260B06D-0475-45D8-930B-9C976F3624F0}"/>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1" name="Rechthoek 230">
                  <a:extLst>
                    <a:ext uri="{FF2B5EF4-FFF2-40B4-BE49-F238E27FC236}">
                      <a16:creationId xmlns:a16="http://schemas.microsoft.com/office/drawing/2014/main" id="{5F488065-41F1-435C-83EF-5DADF7B6408F}"/>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2" name="Rechthoek 231">
                  <a:extLst>
                    <a:ext uri="{FF2B5EF4-FFF2-40B4-BE49-F238E27FC236}">
                      <a16:creationId xmlns:a16="http://schemas.microsoft.com/office/drawing/2014/main" id="{3EFACD89-4403-4DA4-B0D5-03BF759C12D7}"/>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3" name="Rechthoek 232">
                  <a:extLst>
                    <a:ext uri="{FF2B5EF4-FFF2-40B4-BE49-F238E27FC236}">
                      <a16:creationId xmlns:a16="http://schemas.microsoft.com/office/drawing/2014/main" id="{6B03A508-B851-4D90-ADF6-5B5F09E50D84}"/>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4" name="Rechthoek 233">
                  <a:extLst>
                    <a:ext uri="{FF2B5EF4-FFF2-40B4-BE49-F238E27FC236}">
                      <a16:creationId xmlns:a16="http://schemas.microsoft.com/office/drawing/2014/main" id="{3BCF7E23-5AD8-4EE4-B219-FA7D69DC16A5}"/>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5" name="Rechthoek 234">
                  <a:extLst>
                    <a:ext uri="{FF2B5EF4-FFF2-40B4-BE49-F238E27FC236}">
                      <a16:creationId xmlns:a16="http://schemas.microsoft.com/office/drawing/2014/main" id="{5D107F94-BA66-448F-8E65-84E4E0902293}"/>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6" name="Rechthoek 235">
                  <a:extLst>
                    <a:ext uri="{FF2B5EF4-FFF2-40B4-BE49-F238E27FC236}">
                      <a16:creationId xmlns:a16="http://schemas.microsoft.com/office/drawing/2014/main" id="{1A54032E-B3C2-4671-B661-59704B87EE41}"/>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7" name="Rechthoek 236">
                  <a:extLst>
                    <a:ext uri="{FF2B5EF4-FFF2-40B4-BE49-F238E27FC236}">
                      <a16:creationId xmlns:a16="http://schemas.microsoft.com/office/drawing/2014/main" id="{9447D877-1800-4E83-9515-2BC9AE716554}"/>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8" name="Rechthoek 237">
                  <a:extLst>
                    <a:ext uri="{FF2B5EF4-FFF2-40B4-BE49-F238E27FC236}">
                      <a16:creationId xmlns:a16="http://schemas.microsoft.com/office/drawing/2014/main" id="{50B248E9-6511-4A04-816B-33D0BAAB9227}"/>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9" name="Rechthoek 238">
                  <a:extLst>
                    <a:ext uri="{FF2B5EF4-FFF2-40B4-BE49-F238E27FC236}">
                      <a16:creationId xmlns:a16="http://schemas.microsoft.com/office/drawing/2014/main" id="{73CC0C7D-EC91-4043-B363-6D392A37F22F}"/>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0" name="Vrije vorm 132">
                  <a:extLst>
                    <a:ext uri="{FF2B5EF4-FFF2-40B4-BE49-F238E27FC236}">
                      <a16:creationId xmlns:a16="http://schemas.microsoft.com/office/drawing/2014/main" id="{AC7A9538-7ABE-4DAE-A7FD-5AA189C54AEB}"/>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202" name="Rechte verbindingslijn 201">
              <a:extLst>
                <a:ext uri="{FF2B5EF4-FFF2-40B4-BE49-F238E27FC236}">
                  <a16:creationId xmlns:a16="http://schemas.microsoft.com/office/drawing/2014/main" id="{35BF99AA-0082-4414-A1D6-C735908E70E3}"/>
                </a:ext>
              </a:extLst>
            </p:cNvPr>
            <p:cNvCxnSpPr>
              <a:stCxn id="204" idx="2"/>
              <a:endCxn id="228"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03" name="Rechte verbindingslijn 202">
              <a:extLst>
                <a:ext uri="{FF2B5EF4-FFF2-40B4-BE49-F238E27FC236}">
                  <a16:creationId xmlns:a16="http://schemas.microsoft.com/office/drawing/2014/main" id="{1C4BAFBC-DED7-4702-A0A2-18A913382B97}"/>
                </a:ext>
              </a:extLst>
            </p:cNvPr>
            <p:cNvCxnSpPr>
              <a:stCxn id="205" idx="3"/>
              <a:endCxn id="241"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04" name="Ovaal 203">
              <a:extLst>
                <a:ext uri="{FF2B5EF4-FFF2-40B4-BE49-F238E27FC236}">
                  <a16:creationId xmlns:a16="http://schemas.microsoft.com/office/drawing/2014/main" id="{2C74FBCB-243E-4D68-BEC7-2A513EB0A8DC}"/>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05" name="Ovaal 204">
              <a:extLst>
                <a:ext uri="{FF2B5EF4-FFF2-40B4-BE49-F238E27FC236}">
                  <a16:creationId xmlns:a16="http://schemas.microsoft.com/office/drawing/2014/main" id="{C0050A92-493F-4FDD-8EAE-8486BEA9E0E1}"/>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06" name="Textfield placeholder">
              <a:extLst>
                <a:ext uri="{FF2B5EF4-FFF2-40B4-BE49-F238E27FC236}">
                  <a16:creationId xmlns:a16="http://schemas.microsoft.com/office/drawing/2014/main" id="{3CE88CD1-BCF2-4F38-94A1-62352F9869F7}"/>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207" name="Textfield placeholder">
              <a:extLst>
                <a:ext uri="{FF2B5EF4-FFF2-40B4-BE49-F238E27FC236}">
                  <a16:creationId xmlns:a16="http://schemas.microsoft.com/office/drawing/2014/main" id="{5A0224AF-7128-4DFF-A414-7DBC859CDF60}"/>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208" name="Ovaal 207">
              <a:extLst>
                <a:ext uri="{FF2B5EF4-FFF2-40B4-BE49-F238E27FC236}">
                  <a16:creationId xmlns:a16="http://schemas.microsoft.com/office/drawing/2014/main" id="{201970E8-72F2-48E6-8C50-A74A5E588AA1}"/>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209" name="Ovaal 208">
              <a:extLst>
                <a:ext uri="{FF2B5EF4-FFF2-40B4-BE49-F238E27FC236}">
                  <a16:creationId xmlns:a16="http://schemas.microsoft.com/office/drawing/2014/main" id="{21E47993-BF0C-4A4E-BED0-DD24C5BE1625}"/>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210" name="Ovaal 209">
              <a:extLst>
                <a:ext uri="{FF2B5EF4-FFF2-40B4-BE49-F238E27FC236}">
                  <a16:creationId xmlns:a16="http://schemas.microsoft.com/office/drawing/2014/main" id="{C8F6F6CD-063D-4D17-A160-6385EBC38502}"/>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211" name="Ovaal 210">
              <a:extLst>
                <a:ext uri="{FF2B5EF4-FFF2-40B4-BE49-F238E27FC236}">
                  <a16:creationId xmlns:a16="http://schemas.microsoft.com/office/drawing/2014/main" id="{42E6B447-D01F-41CF-A318-E8A7EC674D57}"/>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212" name="Ovaal 211">
              <a:extLst>
                <a:ext uri="{FF2B5EF4-FFF2-40B4-BE49-F238E27FC236}">
                  <a16:creationId xmlns:a16="http://schemas.microsoft.com/office/drawing/2014/main" id="{EDF0F173-420D-44ED-A1AD-F38F8F6D0CEF}"/>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213" name="Textfield placeholder">
              <a:extLst>
                <a:ext uri="{FF2B5EF4-FFF2-40B4-BE49-F238E27FC236}">
                  <a16:creationId xmlns:a16="http://schemas.microsoft.com/office/drawing/2014/main" id="{4BDFB2F9-5462-471D-BD51-29C7FEFED61E}"/>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14" name="Textfield placeholder">
              <a:extLst>
                <a:ext uri="{FF2B5EF4-FFF2-40B4-BE49-F238E27FC236}">
                  <a16:creationId xmlns:a16="http://schemas.microsoft.com/office/drawing/2014/main" id="{7E0415A3-3E5E-4D00-A5C9-F196A75DBE75}"/>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15" name="Textfield placeholder">
              <a:extLst>
                <a:ext uri="{FF2B5EF4-FFF2-40B4-BE49-F238E27FC236}">
                  <a16:creationId xmlns:a16="http://schemas.microsoft.com/office/drawing/2014/main" id="{E445524E-C410-413E-9090-DF2DDF20B5BA}"/>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16" name="Textfield placeholder">
              <a:extLst>
                <a:ext uri="{FF2B5EF4-FFF2-40B4-BE49-F238E27FC236}">
                  <a16:creationId xmlns:a16="http://schemas.microsoft.com/office/drawing/2014/main" id="{23C643A4-4AD8-4B69-A536-20FBE5054452}"/>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217" name="Textfield placeholder">
              <a:extLst>
                <a:ext uri="{FF2B5EF4-FFF2-40B4-BE49-F238E27FC236}">
                  <a16:creationId xmlns:a16="http://schemas.microsoft.com/office/drawing/2014/main" id="{C7D75E41-78DC-413C-B22D-8A7A5F7512C6}"/>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18" name="Groep 217">
              <a:extLst>
                <a:ext uri="{FF2B5EF4-FFF2-40B4-BE49-F238E27FC236}">
                  <a16:creationId xmlns:a16="http://schemas.microsoft.com/office/drawing/2014/main" id="{3155855E-39C2-486A-BA7E-EC0AE8AB426A}"/>
                </a:ext>
              </a:extLst>
            </p:cNvPr>
            <p:cNvGrpSpPr/>
            <p:nvPr userDrawn="1"/>
          </p:nvGrpSpPr>
          <p:grpSpPr>
            <a:xfrm>
              <a:off x="-950342" y="1837957"/>
              <a:ext cx="687412" cy="3758146"/>
              <a:chOff x="-740196" y="1837957"/>
              <a:chExt cx="1374825" cy="3758146"/>
            </a:xfrm>
          </p:grpSpPr>
          <p:sp>
            <p:nvSpPr>
              <p:cNvPr id="219" name="Textfield placeholder">
                <a:extLst>
                  <a:ext uri="{FF2B5EF4-FFF2-40B4-BE49-F238E27FC236}">
                    <a16:creationId xmlns:a16="http://schemas.microsoft.com/office/drawing/2014/main" id="{D34A3B5D-EAE2-44D4-832B-D1344C1C3734}"/>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20" name="Textfield placeholder">
                <a:extLst>
                  <a:ext uri="{FF2B5EF4-FFF2-40B4-BE49-F238E27FC236}">
                    <a16:creationId xmlns:a16="http://schemas.microsoft.com/office/drawing/2014/main" id="{FF2D2388-7992-4943-9F12-EC113A4D1976}"/>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21" name="Textfield placeholder">
                <a:extLst>
                  <a:ext uri="{FF2B5EF4-FFF2-40B4-BE49-F238E27FC236}">
                    <a16:creationId xmlns:a16="http://schemas.microsoft.com/office/drawing/2014/main" id="{813629B3-00E4-4C7B-AB42-7B40A5E5CDFD}"/>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22" name="Textfield placeholder">
                <a:extLst>
                  <a:ext uri="{FF2B5EF4-FFF2-40B4-BE49-F238E27FC236}">
                    <a16:creationId xmlns:a16="http://schemas.microsoft.com/office/drawing/2014/main" id="{26B4EAB6-7A92-443E-9866-9BD69E7EB8D9}"/>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223" name="Textfield placeholder">
                <a:extLst>
                  <a:ext uri="{FF2B5EF4-FFF2-40B4-BE49-F238E27FC236}">
                    <a16:creationId xmlns:a16="http://schemas.microsoft.com/office/drawing/2014/main" id="{0E2AE643-112B-411E-9F53-A65D11AB8879}"/>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224" name="Textfield placeholder">
                <a:extLst>
                  <a:ext uri="{FF2B5EF4-FFF2-40B4-BE49-F238E27FC236}">
                    <a16:creationId xmlns:a16="http://schemas.microsoft.com/office/drawing/2014/main" id="{58E09252-612E-4B85-979D-DBECF1D9FD58}"/>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25" name="Textfield placeholder">
                <a:extLst>
                  <a:ext uri="{FF2B5EF4-FFF2-40B4-BE49-F238E27FC236}">
                    <a16:creationId xmlns:a16="http://schemas.microsoft.com/office/drawing/2014/main" id="{8EDA1AAD-2587-47D4-A037-47A6BCC68AAD}"/>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26" name="Textfield placeholder">
                <a:extLst>
                  <a:ext uri="{FF2B5EF4-FFF2-40B4-BE49-F238E27FC236}">
                    <a16:creationId xmlns:a16="http://schemas.microsoft.com/office/drawing/2014/main" id="{652FB642-D14F-475E-9867-E814CC1A9F65}"/>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227" name="Textfield placeholder">
                <a:extLst>
                  <a:ext uri="{FF2B5EF4-FFF2-40B4-BE49-F238E27FC236}">
                    <a16:creationId xmlns:a16="http://schemas.microsoft.com/office/drawing/2014/main" id="{8B1BED0B-A818-432C-A79D-37B895D29D79}"/>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grpSp>
        <p:nvGrpSpPr>
          <p:cNvPr id="254" name="Groep 253">
            <a:extLst>
              <a:ext uri="{FF2B5EF4-FFF2-40B4-BE49-F238E27FC236}">
                <a16:creationId xmlns:a16="http://schemas.microsoft.com/office/drawing/2014/main" id="{F94A68A3-C84D-412C-910D-7CD854EA8833}"/>
              </a:ext>
            </a:extLst>
          </p:cNvPr>
          <p:cNvGrpSpPr/>
          <p:nvPr userDrawn="1"/>
        </p:nvGrpSpPr>
        <p:grpSpPr>
          <a:xfrm>
            <a:off x="12363871" y="-26002"/>
            <a:ext cx="3064812" cy="4530930"/>
            <a:chOff x="15419739" y="-26002"/>
            <a:chExt cx="3064812" cy="4530930"/>
          </a:xfrm>
        </p:grpSpPr>
        <p:sp>
          <p:nvSpPr>
            <p:cNvPr id="255" name="Tekstvak 33">
              <a:extLst>
                <a:ext uri="{FF2B5EF4-FFF2-40B4-BE49-F238E27FC236}">
                  <a16:creationId xmlns:a16="http://schemas.microsoft.com/office/drawing/2014/main" id="{71D8DDF5-6A7C-49AF-9C21-4470BDF6B0ED}"/>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256" name="Tekstvak 33">
              <a:extLst>
                <a:ext uri="{FF2B5EF4-FFF2-40B4-BE49-F238E27FC236}">
                  <a16:creationId xmlns:a16="http://schemas.microsoft.com/office/drawing/2014/main" id="{ADFAE0D3-B747-4F4E-A18F-057F2F96DEB2}"/>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257" name="Ovaal 256">
              <a:extLst>
                <a:ext uri="{FF2B5EF4-FFF2-40B4-BE49-F238E27FC236}">
                  <a16:creationId xmlns:a16="http://schemas.microsoft.com/office/drawing/2014/main" id="{13B0C05F-5A1D-4ACF-A1AA-DF0D62D4ED6D}"/>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258" name="Ovaal 257">
              <a:extLst>
                <a:ext uri="{FF2B5EF4-FFF2-40B4-BE49-F238E27FC236}">
                  <a16:creationId xmlns:a16="http://schemas.microsoft.com/office/drawing/2014/main" id="{63CCF16C-F49F-46EA-A21E-F54AC0B22B1B}"/>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259" name="Picture 3">
              <a:extLst>
                <a:ext uri="{FF2B5EF4-FFF2-40B4-BE49-F238E27FC236}">
                  <a16:creationId xmlns:a16="http://schemas.microsoft.com/office/drawing/2014/main" id="{257D4B68-5E5F-4FAE-ABFB-1A617EE102A8}"/>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60" name="Picture 3">
              <a:extLst>
                <a:ext uri="{FF2B5EF4-FFF2-40B4-BE49-F238E27FC236}">
                  <a16:creationId xmlns:a16="http://schemas.microsoft.com/office/drawing/2014/main" id="{D15DD38D-7306-4F2A-94AA-CFF13EF2FCB0}"/>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61" name="Tekstvak 260">
              <a:extLst>
                <a:ext uri="{FF2B5EF4-FFF2-40B4-BE49-F238E27FC236}">
                  <a16:creationId xmlns:a16="http://schemas.microsoft.com/office/drawing/2014/main" id="{EB7EFE69-C876-4584-A8F4-79C1BF69D4F5}"/>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262" name="Rechthoek 261">
              <a:extLst>
                <a:ext uri="{FF2B5EF4-FFF2-40B4-BE49-F238E27FC236}">
                  <a16:creationId xmlns:a16="http://schemas.microsoft.com/office/drawing/2014/main" id="{8C487552-1E54-4F8D-A9B4-578CB8324841}"/>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263" name="Groep 262">
              <a:extLst>
                <a:ext uri="{FF2B5EF4-FFF2-40B4-BE49-F238E27FC236}">
                  <a16:creationId xmlns:a16="http://schemas.microsoft.com/office/drawing/2014/main" id="{BD2EE91B-F21E-4236-83AB-CDD53BA36185}"/>
                </a:ext>
              </a:extLst>
            </p:cNvPr>
            <p:cNvGrpSpPr/>
            <p:nvPr userDrawn="1"/>
          </p:nvGrpSpPr>
          <p:grpSpPr>
            <a:xfrm>
              <a:off x="15563079" y="358984"/>
              <a:ext cx="2489424" cy="4145944"/>
              <a:chOff x="15563079" y="358984"/>
              <a:chExt cx="2315772" cy="4145944"/>
            </a:xfrm>
          </p:grpSpPr>
          <p:cxnSp>
            <p:nvCxnSpPr>
              <p:cNvPr id="265" name="Rechte verbindingslijn 264">
                <a:extLst>
                  <a:ext uri="{FF2B5EF4-FFF2-40B4-BE49-F238E27FC236}">
                    <a16:creationId xmlns:a16="http://schemas.microsoft.com/office/drawing/2014/main" id="{7373A284-5B71-4B15-84B1-F90B1A339053}"/>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6" name="Rechte verbindingslijn 265">
                <a:extLst>
                  <a:ext uri="{FF2B5EF4-FFF2-40B4-BE49-F238E27FC236}">
                    <a16:creationId xmlns:a16="http://schemas.microsoft.com/office/drawing/2014/main" id="{9B1BECFD-E857-402F-BB09-A84AA4F5049C}"/>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7" name="Rechte verbindingslijn 266">
                <a:extLst>
                  <a:ext uri="{FF2B5EF4-FFF2-40B4-BE49-F238E27FC236}">
                    <a16:creationId xmlns:a16="http://schemas.microsoft.com/office/drawing/2014/main" id="{9C71F140-BC3A-455B-9E16-0EB3D91D0585}"/>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64" name="Afbeelding 263">
              <a:extLst>
                <a:ext uri="{FF2B5EF4-FFF2-40B4-BE49-F238E27FC236}">
                  <a16:creationId xmlns:a16="http://schemas.microsoft.com/office/drawing/2014/main" id="{CCA1E990-CDFE-44FE-959F-0FFE90E533F5}"/>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111955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fbeelding (XXL) + Tekstkader (Rechtsboven)">
    <p:spTree>
      <p:nvGrpSpPr>
        <p:cNvPr id="1" name=""/>
        <p:cNvGrpSpPr/>
        <p:nvPr/>
      </p:nvGrpSpPr>
      <p:grpSpPr>
        <a:xfrm>
          <a:off x="0" y="0"/>
          <a:ext cx="0" cy="0"/>
          <a:chOff x="0" y="0"/>
          <a:chExt cx="0" cy="0"/>
        </a:xfrm>
      </p:grpSpPr>
      <p:sp>
        <p:nvSpPr>
          <p:cNvPr id="102" name="GRIJS"/>
          <p:cNvSpPr/>
          <p:nvPr userDrawn="1"/>
        </p:nvSpPr>
        <p:spPr>
          <a:xfrm>
            <a:off x="0" y="-1"/>
            <a:ext cx="12195175" cy="5976938"/>
          </a:xfrm>
          <a:prstGeom prst="round2SameRect">
            <a:avLst>
              <a:gd name="adj1" fmla="val 1089"/>
              <a:gd name="adj2" fmla="val 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103" name="Tijdelijke aanduiding voor afbeelding 2"/>
          <p:cNvSpPr>
            <a:spLocks noGrp="1"/>
          </p:cNvSpPr>
          <p:nvPr>
            <p:ph type="pic" idx="13"/>
          </p:nvPr>
        </p:nvSpPr>
        <p:spPr>
          <a:xfrm>
            <a:off x="928" y="-1"/>
            <a:ext cx="12195175" cy="5976925"/>
          </a:xfrm>
          <a:prstGeom prst="round2SameRect">
            <a:avLst>
              <a:gd name="adj1" fmla="val 1166"/>
              <a:gd name="adj2" fmla="val 0"/>
            </a:avLst>
          </a:prstGeo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en-GB"/>
          </a:p>
        </p:txBody>
      </p:sp>
      <p:sp>
        <p:nvSpPr>
          <p:cNvPr id="4" name="Tijdelijke aanduiding voor datum 3"/>
          <p:cNvSpPr>
            <a:spLocks noGrp="1"/>
          </p:cNvSpPr>
          <p:nvPr>
            <p:ph type="dt" sz="half" idx="10"/>
          </p:nvPr>
        </p:nvSpPr>
        <p:spPr/>
        <p:txBody>
          <a:bodyPr/>
          <a:lstStyle/>
          <a:p>
            <a:fld id="{515C338A-FA30-4604-8755-5E3D0406CE3E}"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1" name="Tekstvak 10"/>
          <p:cNvSpPr txBox="1"/>
          <p:nvPr userDrawn="1"/>
        </p:nvSpPr>
        <p:spPr>
          <a:xfrm>
            <a:off x="-1" y="-521614"/>
            <a:ext cx="4735773" cy="469107"/>
          </a:xfrm>
          <a:prstGeom prst="rect">
            <a:avLst/>
          </a:prstGeom>
          <a:noFill/>
        </p:spPr>
        <p:txBody>
          <a:bodyPr wrap="square" rtlCol="0" anchor="b">
            <a:noAutofit/>
          </a:bodyPr>
          <a:lstStyle/>
          <a:p>
            <a:r>
              <a:rPr lang="nl-NL" sz="1333" b="0" dirty="0">
                <a:solidFill>
                  <a:schemeClr val="accent6"/>
                </a:solidFill>
                <a:latin typeface="+mj-lt"/>
              </a:rPr>
              <a:t>Afbeelding (XXL) + Tekstkader (Rechtsboven)</a:t>
            </a:r>
          </a:p>
        </p:txBody>
      </p:sp>
      <p:sp>
        <p:nvSpPr>
          <p:cNvPr id="14" name="Titel 1"/>
          <p:cNvSpPr>
            <a:spLocks noGrp="1"/>
          </p:cNvSpPr>
          <p:nvPr>
            <p:ph type="title"/>
          </p:nvPr>
        </p:nvSpPr>
        <p:spPr>
          <a:xfrm>
            <a:off x="2863515" y="-710349"/>
            <a:ext cx="8859071" cy="648000"/>
          </a:xfrm>
        </p:spPr>
        <p:txBody>
          <a:bodyPr anchor="b"/>
          <a:lstStyle>
            <a:lvl1pPr algn="r">
              <a:defRPr/>
            </a:lvl1pPr>
          </a:lstStyle>
          <a:p>
            <a:r>
              <a:rPr lang="nl-NL"/>
              <a:t>Klik om stijl te bewerken</a:t>
            </a:r>
            <a:endParaRPr lang="en-GB" dirty="0"/>
          </a:p>
        </p:txBody>
      </p:sp>
      <p:sp>
        <p:nvSpPr>
          <p:cNvPr id="100" name="Tijdelijke aanduiding voor verticale tekst 2"/>
          <p:cNvSpPr>
            <a:spLocks noGrp="1"/>
          </p:cNvSpPr>
          <p:nvPr>
            <p:ph type="body" orient="vert" idx="1"/>
          </p:nvPr>
        </p:nvSpPr>
        <p:spPr>
          <a:xfrm>
            <a:off x="6455115" y="320842"/>
            <a:ext cx="5400000" cy="2887579"/>
          </a:xfrm>
          <a:solidFill>
            <a:srgbClr val="FFD800">
              <a:alpha val="94902"/>
            </a:srgbClr>
          </a:solidFill>
        </p:spPr>
        <p:txBody>
          <a:bodyPr vert="horz" lIns="324000" rIns="324000"/>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99" name="Tijdelijke aanduiding voor tekst 8"/>
          <p:cNvSpPr>
            <a:spLocks noGrp="1"/>
          </p:cNvSpPr>
          <p:nvPr>
            <p:ph type="body" sz="quarter" idx="14" hasCustomPrompt="1"/>
          </p:nvPr>
        </p:nvSpPr>
        <p:spPr>
          <a:xfrm>
            <a:off x="-24885" y="320842"/>
            <a:ext cx="11880000" cy="72000"/>
          </a:xfrm>
          <a:solidFill>
            <a:schemeClr val="bg2"/>
          </a:solidFill>
        </p:spPr>
        <p:txBody>
          <a:bodyPr anchor="ctr"/>
          <a:lstStyle>
            <a:lvl1pPr marL="0" marR="0" indent="0" algn="ctr" defTabSz="914400" rtl="0" eaLnBrk="1" fontAlgn="auto" latinLnBrk="0" hangingPunct="1">
              <a:lnSpc>
                <a:spcPct val="90000"/>
              </a:lnSpc>
              <a:spcBef>
                <a:spcPts val="700"/>
              </a:spcBef>
              <a:spcAft>
                <a:spcPts val="700"/>
              </a:spcAft>
              <a:buClrTx/>
              <a:buSzTx/>
              <a:buFont typeface="Arial" panose="020B0604020202020204" pitchFamily="34" charset="0"/>
              <a:buNone/>
              <a:tabLst/>
              <a:defRPr sz="700"/>
            </a:lvl1pPr>
          </a:lstStyle>
          <a:p>
            <a:pPr marL="0" marR="0" lvl="0" indent="0" algn="ctr" defTabSz="914400" rtl="0" eaLnBrk="1" fontAlgn="auto" latinLnBrk="0" hangingPunct="1">
              <a:lnSpc>
                <a:spcPct val="90000"/>
              </a:lnSpc>
              <a:spcBef>
                <a:spcPts val="700"/>
              </a:spcBef>
              <a:spcAft>
                <a:spcPts val="700"/>
              </a:spcAft>
              <a:buClrTx/>
              <a:buSzTx/>
              <a:buFont typeface="Arial" panose="020B0604020202020204" pitchFamily="34" charset="0"/>
              <a:buNone/>
              <a:tabLst/>
              <a:defRPr/>
            </a:pPr>
            <a:r>
              <a:rPr lang="nl-NL" noProof="0" dirty="0"/>
              <a:t>Vormgeving (niet verwijderen!)</a:t>
            </a:r>
          </a:p>
        </p:txBody>
      </p:sp>
      <p:grpSp>
        <p:nvGrpSpPr>
          <p:cNvPr id="186" name="Groep 185">
            <a:extLst>
              <a:ext uri="{FF2B5EF4-FFF2-40B4-BE49-F238E27FC236}">
                <a16:creationId xmlns:a16="http://schemas.microsoft.com/office/drawing/2014/main" id="{35820A86-AFBF-4C2A-BA57-1709ACE631E3}"/>
              </a:ext>
            </a:extLst>
          </p:cNvPr>
          <p:cNvGrpSpPr/>
          <p:nvPr userDrawn="1"/>
        </p:nvGrpSpPr>
        <p:grpSpPr>
          <a:xfrm>
            <a:off x="-2973833" y="0"/>
            <a:ext cx="2808312" cy="5805264"/>
            <a:chOff x="-2973833" y="0"/>
            <a:chExt cx="2808312" cy="5805264"/>
          </a:xfrm>
        </p:grpSpPr>
        <p:sp>
          <p:nvSpPr>
            <p:cNvPr id="187" name="Rechthoek 186">
              <a:extLst>
                <a:ext uri="{FF2B5EF4-FFF2-40B4-BE49-F238E27FC236}">
                  <a16:creationId xmlns:a16="http://schemas.microsoft.com/office/drawing/2014/main" id="{E5997ECD-3CDB-46ED-9FE1-040628B3FEC8}"/>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188" name="Textfield placeholder">
              <a:extLst>
                <a:ext uri="{FF2B5EF4-FFF2-40B4-BE49-F238E27FC236}">
                  <a16:creationId xmlns:a16="http://schemas.microsoft.com/office/drawing/2014/main" id="{09AD9489-9383-4B78-83DA-48BA8C8DBDDA}"/>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189" name="Ovaal 188">
              <a:extLst>
                <a:ext uri="{FF2B5EF4-FFF2-40B4-BE49-F238E27FC236}">
                  <a16:creationId xmlns:a16="http://schemas.microsoft.com/office/drawing/2014/main" id="{3C62567E-C6AA-4F5E-AE2B-BC5D6BDA454E}"/>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190" name="Ovaal 189">
              <a:extLst>
                <a:ext uri="{FF2B5EF4-FFF2-40B4-BE49-F238E27FC236}">
                  <a16:creationId xmlns:a16="http://schemas.microsoft.com/office/drawing/2014/main" id="{C9649D6D-D2EC-42E9-9FFB-6B42502FF17E}"/>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191" name="Ovaal 190">
              <a:extLst>
                <a:ext uri="{FF2B5EF4-FFF2-40B4-BE49-F238E27FC236}">
                  <a16:creationId xmlns:a16="http://schemas.microsoft.com/office/drawing/2014/main" id="{A31AC961-EB57-4F03-9002-ADFD221CB5DC}"/>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192" name="Ovaal 191">
              <a:extLst>
                <a:ext uri="{FF2B5EF4-FFF2-40B4-BE49-F238E27FC236}">
                  <a16:creationId xmlns:a16="http://schemas.microsoft.com/office/drawing/2014/main" id="{F4784E11-1065-4AF1-8717-EB3B6FA5F716}"/>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193" name="Textfield placeholder">
              <a:extLst>
                <a:ext uri="{FF2B5EF4-FFF2-40B4-BE49-F238E27FC236}">
                  <a16:creationId xmlns:a16="http://schemas.microsoft.com/office/drawing/2014/main" id="{4A673287-0DD2-4C5E-88B0-6BD2A17096FD}"/>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194" name="Textfield placeholder">
              <a:extLst>
                <a:ext uri="{FF2B5EF4-FFF2-40B4-BE49-F238E27FC236}">
                  <a16:creationId xmlns:a16="http://schemas.microsoft.com/office/drawing/2014/main" id="{55EE1514-E0A1-4C67-AA73-10F9BC381248}"/>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195" name="Textfield placeholder">
              <a:extLst>
                <a:ext uri="{FF2B5EF4-FFF2-40B4-BE49-F238E27FC236}">
                  <a16:creationId xmlns:a16="http://schemas.microsoft.com/office/drawing/2014/main" id="{E215B679-B530-4B8D-823D-944AD3875FFF}"/>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196" name="Rechte verbindingslijn 195">
              <a:extLst>
                <a:ext uri="{FF2B5EF4-FFF2-40B4-BE49-F238E27FC236}">
                  <a16:creationId xmlns:a16="http://schemas.microsoft.com/office/drawing/2014/main" id="{84090BE6-A013-4CA1-9C48-0DC50941936D}"/>
                </a:ext>
              </a:extLst>
            </p:cNvPr>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7" name="Rechte verbindingslijn 196">
              <a:extLst>
                <a:ext uri="{FF2B5EF4-FFF2-40B4-BE49-F238E27FC236}">
                  <a16:creationId xmlns:a16="http://schemas.microsoft.com/office/drawing/2014/main" id="{2352BC13-1A32-4349-BA5C-34A552B496C3}"/>
                </a:ext>
              </a:extLst>
            </p:cNvPr>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8" name="Rechte verbindingslijn 197">
              <a:extLst>
                <a:ext uri="{FF2B5EF4-FFF2-40B4-BE49-F238E27FC236}">
                  <a16:creationId xmlns:a16="http://schemas.microsoft.com/office/drawing/2014/main" id="{20B64BA6-D793-462D-A675-7913FDE33EFD}"/>
                </a:ext>
              </a:extLst>
            </p:cNvPr>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99" name="Picture 3">
              <a:extLst>
                <a:ext uri="{FF2B5EF4-FFF2-40B4-BE49-F238E27FC236}">
                  <a16:creationId xmlns:a16="http://schemas.microsoft.com/office/drawing/2014/main" id="{4912E7CC-6CA2-4E1E-9C36-8FCF956499EB}"/>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0" name="Picture 4">
              <a:extLst>
                <a:ext uri="{FF2B5EF4-FFF2-40B4-BE49-F238E27FC236}">
                  <a16:creationId xmlns:a16="http://schemas.microsoft.com/office/drawing/2014/main" id="{BF105628-F22D-48A5-ADBA-BD1AA4A7EF0A}"/>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01" name="Groep 200">
              <a:extLst>
                <a:ext uri="{FF2B5EF4-FFF2-40B4-BE49-F238E27FC236}">
                  <a16:creationId xmlns:a16="http://schemas.microsoft.com/office/drawing/2014/main" id="{A2892C3B-E819-46AB-B866-A1FCFC232DA3}"/>
                </a:ext>
              </a:extLst>
            </p:cNvPr>
            <p:cNvGrpSpPr/>
            <p:nvPr userDrawn="1"/>
          </p:nvGrpSpPr>
          <p:grpSpPr>
            <a:xfrm>
              <a:off x="-2098870" y="523279"/>
              <a:ext cx="435437" cy="427699"/>
              <a:chOff x="-1085063" y="758027"/>
              <a:chExt cx="633800" cy="622540"/>
            </a:xfrm>
          </p:grpSpPr>
          <p:sp>
            <p:nvSpPr>
              <p:cNvPr id="242" name="Afgeronde rechthoek 133">
                <a:extLst>
                  <a:ext uri="{FF2B5EF4-FFF2-40B4-BE49-F238E27FC236}">
                    <a16:creationId xmlns:a16="http://schemas.microsoft.com/office/drawing/2014/main" id="{B808EB1C-5549-4800-9AA5-0D1FE1233FBD}"/>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243" name="Groep 242">
                <a:extLst>
                  <a:ext uri="{FF2B5EF4-FFF2-40B4-BE49-F238E27FC236}">
                    <a16:creationId xmlns:a16="http://schemas.microsoft.com/office/drawing/2014/main" id="{463F6D33-EAA6-45EF-BC42-08329A2D2732}"/>
                  </a:ext>
                </a:extLst>
              </p:cNvPr>
              <p:cNvGrpSpPr/>
              <p:nvPr userDrawn="1"/>
            </p:nvGrpSpPr>
            <p:grpSpPr>
              <a:xfrm>
                <a:off x="-977746" y="864082"/>
                <a:ext cx="419166" cy="410430"/>
                <a:chOff x="6366933" y="309013"/>
                <a:chExt cx="1901295" cy="1861668"/>
              </a:xfrm>
              <a:solidFill>
                <a:schemeClr val="tx1"/>
              </a:solidFill>
            </p:grpSpPr>
            <p:sp>
              <p:nvSpPr>
                <p:cNvPr id="244" name="Rechthoek 243">
                  <a:extLst>
                    <a:ext uri="{FF2B5EF4-FFF2-40B4-BE49-F238E27FC236}">
                      <a16:creationId xmlns:a16="http://schemas.microsoft.com/office/drawing/2014/main" id="{72613474-5F79-49D0-B88C-D1CB34975DAB}"/>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5" name="Rechthoek 244">
                  <a:extLst>
                    <a:ext uri="{FF2B5EF4-FFF2-40B4-BE49-F238E27FC236}">
                      <a16:creationId xmlns:a16="http://schemas.microsoft.com/office/drawing/2014/main" id="{B3E567E8-C6E3-4568-BE46-11B2C4E123AF}"/>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6" name="Rechthoek 245">
                  <a:extLst>
                    <a:ext uri="{FF2B5EF4-FFF2-40B4-BE49-F238E27FC236}">
                      <a16:creationId xmlns:a16="http://schemas.microsoft.com/office/drawing/2014/main" id="{2BE95B59-8B9D-41EE-92E3-CAE3699CA95D}"/>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7" name="Rechthoek 246">
                  <a:extLst>
                    <a:ext uri="{FF2B5EF4-FFF2-40B4-BE49-F238E27FC236}">
                      <a16:creationId xmlns:a16="http://schemas.microsoft.com/office/drawing/2014/main" id="{BD4888B6-6BA5-4AEE-B90A-567CBF14E219}"/>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8" name="Rechthoek 247">
                  <a:extLst>
                    <a:ext uri="{FF2B5EF4-FFF2-40B4-BE49-F238E27FC236}">
                      <a16:creationId xmlns:a16="http://schemas.microsoft.com/office/drawing/2014/main" id="{66430C56-01A9-4D0A-9E22-C0AFA7B00794}"/>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9" name="Rechthoek 248">
                  <a:extLst>
                    <a:ext uri="{FF2B5EF4-FFF2-40B4-BE49-F238E27FC236}">
                      <a16:creationId xmlns:a16="http://schemas.microsoft.com/office/drawing/2014/main" id="{8848090D-7BBE-4939-AEB2-50BC575948B7}"/>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0" name="Rechthoek 249">
                  <a:extLst>
                    <a:ext uri="{FF2B5EF4-FFF2-40B4-BE49-F238E27FC236}">
                      <a16:creationId xmlns:a16="http://schemas.microsoft.com/office/drawing/2014/main" id="{9092FEFE-D8C8-4ECB-A76D-AE5FE1BAC0E1}"/>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1" name="Rechthoek 250">
                  <a:extLst>
                    <a:ext uri="{FF2B5EF4-FFF2-40B4-BE49-F238E27FC236}">
                      <a16:creationId xmlns:a16="http://schemas.microsoft.com/office/drawing/2014/main" id="{15B7FFC2-BC7C-4A25-83F3-2E6166A3FB9C}"/>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2" name="Rechthoek 251">
                  <a:extLst>
                    <a:ext uri="{FF2B5EF4-FFF2-40B4-BE49-F238E27FC236}">
                      <a16:creationId xmlns:a16="http://schemas.microsoft.com/office/drawing/2014/main" id="{FD6B4948-D932-4686-B49A-3FECE5B0DF15}"/>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3" name="Rechthoek 252">
                  <a:extLst>
                    <a:ext uri="{FF2B5EF4-FFF2-40B4-BE49-F238E27FC236}">
                      <a16:creationId xmlns:a16="http://schemas.microsoft.com/office/drawing/2014/main" id="{D94CE68C-0F99-422C-A23A-CC47D7B5F07F}"/>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4" name="Vrije vorm 145">
                  <a:extLst>
                    <a:ext uri="{FF2B5EF4-FFF2-40B4-BE49-F238E27FC236}">
                      <a16:creationId xmlns:a16="http://schemas.microsoft.com/office/drawing/2014/main" id="{BDD4D71C-B82F-4F87-99AA-7E81ABADC3E1}"/>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202" name="Groep 201">
              <a:extLst>
                <a:ext uri="{FF2B5EF4-FFF2-40B4-BE49-F238E27FC236}">
                  <a16:creationId xmlns:a16="http://schemas.microsoft.com/office/drawing/2014/main" id="{FF04C704-AC65-4E4A-955A-8E2CC3C40DC5}"/>
                </a:ext>
              </a:extLst>
            </p:cNvPr>
            <p:cNvGrpSpPr/>
            <p:nvPr userDrawn="1"/>
          </p:nvGrpSpPr>
          <p:grpSpPr>
            <a:xfrm>
              <a:off x="-2095303" y="1071657"/>
              <a:ext cx="435437" cy="427699"/>
              <a:chOff x="-1845083" y="758027"/>
              <a:chExt cx="633800" cy="622540"/>
            </a:xfrm>
          </p:grpSpPr>
          <p:sp>
            <p:nvSpPr>
              <p:cNvPr id="229" name="Afgeronde rechthoek 120">
                <a:extLst>
                  <a:ext uri="{FF2B5EF4-FFF2-40B4-BE49-F238E27FC236}">
                    <a16:creationId xmlns:a16="http://schemas.microsoft.com/office/drawing/2014/main" id="{505DF42E-3293-41C6-A2B3-15BFA6A63501}"/>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230" name="Groep 229">
                <a:extLst>
                  <a:ext uri="{FF2B5EF4-FFF2-40B4-BE49-F238E27FC236}">
                    <a16:creationId xmlns:a16="http://schemas.microsoft.com/office/drawing/2014/main" id="{E2CC731F-6D20-49B8-9248-2CFD4A6175DB}"/>
                  </a:ext>
                </a:extLst>
              </p:cNvPr>
              <p:cNvGrpSpPr/>
              <p:nvPr userDrawn="1"/>
            </p:nvGrpSpPr>
            <p:grpSpPr>
              <a:xfrm>
                <a:off x="-1737766" y="864082"/>
                <a:ext cx="419166" cy="410430"/>
                <a:chOff x="3708400" y="309013"/>
                <a:chExt cx="1901295" cy="1861668"/>
              </a:xfrm>
              <a:solidFill>
                <a:schemeClr val="tx1"/>
              </a:solidFill>
            </p:grpSpPr>
            <p:sp>
              <p:nvSpPr>
                <p:cNvPr id="231" name="Rechthoek 230">
                  <a:extLst>
                    <a:ext uri="{FF2B5EF4-FFF2-40B4-BE49-F238E27FC236}">
                      <a16:creationId xmlns:a16="http://schemas.microsoft.com/office/drawing/2014/main" id="{40AE6A2A-BA91-43EA-A2FB-1A8002D0812C}"/>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2" name="Rechthoek 231">
                  <a:extLst>
                    <a:ext uri="{FF2B5EF4-FFF2-40B4-BE49-F238E27FC236}">
                      <a16:creationId xmlns:a16="http://schemas.microsoft.com/office/drawing/2014/main" id="{30D37234-CA43-4CD4-A430-07B5ACDE30A5}"/>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3" name="Rechthoek 232">
                  <a:extLst>
                    <a:ext uri="{FF2B5EF4-FFF2-40B4-BE49-F238E27FC236}">
                      <a16:creationId xmlns:a16="http://schemas.microsoft.com/office/drawing/2014/main" id="{DC6E44C3-92FB-4E8F-A550-16100BBED7BF}"/>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4" name="Rechthoek 233">
                  <a:extLst>
                    <a:ext uri="{FF2B5EF4-FFF2-40B4-BE49-F238E27FC236}">
                      <a16:creationId xmlns:a16="http://schemas.microsoft.com/office/drawing/2014/main" id="{154C1F85-D03E-4C94-966C-542A23908D84}"/>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5" name="Rechthoek 234">
                  <a:extLst>
                    <a:ext uri="{FF2B5EF4-FFF2-40B4-BE49-F238E27FC236}">
                      <a16:creationId xmlns:a16="http://schemas.microsoft.com/office/drawing/2014/main" id="{183BFE8C-980B-460D-AFCE-8FDD9FCD64F3}"/>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6" name="Rechthoek 235">
                  <a:extLst>
                    <a:ext uri="{FF2B5EF4-FFF2-40B4-BE49-F238E27FC236}">
                      <a16:creationId xmlns:a16="http://schemas.microsoft.com/office/drawing/2014/main" id="{44EF5505-C83E-4F3A-AF2F-493897C7209F}"/>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7" name="Rechthoek 236">
                  <a:extLst>
                    <a:ext uri="{FF2B5EF4-FFF2-40B4-BE49-F238E27FC236}">
                      <a16:creationId xmlns:a16="http://schemas.microsoft.com/office/drawing/2014/main" id="{5F3BAFCA-2700-4846-805C-B2884C8D29CF}"/>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8" name="Rechthoek 237">
                  <a:extLst>
                    <a:ext uri="{FF2B5EF4-FFF2-40B4-BE49-F238E27FC236}">
                      <a16:creationId xmlns:a16="http://schemas.microsoft.com/office/drawing/2014/main" id="{7E5081E4-7DC5-456F-9132-B34099FFD956}"/>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9" name="Rechthoek 238">
                  <a:extLst>
                    <a:ext uri="{FF2B5EF4-FFF2-40B4-BE49-F238E27FC236}">
                      <a16:creationId xmlns:a16="http://schemas.microsoft.com/office/drawing/2014/main" id="{D8238312-0B7C-4792-88ED-7C0561B34FF1}"/>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0" name="Rechthoek 239">
                  <a:extLst>
                    <a:ext uri="{FF2B5EF4-FFF2-40B4-BE49-F238E27FC236}">
                      <a16:creationId xmlns:a16="http://schemas.microsoft.com/office/drawing/2014/main" id="{41C79A6A-C785-4CF8-8F3C-CDA594DBA425}"/>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1" name="Vrije vorm 132">
                  <a:extLst>
                    <a:ext uri="{FF2B5EF4-FFF2-40B4-BE49-F238E27FC236}">
                      <a16:creationId xmlns:a16="http://schemas.microsoft.com/office/drawing/2014/main" id="{3AA18CB6-09F8-4081-AE34-F3A6BADA88BD}"/>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203" name="Rechte verbindingslijn 202">
              <a:extLst>
                <a:ext uri="{FF2B5EF4-FFF2-40B4-BE49-F238E27FC236}">
                  <a16:creationId xmlns:a16="http://schemas.microsoft.com/office/drawing/2014/main" id="{302BE8A0-5FE5-490E-885E-B3CF7FAE316F}"/>
                </a:ext>
              </a:extLst>
            </p:cNvPr>
            <p:cNvCxnSpPr>
              <a:stCxn id="205" idx="2"/>
              <a:endCxn id="229"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04" name="Rechte verbindingslijn 203">
              <a:extLst>
                <a:ext uri="{FF2B5EF4-FFF2-40B4-BE49-F238E27FC236}">
                  <a16:creationId xmlns:a16="http://schemas.microsoft.com/office/drawing/2014/main" id="{F4FC5661-3631-4610-838D-55E16149F963}"/>
                </a:ext>
              </a:extLst>
            </p:cNvPr>
            <p:cNvCxnSpPr>
              <a:stCxn id="206" idx="3"/>
              <a:endCxn id="242"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05" name="Ovaal 204">
              <a:extLst>
                <a:ext uri="{FF2B5EF4-FFF2-40B4-BE49-F238E27FC236}">
                  <a16:creationId xmlns:a16="http://schemas.microsoft.com/office/drawing/2014/main" id="{31AA520A-8C1D-4C6D-B41D-EAFD5C1251B3}"/>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06" name="Ovaal 205">
              <a:extLst>
                <a:ext uri="{FF2B5EF4-FFF2-40B4-BE49-F238E27FC236}">
                  <a16:creationId xmlns:a16="http://schemas.microsoft.com/office/drawing/2014/main" id="{65564EAC-D10A-4F6C-883F-0FDA427C7978}"/>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07" name="Textfield placeholder">
              <a:extLst>
                <a:ext uri="{FF2B5EF4-FFF2-40B4-BE49-F238E27FC236}">
                  <a16:creationId xmlns:a16="http://schemas.microsoft.com/office/drawing/2014/main" id="{E3ECB52E-20DF-450A-91D6-A049D2F15196}"/>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208" name="Textfield placeholder">
              <a:extLst>
                <a:ext uri="{FF2B5EF4-FFF2-40B4-BE49-F238E27FC236}">
                  <a16:creationId xmlns:a16="http://schemas.microsoft.com/office/drawing/2014/main" id="{C210319C-41B8-41FC-9B02-B476B6811835}"/>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209" name="Ovaal 208">
              <a:extLst>
                <a:ext uri="{FF2B5EF4-FFF2-40B4-BE49-F238E27FC236}">
                  <a16:creationId xmlns:a16="http://schemas.microsoft.com/office/drawing/2014/main" id="{04E05E4F-FE50-40D1-9BB0-97382384C78C}"/>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210" name="Ovaal 209">
              <a:extLst>
                <a:ext uri="{FF2B5EF4-FFF2-40B4-BE49-F238E27FC236}">
                  <a16:creationId xmlns:a16="http://schemas.microsoft.com/office/drawing/2014/main" id="{78817C78-9CB1-40F6-80F2-FE4F4D965A03}"/>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211" name="Ovaal 210">
              <a:extLst>
                <a:ext uri="{FF2B5EF4-FFF2-40B4-BE49-F238E27FC236}">
                  <a16:creationId xmlns:a16="http://schemas.microsoft.com/office/drawing/2014/main" id="{46E19B47-E92F-4483-A645-6C9079E37C88}"/>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212" name="Ovaal 211">
              <a:extLst>
                <a:ext uri="{FF2B5EF4-FFF2-40B4-BE49-F238E27FC236}">
                  <a16:creationId xmlns:a16="http://schemas.microsoft.com/office/drawing/2014/main" id="{238BECB4-CE53-48C3-A392-96F7A17F4272}"/>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213" name="Ovaal 212">
              <a:extLst>
                <a:ext uri="{FF2B5EF4-FFF2-40B4-BE49-F238E27FC236}">
                  <a16:creationId xmlns:a16="http://schemas.microsoft.com/office/drawing/2014/main" id="{D247C8AC-B590-4A3F-9B35-F30AD12DCE4E}"/>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214" name="Textfield placeholder">
              <a:extLst>
                <a:ext uri="{FF2B5EF4-FFF2-40B4-BE49-F238E27FC236}">
                  <a16:creationId xmlns:a16="http://schemas.microsoft.com/office/drawing/2014/main" id="{CE2E7AFD-7C84-4258-AE03-7EB0F9851F79}"/>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15" name="Textfield placeholder">
              <a:extLst>
                <a:ext uri="{FF2B5EF4-FFF2-40B4-BE49-F238E27FC236}">
                  <a16:creationId xmlns:a16="http://schemas.microsoft.com/office/drawing/2014/main" id="{721E0A98-737A-4C23-8ED4-742CB548A7B7}"/>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16" name="Textfield placeholder">
              <a:extLst>
                <a:ext uri="{FF2B5EF4-FFF2-40B4-BE49-F238E27FC236}">
                  <a16:creationId xmlns:a16="http://schemas.microsoft.com/office/drawing/2014/main" id="{4EB79F88-120C-46CC-8AAF-C28FD28B8E04}"/>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17" name="Textfield placeholder">
              <a:extLst>
                <a:ext uri="{FF2B5EF4-FFF2-40B4-BE49-F238E27FC236}">
                  <a16:creationId xmlns:a16="http://schemas.microsoft.com/office/drawing/2014/main" id="{1A3DE3F4-FA85-4740-9E9C-B1C01488C698}"/>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218" name="Textfield placeholder">
              <a:extLst>
                <a:ext uri="{FF2B5EF4-FFF2-40B4-BE49-F238E27FC236}">
                  <a16:creationId xmlns:a16="http://schemas.microsoft.com/office/drawing/2014/main" id="{55369631-F371-4C41-BCDF-A1ADFEB00EDC}"/>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19" name="Groep 218">
              <a:extLst>
                <a:ext uri="{FF2B5EF4-FFF2-40B4-BE49-F238E27FC236}">
                  <a16:creationId xmlns:a16="http://schemas.microsoft.com/office/drawing/2014/main" id="{EEA92BFA-560D-416F-BBFD-4C592A88992E}"/>
                </a:ext>
              </a:extLst>
            </p:cNvPr>
            <p:cNvGrpSpPr/>
            <p:nvPr userDrawn="1"/>
          </p:nvGrpSpPr>
          <p:grpSpPr>
            <a:xfrm>
              <a:off x="-950342" y="1837957"/>
              <a:ext cx="687412" cy="3758146"/>
              <a:chOff x="-740196" y="1837957"/>
              <a:chExt cx="1374825" cy="3758146"/>
            </a:xfrm>
          </p:grpSpPr>
          <p:sp>
            <p:nvSpPr>
              <p:cNvPr id="220" name="Textfield placeholder">
                <a:extLst>
                  <a:ext uri="{FF2B5EF4-FFF2-40B4-BE49-F238E27FC236}">
                    <a16:creationId xmlns:a16="http://schemas.microsoft.com/office/drawing/2014/main" id="{BEA01088-8BA0-48DD-B436-DE63A9596B5E}"/>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21" name="Textfield placeholder">
                <a:extLst>
                  <a:ext uri="{FF2B5EF4-FFF2-40B4-BE49-F238E27FC236}">
                    <a16:creationId xmlns:a16="http://schemas.microsoft.com/office/drawing/2014/main" id="{3F7DA7C7-3D13-44AF-B1B2-D943AB2537C2}"/>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22" name="Textfield placeholder">
                <a:extLst>
                  <a:ext uri="{FF2B5EF4-FFF2-40B4-BE49-F238E27FC236}">
                    <a16:creationId xmlns:a16="http://schemas.microsoft.com/office/drawing/2014/main" id="{47D58895-3825-4F8D-AB3C-4248634D04BA}"/>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23" name="Textfield placeholder">
                <a:extLst>
                  <a:ext uri="{FF2B5EF4-FFF2-40B4-BE49-F238E27FC236}">
                    <a16:creationId xmlns:a16="http://schemas.microsoft.com/office/drawing/2014/main" id="{83EBEC98-DD6F-4C04-A3BA-D32C352E92F2}"/>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224" name="Textfield placeholder">
                <a:extLst>
                  <a:ext uri="{FF2B5EF4-FFF2-40B4-BE49-F238E27FC236}">
                    <a16:creationId xmlns:a16="http://schemas.microsoft.com/office/drawing/2014/main" id="{0D6213CC-BA99-4304-A612-51409A86C0F5}"/>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225" name="Textfield placeholder">
                <a:extLst>
                  <a:ext uri="{FF2B5EF4-FFF2-40B4-BE49-F238E27FC236}">
                    <a16:creationId xmlns:a16="http://schemas.microsoft.com/office/drawing/2014/main" id="{94F76D99-AFB6-4D5F-8E0E-3C7716736924}"/>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26" name="Textfield placeholder">
                <a:extLst>
                  <a:ext uri="{FF2B5EF4-FFF2-40B4-BE49-F238E27FC236}">
                    <a16:creationId xmlns:a16="http://schemas.microsoft.com/office/drawing/2014/main" id="{F77FD019-A8E5-49B1-AB86-95EBCE25B3F1}"/>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27" name="Textfield placeholder">
                <a:extLst>
                  <a:ext uri="{FF2B5EF4-FFF2-40B4-BE49-F238E27FC236}">
                    <a16:creationId xmlns:a16="http://schemas.microsoft.com/office/drawing/2014/main" id="{7DF0FEFA-00A8-4ECF-A09D-02D03D3D7C99}"/>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228" name="Textfield placeholder">
                <a:extLst>
                  <a:ext uri="{FF2B5EF4-FFF2-40B4-BE49-F238E27FC236}">
                    <a16:creationId xmlns:a16="http://schemas.microsoft.com/office/drawing/2014/main" id="{47D7E55C-DDDD-443D-BB93-D91528DA4083}"/>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grpSp>
        <p:nvGrpSpPr>
          <p:cNvPr id="255" name="Groep 254">
            <a:extLst>
              <a:ext uri="{FF2B5EF4-FFF2-40B4-BE49-F238E27FC236}">
                <a16:creationId xmlns:a16="http://schemas.microsoft.com/office/drawing/2014/main" id="{A9702407-745D-44D7-BDB5-07FDED4D25B7}"/>
              </a:ext>
            </a:extLst>
          </p:cNvPr>
          <p:cNvGrpSpPr/>
          <p:nvPr userDrawn="1"/>
        </p:nvGrpSpPr>
        <p:grpSpPr>
          <a:xfrm>
            <a:off x="12363871" y="-26002"/>
            <a:ext cx="3064812" cy="4530930"/>
            <a:chOff x="15419739" y="-26002"/>
            <a:chExt cx="3064812" cy="4530930"/>
          </a:xfrm>
        </p:grpSpPr>
        <p:sp>
          <p:nvSpPr>
            <p:cNvPr id="256" name="Tekstvak 33">
              <a:extLst>
                <a:ext uri="{FF2B5EF4-FFF2-40B4-BE49-F238E27FC236}">
                  <a16:creationId xmlns:a16="http://schemas.microsoft.com/office/drawing/2014/main" id="{82B4903F-368D-4119-B168-C64BF443A4FE}"/>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257" name="Tekstvak 33">
              <a:extLst>
                <a:ext uri="{FF2B5EF4-FFF2-40B4-BE49-F238E27FC236}">
                  <a16:creationId xmlns:a16="http://schemas.microsoft.com/office/drawing/2014/main" id="{0C205089-B818-45B2-B3E9-E766861CF3AF}"/>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258" name="Ovaal 257">
              <a:extLst>
                <a:ext uri="{FF2B5EF4-FFF2-40B4-BE49-F238E27FC236}">
                  <a16:creationId xmlns:a16="http://schemas.microsoft.com/office/drawing/2014/main" id="{3C838CE5-9634-4036-BBF5-2C21671B4069}"/>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259" name="Ovaal 258">
              <a:extLst>
                <a:ext uri="{FF2B5EF4-FFF2-40B4-BE49-F238E27FC236}">
                  <a16:creationId xmlns:a16="http://schemas.microsoft.com/office/drawing/2014/main" id="{6E3D646E-5E1A-4701-88C2-141445C6C5FE}"/>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260" name="Picture 3">
              <a:extLst>
                <a:ext uri="{FF2B5EF4-FFF2-40B4-BE49-F238E27FC236}">
                  <a16:creationId xmlns:a16="http://schemas.microsoft.com/office/drawing/2014/main" id="{5AD38AAD-7E40-4DE8-BA1C-4890A795D855}"/>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61" name="Picture 3">
              <a:extLst>
                <a:ext uri="{FF2B5EF4-FFF2-40B4-BE49-F238E27FC236}">
                  <a16:creationId xmlns:a16="http://schemas.microsoft.com/office/drawing/2014/main" id="{32364B36-49CE-47E8-A367-6C729A2846E2}"/>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62" name="Tekstvak 261">
              <a:extLst>
                <a:ext uri="{FF2B5EF4-FFF2-40B4-BE49-F238E27FC236}">
                  <a16:creationId xmlns:a16="http://schemas.microsoft.com/office/drawing/2014/main" id="{40C90717-F170-458C-A30B-8E6400C705CB}"/>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263" name="Rechthoek 262">
              <a:extLst>
                <a:ext uri="{FF2B5EF4-FFF2-40B4-BE49-F238E27FC236}">
                  <a16:creationId xmlns:a16="http://schemas.microsoft.com/office/drawing/2014/main" id="{7FD2BBCE-8189-463D-B9E7-6B37F5C7E5EA}"/>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264" name="Groep 263">
              <a:extLst>
                <a:ext uri="{FF2B5EF4-FFF2-40B4-BE49-F238E27FC236}">
                  <a16:creationId xmlns:a16="http://schemas.microsoft.com/office/drawing/2014/main" id="{1ADE027F-0773-4BA8-8F2A-CF0AEEBEB5C5}"/>
                </a:ext>
              </a:extLst>
            </p:cNvPr>
            <p:cNvGrpSpPr/>
            <p:nvPr userDrawn="1"/>
          </p:nvGrpSpPr>
          <p:grpSpPr>
            <a:xfrm>
              <a:off x="15563079" y="358984"/>
              <a:ext cx="2489424" cy="4145944"/>
              <a:chOff x="15563079" y="358984"/>
              <a:chExt cx="2315772" cy="4145944"/>
            </a:xfrm>
          </p:grpSpPr>
          <p:cxnSp>
            <p:nvCxnSpPr>
              <p:cNvPr id="266" name="Rechte verbindingslijn 265">
                <a:extLst>
                  <a:ext uri="{FF2B5EF4-FFF2-40B4-BE49-F238E27FC236}">
                    <a16:creationId xmlns:a16="http://schemas.microsoft.com/office/drawing/2014/main" id="{A847E603-F0A2-48B0-B7A8-684049E6B87C}"/>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7" name="Rechte verbindingslijn 266">
                <a:extLst>
                  <a:ext uri="{FF2B5EF4-FFF2-40B4-BE49-F238E27FC236}">
                    <a16:creationId xmlns:a16="http://schemas.microsoft.com/office/drawing/2014/main" id="{15430E8D-8FAF-4D90-B688-D64C9C8B0C94}"/>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8" name="Rechte verbindingslijn 267">
                <a:extLst>
                  <a:ext uri="{FF2B5EF4-FFF2-40B4-BE49-F238E27FC236}">
                    <a16:creationId xmlns:a16="http://schemas.microsoft.com/office/drawing/2014/main" id="{F87906CC-B5CF-497F-8DFD-500BD34EA3C1}"/>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65" name="Afbeelding 264">
              <a:extLst>
                <a:ext uri="{FF2B5EF4-FFF2-40B4-BE49-F238E27FC236}">
                  <a16:creationId xmlns:a16="http://schemas.microsoft.com/office/drawing/2014/main" id="{572AEA02-A9AE-4245-80EC-03629366585F}"/>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1881312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fbeelding (4:3) (donkerblauw)">
    <p:spTree>
      <p:nvGrpSpPr>
        <p:cNvPr id="1" name=""/>
        <p:cNvGrpSpPr/>
        <p:nvPr/>
      </p:nvGrpSpPr>
      <p:grpSpPr>
        <a:xfrm>
          <a:off x="0" y="0"/>
          <a:ext cx="0" cy="0"/>
          <a:chOff x="0" y="0"/>
          <a:chExt cx="0" cy="0"/>
        </a:xfrm>
      </p:grpSpPr>
      <p:sp>
        <p:nvSpPr>
          <p:cNvPr id="23" name="Afgeronde rechthoek 7">
            <a:extLst>
              <a:ext uri="{FF2B5EF4-FFF2-40B4-BE49-F238E27FC236}">
                <a16:creationId xmlns:a16="http://schemas.microsoft.com/office/drawing/2014/main" id="{9E686FF5-BE1E-475E-BC37-372393A83A53}"/>
              </a:ext>
            </a:extLst>
          </p:cNvPr>
          <p:cNvSpPr/>
          <p:nvPr userDrawn="1"/>
        </p:nvSpPr>
        <p:spPr>
          <a:xfrm>
            <a:off x="-1538" y="-1824"/>
            <a:ext cx="9529768" cy="6859823"/>
          </a:xfrm>
          <a:custGeom>
            <a:avLst/>
            <a:gdLst>
              <a:gd name="connsiteX0" fmla="*/ 0 w 12195175"/>
              <a:gd name="connsiteY0" fmla="*/ 95258 h 6858000"/>
              <a:gd name="connsiteX1" fmla="*/ 95258 w 12195175"/>
              <a:gd name="connsiteY1" fmla="*/ 0 h 6858000"/>
              <a:gd name="connsiteX2" fmla="*/ 12099917 w 12195175"/>
              <a:gd name="connsiteY2" fmla="*/ 0 h 6858000"/>
              <a:gd name="connsiteX3" fmla="*/ 12195175 w 12195175"/>
              <a:gd name="connsiteY3" fmla="*/ 95258 h 6858000"/>
              <a:gd name="connsiteX4" fmla="*/ 12195175 w 12195175"/>
              <a:gd name="connsiteY4" fmla="*/ 6762742 h 6858000"/>
              <a:gd name="connsiteX5" fmla="*/ 12099917 w 12195175"/>
              <a:gd name="connsiteY5" fmla="*/ 6858000 h 6858000"/>
              <a:gd name="connsiteX6" fmla="*/ 95258 w 12195175"/>
              <a:gd name="connsiteY6" fmla="*/ 6858000 h 6858000"/>
              <a:gd name="connsiteX7" fmla="*/ 0 w 12195175"/>
              <a:gd name="connsiteY7" fmla="*/ 6762742 h 6858000"/>
              <a:gd name="connsiteX8" fmla="*/ 0 w 12195175"/>
              <a:gd name="connsiteY8" fmla="*/ 95258 h 6858000"/>
              <a:gd name="connsiteX0" fmla="*/ 0 w 12195175"/>
              <a:gd name="connsiteY0" fmla="*/ 118634 h 6881376"/>
              <a:gd name="connsiteX1" fmla="*/ 95258 w 12195175"/>
              <a:gd name="connsiteY1" fmla="*/ 23376 h 6881376"/>
              <a:gd name="connsiteX2" fmla="*/ 12099917 w 12195175"/>
              <a:gd name="connsiteY2" fmla="*/ 23376 h 6881376"/>
              <a:gd name="connsiteX3" fmla="*/ 12195175 w 12195175"/>
              <a:gd name="connsiteY3" fmla="*/ 23384 h 6881376"/>
              <a:gd name="connsiteX4" fmla="*/ 12195175 w 12195175"/>
              <a:gd name="connsiteY4" fmla="*/ 6786118 h 6881376"/>
              <a:gd name="connsiteX5" fmla="*/ 12099917 w 12195175"/>
              <a:gd name="connsiteY5" fmla="*/ 6881376 h 6881376"/>
              <a:gd name="connsiteX6" fmla="*/ 95258 w 12195175"/>
              <a:gd name="connsiteY6" fmla="*/ 6881376 h 6881376"/>
              <a:gd name="connsiteX7" fmla="*/ 0 w 12195175"/>
              <a:gd name="connsiteY7" fmla="*/ 6786118 h 6881376"/>
              <a:gd name="connsiteX8" fmla="*/ 0 w 12195175"/>
              <a:gd name="connsiteY8" fmla="*/ 118634 h 6881376"/>
              <a:gd name="connsiteX0" fmla="*/ 0 w 13021588"/>
              <a:gd name="connsiteY0" fmla="*/ 596245 h 7358987"/>
              <a:gd name="connsiteX1" fmla="*/ 95258 w 13021588"/>
              <a:gd name="connsiteY1" fmla="*/ 500987 h 7358987"/>
              <a:gd name="connsiteX2" fmla="*/ 12099917 w 13021588"/>
              <a:gd name="connsiteY2" fmla="*/ 500987 h 7358987"/>
              <a:gd name="connsiteX3" fmla="*/ 12195175 w 13021588"/>
              <a:gd name="connsiteY3" fmla="*/ 500995 h 7358987"/>
              <a:gd name="connsiteX4" fmla="*/ 12195175 w 13021588"/>
              <a:gd name="connsiteY4" fmla="*/ 7263729 h 7358987"/>
              <a:gd name="connsiteX5" fmla="*/ 12099917 w 13021588"/>
              <a:gd name="connsiteY5" fmla="*/ 7358987 h 7358987"/>
              <a:gd name="connsiteX6" fmla="*/ 95258 w 13021588"/>
              <a:gd name="connsiteY6" fmla="*/ 7358987 h 7358987"/>
              <a:gd name="connsiteX7" fmla="*/ 0 w 13021588"/>
              <a:gd name="connsiteY7" fmla="*/ 7263729 h 7358987"/>
              <a:gd name="connsiteX8" fmla="*/ 0 w 13021588"/>
              <a:gd name="connsiteY8" fmla="*/ 596245 h 7358987"/>
              <a:gd name="connsiteX0" fmla="*/ 0 w 12195175"/>
              <a:gd name="connsiteY0" fmla="*/ 95258 h 6858000"/>
              <a:gd name="connsiteX1" fmla="*/ 95258 w 12195175"/>
              <a:gd name="connsiteY1" fmla="*/ 0 h 6858000"/>
              <a:gd name="connsiteX2" fmla="*/ 12195175 w 12195175"/>
              <a:gd name="connsiteY2" fmla="*/ 8 h 6858000"/>
              <a:gd name="connsiteX3" fmla="*/ 12195175 w 12195175"/>
              <a:gd name="connsiteY3" fmla="*/ 6762742 h 6858000"/>
              <a:gd name="connsiteX4" fmla="*/ 12099917 w 12195175"/>
              <a:gd name="connsiteY4" fmla="*/ 6858000 h 6858000"/>
              <a:gd name="connsiteX5" fmla="*/ 95258 w 12195175"/>
              <a:gd name="connsiteY5" fmla="*/ 6858000 h 6858000"/>
              <a:gd name="connsiteX6" fmla="*/ 0 w 12195175"/>
              <a:gd name="connsiteY6" fmla="*/ 6762742 h 6858000"/>
              <a:gd name="connsiteX7" fmla="*/ 0 w 12195175"/>
              <a:gd name="connsiteY7" fmla="*/ 95258 h 6858000"/>
              <a:gd name="connsiteX0" fmla="*/ 0 w 12213415"/>
              <a:gd name="connsiteY0" fmla="*/ 95258 h 6858000"/>
              <a:gd name="connsiteX1" fmla="*/ 95258 w 12213415"/>
              <a:gd name="connsiteY1" fmla="*/ 0 h 6858000"/>
              <a:gd name="connsiteX2" fmla="*/ 12195175 w 12213415"/>
              <a:gd name="connsiteY2" fmla="*/ 8 h 6858000"/>
              <a:gd name="connsiteX3" fmla="*/ 12195175 w 12213415"/>
              <a:gd name="connsiteY3" fmla="*/ 6762742 h 6858000"/>
              <a:gd name="connsiteX4" fmla="*/ 12188023 w 12213415"/>
              <a:gd name="connsiteY4" fmla="*/ 6858000 h 6858000"/>
              <a:gd name="connsiteX5" fmla="*/ 95258 w 12213415"/>
              <a:gd name="connsiteY5" fmla="*/ 6858000 h 6858000"/>
              <a:gd name="connsiteX6" fmla="*/ 0 w 12213415"/>
              <a:gd name="connsiteY6" fmla="*/ 6762742 h 6858000"/>
              <a:gd name="connsiteX7" fmla="*/ 0 w 12213415"/>
              <a:gd name="connsiteY7" fmla="*/ 95258 h 6858000"/>
              <a:gd name="connsiteX0" fmla="*/ 0 w 13085932"/>
              <a:gd name="connsiteY0" fmla="*/ 95258 h 7296671"/>
              <a:gd name="connsiteX1" fmla="*/ 95258 w 13085932"/>
              <a:gd name="connsiteY1" fmla="*/ 0 h 7296671"/>
              <a:gd name="connsiteX2" fmla="*/ 12195175 w 13085932"/>
              <a:gd name="connsiteY2" fmla="*/ 8 h 7296671"/>
              <a:gd name="connsiteX3" fmla="*/ 12195175 w 13085932"/>
              <a:gd name="connsiteY3" fmla="*/ 6762742 h 7296671"/>
              <a:gd name="connsiteX4" fmla="*/ 12188023 w 13085932"/>
              <a:gd name="connsiteY4" fmla="*/ 6858000 h 7296671"/>
              <a:gd name="connsiteX5" fmla="*/ 95258 w 13085932"/>
              <a:gd name="connsiteY5" fmla="*/ 6858000 h 7296671"/>
              <a:gd name="connsiteX6" fmla="*/ 0 w 13085932"/>
              <a:gd name="connsiteY6" fmla="*/ 6762742 h 7296671"/>
              <a:gd name="connsiteX7" fmla="*/ 0 w 13085932"/>
              <a:gd name="connsiteY7" fmla="*/ 95258 h 7296671"/>
              <a:gd name="connsiteX0" fmla="*/ 0 w 12195175"/>
              <a:gd name="connsiteY0" fmla="*/ 95258 h 6858000"/>
              <a:gd name="connsiteX1" fmla="*/ 95258 w 12195175"/>
              <a:gd name="connsiteY1" fmla="*/ 0 h 6858000"/>
              <a:gd name="connsiteX2" fmla="*/ 12195175 w 12195175"/>
              <a:gd name="connsiteY2" fmla="*/ 8 h 6858000"/>
              <a:gd name="connsiteX3" fmla="*/ 12188023 w 12195175"/>
              <a:gd name="connsiteY3" fmla="*/ 6858000 h 6858000"/>
              <a:gd name="connsiteX4" fmla="*/ 95258 w 12195175"/>
              <a:gd name="connsiteY4" fmla="*/ 6858000 h 6858000"/>
              <a:gd name="connsiteX5" fmla="*/ 0 w 12195175"/>
              <a:gd name="connsiteY5" fmla="*/ 6762742 h 6858000"/>
              <a:gd name="connsiteX6" fmla="*/ 0 w 12195175"/>
              <a:gd name="connsiteY6" fmla="*/ 95258 h 6858000"/>
              <a:gd name="connsiteX0" fmla="*/ 0 w 13092080"/>
              <a:gd name="connsiteY0" fmla="*/ 602898 h 7365640"/>
              <a:gd name="connsiteX1" fmla="*/ 95258 w 13092080"/>
              <a:gd name="connsiteY1" fmla="*/ 507640 h 7365640"/>
              <a:gd name="connsiteX2" fmla="*/ 12195175 w 13092080"/>
              <a:gd name="connsiteY2" fmla="*/ 507648 h 7365640"/>
              <a:gd name="connsiteX3" fmla="*/ 12197548 w 13092080"/>
              <a:gd name="connsiteY3" fmla="*/ 7360878 h 7365640"/>
              <a:gd name="connsiteX4" fmla="*/ 95258 w 13092080"/>
              <a:gd name="connsiteY4" fmla="*/ 7365640 h 7365640"/>
              <a:gd name="connsiteX5" fmla="*/ 0 w 13092080"/>
              <a:gd name="connsiteY5" fmla="*/ 7270382 h 7365640"/>
              <a:gd name="connsiteX6" fmla="*/ 0 w 13092080"/>
              <a:gd name="connsiteY6" fmla="*/ 602898 h 7365640"/>
              <a:gd name="connsiteX0" fmla="*/ 0 w 13091286"/>
              <a:gd name="connsiteY0" fmla="*/ 603074 h 7365816"/>
              <a:gd name="connsiteX1" fmla="*/ 95258 w 13091286"/>
              <a:gd name="connsiteY1" fmla="*/ 507816 h 7365816"/>
              <a:gd name="connsiteX2" fmla="*/ 12195175 w 13091286"/>
              <a:gd name="connsiteY2" fmla="*/ 507824 h 7365816"/>
              <a:gd name="connsiteX3" fmla="*/ 12195167 w 13091286"/>
              <a:gd name="connsiteY3" fmla="*/ 7363435 h 7365816"/>
              <a:gd name="connsiteX4" fmla="*/ 95258 w 13091286"/>
              <a:gd name="connsiteY4" fmla="*/ 7365816 h 7365816"/>
              <a:gd name="connsiteX5" fmla="*/ 0 w 13091286"/>
              <a:gd name="connsiteY5" fmla="*/ 7270558 h 7365816"/>
              <a:gd name="connsiteX6" fmla="*/ 0 w 13091286"/>
              <a:gd name="connsiteY6" fmla="*/ 603074 h 7365816"/>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2202311"/>
              <a:gd name="connsiteY0" fmla="*/ 489460 h 7252202"/>
              <a:gd name="connsiteX1" fmla="*/ 95258 w 12202311"/>
              <a:gd name="connsiteY1" fmla="*/ 394202 h 7252202"/>
              <a:gd name="connsiteX2" fmla="*/ 12195175 w 12202311"/>
              <a:gd name="connsiteY2" fmla="*/ 394210 h 7252202"/>
              <a:gd name="connsiteX3" fmla="*/ 12202311 w 12202311"/>
              <a:gd name="connsiteY3" fmla="*/ 7252202 h 7252202"/>
              <a:gd name="connsiteX4" fmla="*/ 95258 w 12202311"/>
              <a:gd name="connsiteY4" fmla="*/ 7252202 h 7252202"/>
              <a:gd name="connsiteX5" fmla="*/ 0 w 12202311"/>
              <a:gd name="connsiteY5" fmla="*/ 7156944 h 7252202"/>
              <a:gd name="connsiteX6" fmla="*/ 0 w 12202311"/>
              <a:gd name="connsiteY6" fmla="*/ 489460 h 7252202"/>
              <a:gd name="connsiteX0" fmla="*/ 0 w 12202311"/>
              <a:gd name="connsiteY0" fmla="*/ 489460 h 7252202"/>
              <a:gd name="connsiteX1" fmla="*/ 95258 w 12202311"/>
              <a:gd name="connsiteY1" fmla="*/ 394202 h 7252202"/>
              <a:gd name="connsiteX2" fmla="*/ 12195175 w 12202311"/>
              <a:gd name="connsiteY2" fmla="*/ 394210 h 7252202"/>
              <a:gd name="connsiteX3" fmla="*/ 12202311 w 12202311"/>
              <a:gd name="connsiteY3" fmla="*/ 7252202 h 7252202"/>
              <a:gd name="connsiteX4" fmla="*/ 95258 w 12202311"/>
              <a:gd name="connsiteY4" fmla="*/ 7252202 h 7252202"/>
              <a:gd name="connsiteX5" fmla="*/ 0 w 12202311"/>
              <a:gd name="connsiteY5" fmla="*/ 7156944 h 7252202"/>
              <a:gd name="connsiteX6" fmla="*/ 0 w 12202311"/>
              <a:gd name="connsiteY6" fmla="*/ 489460 h 7252202"/>
              <a:gd name="connsiteX0" fmla="*/ 0 w 12202311"/>
              <a:gd name="connsiteY0" fmla="*/ 95258 h 6858000"/>
              <a:gd name="connsiteX1" fmla="*/ 95258 w 12202311"/>
              <a:gd name="connsiteY1" fmla="*/ 0 h 6858000"/>
              <a:gd name="connsiteX2" fmla="*/ 12195175 w 12202311"/>
              <a:gd name="connsiteY2" fmla="*/ 8 h 6858000"/>
              <a:gd name="connsiteX3" fmla="*/ 12202311 w 12202311"/>
              <a:gd name="connsiteY3" fmla="*/ 6858000 h 6858000"/>
              <a:gd name="connsiteX4" fmla="*/ 95258 w 12202311"/>
              <a:gd name="connsiteY4" fmla="*/ 6858000 h 6858000"/>
              <a:gd name="connsiteX5" fmla="*/ 0 w 12202311"/>
              <a:gd name="connsiteY5" fmla="*/ 6762742 h 6858000"/>
              <a:gd name="connsiteX6" fmla="*/ 0 w 12202311"/>
              <a:gd name="connsiteY6" fmla="*/ 95258 h 6858000"/>
              <a:gd name="connsiteX0" fmla="*/ 0 w 12205862"/>
              <a:gd name="connsiteY0" fmla="*/ 789969 h 7552711"/>
              <a:gd name="connsiteX1" fmla="*/ 95258 w 12205862"/>
              <a:gd name="connsiteY1" fmla="*/ 694711 h 7552711"/>
              <a:gd name="connsiteX2" fmla="*/ 12195175 w 12205862"/>
              <a:gd name="connsiteY2" fmla="*/ 694719 h 7552711"/>
              <a:gd name="connsiteX3" fmla="*/ 12202311 w 12205862"/>
              <a:gd name="connsiteY3" fmla="*/ 7552711 h 7552711"/>
              <a:gd name="connsiteX4" fmla="*/ 95258 w 12205862"/>
              <a:gd name="connsiteY4" fmla="*/ 7552711 h 7552711"/>
              <a:gd name="connsiteX5" fmla="*/ 0 w 12205862"/>
              <a:gd name="connsiteY5" fmla="*/ 7457453 h 7552711"/>
              <a:gd name="connsiteX6" fmla="*/ 0 w 12205862"/>
              <a:gd name="connsiteY6" fmla="*/ 789969 h 7552711"/>
              <a:gd name="connsiteX0" fmla="*/ 0 w 12205862"/>
              <a:gd name="connsiteY0" fmla="*/ 789969 h 7552711"/>
              <a:gd name="connsiteX1" fmla="*/ 95258 w 12205862"/>
              <a:gd name="connsiteY1" fmla="*/ 694711 h 7552711"/>
              <a:gd name="connsiteX2" fmla="*/ 12195175 w 12205862"/>
              <a:gd name="connsiteY2" fmla="*/ 694719 h 7552711"/>
              <a:gd name="connsiteX3" fmla="*/ 12202311 w 12205862"/>
              <a:gd name="connsiteY3" fmla="*/ 7552711 h 7552711"/>
              <a:gd name="connsiteX4" fmla="*/ 95258 w 12205862"/>
              <a:gd name="connsiteY4" fmla="*/ 7552711 h 7552711"/>
              <a:gd name="connsiteX5" fmla="*/ 0 w 12205862"/>
              <a:gd name="connsiteY5" fmla="*/ 7457453 h 7552711"/>
              <a:gd name="connsiteX6" fmla="*/ 0 w 12205862"/>
              <a:gd name="connsiteY6" fmla="*/ 789969 h 7552711"/>
              <a:gd name="connsiteX0" fmla="*/ 0 w 12639103"/>
              <a:gd name="connsiteY0" fmla="*/ 620131 h 7382873"/>
              <a:gd name="connsiteX1" fmla="*/ 95258 w 12639103"/>
              <a:gd name="connsiteY1" fmla="*/ 524873 h 7382873"/>
              <a:gd name="connsiteX2" fmla="*/ 12195175 w 12639103"/>
              <a:gd name="connsiteY2" fmla="*/ 524881 h 7382873"/>
              <a:gd name="connsiteX3" fmla="*/ 12202311 w 12639103"/>
              <a:gd name="connsiteY3" fmla="*/ 7382873 h 7382873"/>
              <a:gd name="connsiteX4" fmla="*/ 95258 w 12639103"/>
              <a:gd name="connsiteY4" fmla="*/ 7382873 h 7382873"/>
              <a:gd name="connsiteX5" fmla="*/ 0 w 12639103"/>
              <a:gd name="connsiteY5" fmla="*/ 7287615 h 7382873"/>
              <a:gd name="connsiteX6" fmla="*/ 0 w 12639103"/>
              <a:gd name="connsiteY6" fmla="*/ 620131 h 7382873"/>
              <a:gd name="connsiteX0" fmla="*/ 0 w 12639103"/>
              <a:gd name="connsiteY0" fmla="*/ 620131 h 7382873"/>
              <a:gd name="connsiteX1" fmla="*/ 95258 w 12639103"/>
              <a:gd name="connsiteY1" fmla="*/ 524873 h 7382873"/>
              <a:gd name="connsiteX2" fmla="*/ 12195175 w 12639103"/>
              <a:gd name="connsiteY2" fmla="*/ 524881 h 7382873"/>
              <a:gd name="connsiteX3" fmla="*/ 12202311 w 12639103"/>
              <a:gd name="connsiteY3" fmla="*/ 7382873 h 7382873"/>
              <a:gd name="connsiteX4" fmla="*/ 95258 w 12639103"/>
              <a:gd name="connsiteY4" fmla="*/ 7382873 h 7382873"/>
              <a:gd name="connsiteX5" fmla="*/ 0 w 12639103"/>
              <a:gd name="connsiteY5" fmla="*/ 7287615 h 7382873"/>
              <a:gd name="connsiteX6" fmla="*/ 0 w 12639103"/>
              <a:gd name="connsiteY6" fmla="*/ 620131 h 7382873"/>
              <a:gd name="connsiteX0" fmla="*/ 0 w 12837278"/>
              <a:gd name="connsiteY0" fmla="*/ 165206 h 6927948"/>
              <a:gd name="connsiteX1" fmla="*/ 95258 w 12837278"/>
              <a:gd name="connsiteY1" fmla="*/ 69948 h 6927948"/>
              <a:gd name="connsiteX2" fmla="*/ 12195175 w 12837278"/>
              <a:gd name="connsiteY2" fmla="*/ 69956 h 6927948"/>
              <a:gd name="connsiteX3" fmla="*/ 12202311 w 12837278"/>
              <a:gd name="connsiteY3" fmla="*/ 6927948 h 6927948"/>
              <a:gd name="connsiteX4" fmla="*/ 95258 w 12837278"/>
              <a:gd name="connsiteY4" fmla="*/ 6927948 h 6927948"/>
              <a:gd name="connsiteX5" fmla="*/ 0 w 12837278"/>
              <a:gd name="connsiteY5" fmla="*/ 6832690 h 6927948"/>
              <a:gd name="connsiteX6" fmla="*/ 0 w 12837278"/>
              <a:gd name="connsiteY6" fmla="*/ 165206 h 6927948"/>
              <a:gd name="connsiteX0" fmla="*/ 0 w 12837278"/>
              <a:gd name="connsiteY0" fmla="*/ 165206 h 6927948"/>
              <a:gd name="connsiteX1" fmla="*/ 95258 w 12837278"/>
              <a:gd name="connsiteY1" fmla="*/ 69948 h 6927948"/>
              <a:gd name="connsiteX2" fmla="*/ 12195175 w 12837278"/>
              <a:gd name="connsiteY2" fmla="*/ 69956 h 6927948"/>
              <a:gd name="connsiteX3" fmla="*/ 12202311 w 12837278"/>
              <a:gd name="connsiteY3" fmla="*/ 6927948 h 6927948"/>
              <a:gd name="connsiteX4" fmla="*/ 95258 w 12837278"/>
              <a:gd name="connsiteY4" fmla="*/ 6927948 h 6927948"/>
              <a:gd name="connsiteX5" fmla="*/ 0 w 12837278"/>
              <a:gd name="connsiteY5" fmla="*/ 6832690 h 6927948"/>
              <a:gd name="connsiteX6" fmla="*/ 0 w 12837278"/>
              <a:gd name="connsiteY6" fmla="*/ 165206 h 6927948"/>
              <a:gd name="connsiteX0" fmla="*/ 0 w 12837278"/>
              <a:gd name="connsiteY0" fmla="*/ 165206 h 6927948"/>
              <a:gd name="connsiteX1" fmla="*/ 95258 w 12837278"/>
              <a:gd name="connsiteY1" fmla="*/ 69948 h 6927948"/>
              <a:gd name="connsiteX2" fmla="*/ 12195175 w 12837278"/>
              <a:gd name="connsiteY2" fmla="*/ 69956 h 6927948"/>
              <a:gd name="connsiteX3" fmla="*/ 12202311 w 12837278"/>
              <a:gd name="connsiteY3" fmla="*/ 6927948 h 6927948"/>
              <a:gd name="connsiteX4" fmla="*/ 95258 w 12837278"/>
              <a:gd name="connsiteY4" fmla="*/ 6927948 h 6927948"/>
              <a:gd name="connsiteX5" fmla="*/ 0 w 12837278"/>
              <a:gd name="connsiteY5" fmla="*/ 6832690 h 6927948"/>
              <a:gd name="connsiteX6" fmla="*/ 0 w 12837278"/>
              <a:gd name="connsiteY6" fmla="*/ 165206 h 6927948"/>
              <a:gd name="connsiteX0" fmla="*/ 0 w 12202311"/>
              <a:gd name="connsiteY0" fmla="*/ 165206 h 6927948"/>
              <a:gd name="connsiteX1" fmla="*/ 95258 w 12202311"/>
              <a:gd name="connsiteY1" fmla="*/ 69948 h 6927948"/>
              <a:gd name="connsiteX2" fmla="*/ 12195175 w 12202311"/>
              <a:gd name="connsiteY2" fmla="*/ 69956 h 6927948"/>
              <a:gd name="connsiteX3" fmla="*/ 12202311 w 12202311"/>
              <a:gd name="connsiteY3" fmla="*/ 6927948 h 6927948"/>
              <a:gd name="connsiteX4" fmla="*/ 95258 w 12202311"/>
              <a:gd name="connsiteY4" fmla="*/ 6927948 h 6927948"/>
              <a:gd name="connsiteX5" fmla="*/ 0 w 12202311"/>
              <a:gd name="connsiteY5" fmla="*/ 6832690 h 6927948"/>
              <a:gd name="connsiteX6" fmla="*/ 0 w 12202311"/>
              <a:gd name="connsiteY6" fmla="*/ 165206 h 6927948"/>
              <a:gd name="connsiteX0" fmla="*/ 0 w 12202311"/>
              <a:gd name="connsiteY0" fmla="*/ 95258 h 6858000"/>
              <a:gd name="connsiteX1" fmla="*/ 95258 w 12202311"/>
              <a:gd name="connsiteY1" fmla="*/ 0 h 6858000"/>
              <a:gd name="connsiteX2" fmla="*/ 12195175 w 12202311"/>
              <a:gd name="connsiteY2" fmla="*/ 8 h 6858000"/>
              <a:gd name="connsiteX3" fmla="*/ 12202311 w 12202311"/>
              <a:gd name="connsiteY3" fmla="*/ 6858000 h 6858000"/>
              <a:gd name="connsiteX4" fmla="*/ 95258 w 12202311"/>
              <a:gd name="connsiteY4" fmla="*/ 6858000 h 6858000"/>
              <a:gd name="connsiteX5" fmla="*/ 0 w 12202311"/>
              <a:gd name="connsiteY5" fmla="*/ 6762742 h 6858000"/>
              <a:gd name="connsiteX6" fmla="*/ 0 w 12202311"/>
              <a:gd name="connsiteY6" fmla="*/ 95258 h 6858000"/>
              <a:gd name="connsiteX0" fmla="*/ 0 w 12202311"/>
              <a:gd name="connsiteY0" fmla="*/ 95258 h 6858000"/>
              <a:gd name="connsiteX1" fmla="*/ 95258 w 12202311"/>
              <a:gd name="connsiteY1" fmla="*/ 0 h 6858000"/>
              <a:gd name="connsiteX2" fmla="*/ 12195175 w 12202311"/>
              <a:gd name="connsiteY2" fmla="*/ 8 h 6858000"/>
              <a:gd name="connsiteX3" fmla="*/ 12202311 w 12202311"/>
              <a:gd name="connsiteY3" fmla="*/ 6858000 h 6858000"/>
              <a:gd name="connsiteX4" fmla="*/ 95258 w 12202311"/>
              <a:gd name="connsiteY4" fmla="*/ 6858000 h 6858000"/>
              <a:gd name="connsiteX5" fmla="*/ 0 w 12202311"/>
              <a:gd name="connsiteY5" fmla="*/ 6762742 h 6858000"/>
              <a:gd name="connsiteX6" fmla="*/ 0 w 12202311"/>
              <a:gd name="connsiteY6" fmla="*/ 95258 h 6858000"/>
              <a:gd name="connsiteX0" fmla="*/ 0 w 12202311"/>
              <a:gd name="connsiteY0" fmla="*/ 95258 h 6858000"/>
              <a:gd name="connsiteX1" fmla="*/ 95258 w 12202311"/>
              <a:gd name="connsiteY1" fmla="*/ 0 h 6858000"/>
              <a:gd name="connsiteX2" fmla="*/ 12195175 w 12202311"/>
              <a:gd name="connsiteY2" fmla="*/ 8 h 6858000"/>
              <a:gd name="connsiteX3" fmla="*/ 12202311 w 12202311"/>
              <a:gd name="connsiteY3" fmla="*/ 6858000 h 6858000"/>
              <a:gd name="connsiteX4" fmla="*/ 95258 w 12202311"/>
              <a:gd name="connsiteY4" fmla="*/ 6858000 h 6858000"/>
              <a:gd name="connsiteX5" fmla="*/ 0 w 12202311"/>
              <a:gd name="connsiteY5" fmla="*/ 6762742 h 6858000"/>
              <a:gd name="connsiteX6" fmla="*/ 0 w 12202311"/>
              <a:gd name="connsiteY6" fmla="*/ 95258 h 6858000"/>
              <a:gd name="connsiteX0" fmla="*/ 0 w 13012739"/>
              <a:gd name="connsiteY0" fmla="*/ 95258 h 7364588"/>
              <a:gd name="connsiteX1" fmla="*/ 95258 w 13012739"/>
              <a:gd name="connsiteY1" fmla="*/ 0 h 7364588"/>
              <a:gd name="connsiteX2" fmla="*/ 11922125 w 13012739"/>
              <a:gd name="connsiteY2" fmla="*/ 19058 h 7364588"/>
              <a:gd name="connsiteX3" fmla="*/ 12202311 w 13012739"/>
              <a:gd name="connsiteY3" fmla="*/ 6858000 h 7364588"/>
              <a:gd name="connsiteX4" fmla="*/ 95258 w 13012739"/>
              <a:gd name="connsiteY4" fmla="*/ 6858000 h 7364588"/>
              <a:gd name="connsiteX5" fmla="*/ 0 w 13012739"/>
              <a:gd name="connsiteY5" fmla="*/ 6762742 h 7364588"/>
              <a:gd name="connsiteX6" fmla="*/ 0 w 13012739"/>
              <a:gd name="connsiteY6" fmla="*/ 95258 h 7364588"/>
              <a:gd name="connsiteX0" fmla="*/ 0 w 13169364"/>
              <a:gd name="connsiteY0" fmla="*/ 228600 h 7509219"/>
              <a:gd name="connsiteX1" fmla="*/ 95258 w 13169364"/>
              <a:gd name="connsiteY1" fmla="*/ 133342 h 7509219"/>
              <a:gd name="connsiteX2" fmla="*/ 12398375 w 13169364"/>
              <a:gd name="connsiteY2" fmla="*/ 0 h 7509219"/>
              <a:gd name="connsiteX3" fmla="*/ 12202311 w 13169364"/>
              <a:gd name="connsiteY3" fmla="*/ 6991342 h 7509219"/>
              <a:gd name="connsiteX4" fmla="*/ 95258 w 13169364"/>
              <a:gd name="connsiteY4" fmla="*/ 6991342 h 7509219"/>
              <a:gd name="connsiteX5" fmla="*/ 0 w 13169364"/>
              <a:gd name="connsiteY5" fmla="*/ 6896084 h 7509219"/>
              <a:gd name="connsiteX6" fmla="*/ 0 w 13169364"/>
              <a:gd name="connsiteY6" fmla="*/ 228600 h 7509219"/>
              <a:gd name="connsiteX0" fmla="*/ 0 w 12911670"/>
              <a:gd name="connsiteY0" fmla="*/ 95258 h 7325547"/>
              <a:gd name="connsiteX1" fmla="*/ 95258 w 12911670"/>
              <a:gd name="connsiteY1" fmla="*/ 0 h 7325547"/>
              <a:gd name="connsiteX2" fmla="*/ 11553825 w 12911670"/>
              <a:gd name="connsiteY2" fmla="*/ 546108 h 7325547"/>
              <a:gd name="connsiteX3" fmla="*/ 12202311 w 12911670"/>
              <a:gd name="connsiteY3" fmla="*/ 6858000 h 7325547"/>
              <a:gd name="connsiteX4" fmla="*/ 95258 w 12911670"/>
              <a:gd name="connsiteY4" fmla="*/ 6858000 h 7325547"/>
              <a:gd name="connsiteX5" fmla="*/ 0 w 12911670"/>
              <a:gd name="connsiteY5" fmla="*/ 6762742 h 7325547"/>
              <a:gd name="connsiteX6" fmla="*/ 0 w 12911670"/>
              <a:gd name="connsiteY6" fmla="*/ 95258 h 7325547"/>
              <a:gd name="connsiteX0" fmla="*/ 0 w 13100634"/>
              <a:gd name="connsiteY0" fmla="*/ 95258 h 7365999"/>
              <a:gd name="connsiteX1" fmla="*/ 95258 w 13100634"/>
              <a:gd name="connsiteY1" fmla="*/ 0 h 7365999"/>
              <a:gd name="connsiteX2" fmla="*/ 12201525 w 13100634"/>
              <a:gd name="connsiteY2" fmla="*/ 8 h 7365999"/>
              <a:gd name="connsiteX3" fmla="*/ 12202311 w 13100634"/>
              <a:gd name="connsiteY3" fmla="*/ 6858000 h 7365999"/>
              <a:gd name="connsiteX4" fmla="*/ 95258 w 13100634"/>
              <a:gd name="connsiteY4" fmla="*/ 6858000 h 7365999"/>
              <a:gd name="connsiteX5" fmla="*/ 0 w 13100634"/>
              <a:gd name="connsiteY5" fmla="*/ 6762742 h 7365999"/>
              <a:gd name="connsiteX6" fmla="*/ 0 w 13100634"/>
              <a:gd name="connsiteY6" fmla="*/ 95258 h 7365999"/>
              <a:gd name="connsiteX0" fmla="*/ 0 w 12205175"/>
              <a:gd name="connsiteY0" fmla="*/ 95258 h 7365999"/>
              <a:gd name="connsiteX1" fmla="*/ 95258 w 12205175"/>
              <a:gd name="connsiteY1" fmla="*/ 0 h 7365999"/>
              <a:gd name="connsiteX2" fmla="*/ 12201525 w 12205175"/>
              <a:gd name="connsiteY2" fmla="*/ 8 h 7365999"/>
              <a:gd name="connsiteX3" fmla="*/ 12202311 w 12205175"/>
              <a:gd name="connsiteY3" fmla="*/ 6858000 h 7365999"/>
              <a:gd name="connsiteX4" fmla="*/ 95258 w 12205175"/>
              <a:gd name="connsiteY4" fmla="*/ 6858000 h 7365999"/>
              <a:gd name="connsiteX5" fmla="*/ 0 w 12205175"/>
              <a:gd name="connsiteY5" fmla="*/ 6762742 h 7365999"/>
              <a:gd name="connsiteX6" fmla="*/ 0 w 12205175"/>
              <a:gd name="connsiteY6" fmla="*/ 95258 h 7365999"/>
              <a:gd name="connsiteX0" fmla="*/ 0 w 12205175"/>
              <a:gd name="connsiteY0" fmla="*/ 95258 h 6858000"/>
              <a:gd name="connsiteX1" fmla="*/ 95258 w 12205175"/>
              <a:gd name="connsiteY1" fmla="*/ 0 h 6858000"/>
              <a:gd name="connsiteX2" fmla="*/ 12201525 w 12205175"/>
              <a:gd name="connsiteY2" fmla="*/ 8 h 6858000"/>
              <a:gd name="connsiteX3" fmla="*/ 12202311 w 12205175"/>
              <a:gd name="connsiteY3" fmla="*/ 6858000 h 6858000"/>
              <a:gd name="connsiteX4" fmla="*/ 95258 w 12205175"/>
              <a:gd name="connsiteY4" fmla="*/ 6858000 h 6858000"/>
              <a:gd name="connsiteX5" fmla="*/ 0 w 12205175"/>
              <a:gd name="connsiteY5" fmla="*/ 6762742 h 6858000"/>
              <a:gd name="connsiteX6" fmla="*/ 0 w 12205175"/>
              <a:gd name="connsiteY6" fmla="*/ 95258 h 6858000"/>
              <a:gd name="connsiteX0" fmla="*/ 0 w 12205175"/>
              <a:gd name="connsiteY0" fmla="*/ 95258 h 6858000"/>
              <a:gd name="connsiteX1" fmla="*/ 95258 w 12205175"/>
              <a:gd name="connsiteY1" fmla="*/ 0 h 6858000"/>
              <a:gd name="connsiteX2" fmla="*/ 12201525 w 12205175"/>
              <a:gd name="connsiteY2" fmla="*/ 8 h 6858000"/>
              <a:gd name="connsiteX3" fmla="*/ 12202311 w 12205175"/>
              <a:gd name="connsiteY3" fmla="*/ 6858000 h 6858000"/>
              <a:gd name="connsiteX4" fmla="*/ 95258 w 12205175"/>
              <a:gd name="connsiteY4" fmla="*/ 6858000 h 6858000"/>
              <a:gd name="connsiteX5" fmla="*/ 0 w 12205175"/>
              <a:gd name="connsiteY5" fmla="*/ 6762742 h 6858000"/>
              <a:gd name="connsiteX6" fmla="*/ 0 w 12205175"/>
              <a:gd name="connsiteY6" fmla="*/ 95258 h 6858000"/>
              <a:gd name="connsiteX0" fmla="*/ 0 w 12201542"/>
              <a:gd name="connsiteY0" fmla="*/ 95258 h 6858000"/>
              <a:gd name="connsiteX1" fmla="*/ 95258 w 12201542"/>
              <a:gd name="connsiteY1" fmla="*/ 0 h 6858000"/>
              <a:gd name="connsiteX2" fmla="*/ 12201525 w 12201542"/>
              <a:gd name="connsiteY2" fmla="*/ 8 h 6858000"/>
              <a:gd name="connsiteX3" fmla="*/ 9527477 w 12201542"/>
              <a:gd name="connsiteY3" fmla="*/ 6858000 h 6858000"/>
              <a:gd name="connsiteX4" fmla="*/ 95258 w 12201542"/>
              <a:gd name="connsiteY4" fmla="*/ 6858000 h 6858000"/>
              <a:gd name="connsiteX5" fmla="*/ 0 w 12201542"/>
              <a:gd name="connsiteY5" fmla="*/ 6762742 h 6858000"/>
              <a:gd name="connsiteX6" fmla="*/ 0 w 12201542"/>
              <a:gd name="connsiteY6" fmla="*/ 95258 h 6858000"/>
              <a:gd name="connsiteX0" fmla="*/ 0 w 9527477"/>
              <a:gd name="connsiteY0" fmla="*/ 103795 h 6866537"/>
              <a:gd name="connsiteX1" fmla="*/ 95258 w 9527477"/>
              <a:gd name="connsiteY1" fmla="*/ 8537 h 6866537"/>
              <a:gd name="connsiteX2" fmla="*/ 9518146 w 9527477"/>
              <a:gd name="connsiteY2" fmla="*/ 0 h 6866537"/>
              <a:gd name="connsiteX3" fmla="*/ 9527477 w 9527477"/>
              <a:gd name="connsiteY3" fmla="*/ 6866537 h 6866537"/>
              <a:gd name="connsiteX4" fmla="*/ 95258 w 9527477"/>
              <a:gd name="connsiteY4" fmla="*/ 6866537 h 6866537"/>
              <a:gd name="connsiteX5" fmla="*/ 0 w 9527477"/>
              <a:gd name="connsiteY5" fmla="*/ 6771279 h 6866537"/>
              <a:gd name="connsiteX6" fmla="*/ 0 w 9527477"/>
              <a:gd name="connsiteY6" fmla="*/ 103795 h 6866537"/>
              <a:gd name="connsiteX0" fmla="*/ 0 w 9527477"/>
              <a:gd name="connsiteY0" fmla="*/ 95258 h 6858000"/>
              <a:gd name="connsiteX1" fmla="*/ 95258 w 9527477"/>
              <a:gd name="connsiteY1" fmla="*/ 0 h 6858000"/>
              <a:gd name="connsiteX2" fmla="*/ 9236459 w 9527477"/>
              <a:gd name="connsiteY2" fmla="*/ 99804 h 6858000"/>
              <a:gd name="connsiteX3" fmla="*/ 9527477 w 9527477"/>
              <a:gd name="connsiteY3" fmla="*/ 6858000 h 6858000"/>
              <a:gd name="connsiteX4" fmla="*/ 95258 w 9527477"/>
              <a:gd name="connsiteY4" fmla="*/ 6858000 h 6858000"/>
              <a:gd name="connsiteX5" fmla="*/ 0 w 9527477"/>
              <a:gd name="connsiteY5" fmla="*/ 6762742 h 6858000"/>
              <a:gd name="connsiteX6" fmla="*/ 0 w 9527477"/>
              <a:gd name="connsiteY6" fmla="*/ 95258 h 6858000"/>
              <a:gd name="connsiteX0" fmla="*/ 0 w 9527477"/>
              <a:gd name="connsiteY0" fmla="*/ 95258 h 6858000"/>
              <a:gd name="connsiteX1" fmla="*/ 95258 w 9527477"/>
              <a:gd name="connsiteY1" fmla="*/ 0 h 6858000"/>
              <a:gd name="connsiteX2" fmla="*/ 9440140 w 9527477"/>
              <a:gd name="connsiteY2" fmla="*/ 39133 h 6858000"/>
              <a:gd name="connsiteX3" fmla="*/ 9527477 w 9527477"/>
              <a:gd name="connsiteY3" fmla="*/ 6858000 h 6858000"/>
              <a:gd name="connsiteX4" fmla="*/ 95258 w 9527477"/>
              <a:gd name="connsiteY4" fmla="*/ 6858000 h 6858000"/>
              <a:gd name="connsiteX5" fmla="*/ 0 w 9527477"/>
              <a:gd name="connsiteY5" fmla="*/ 6762742 h 6858000"/>
              <a:gd name="connsiteX6" fmla="*/ 0 w 9527477"/>
              <a:gd name="connsiteY6" fmla="*/ 95258 h 6858000"/>
              <a:gd name="connsiteX0" fmla="*/ 0 w 9527477"/>
              <a:gd name="connsiteY0" fmla="*/ 99461 h 6862203"/>
              <a:gd name="connsiteX1" fmla="*/ 95258 w 9527477"/>
              <a:gd name="connsiteY1" fmla="*/ 4203 h 6862203"/>
              <a:gd name="connsiteX2" fmla="*/ 9518146 w 9527477"/>
              <a:gd name="connsiteY2" fmla="*/ 0 h 6862203"/>
              <a:gd name="connsiteX3" fmla="*/ 9527477 w 9527477"/>
              <a:gd name="connsiteY3" fmla="*/ 6862203 h 6862203"/>
              <a:gd name="connsiteX4" fmla="*/ 95258 w 9527477"/>
              <a:gd name="connsiteY4" fmla="*/ 6862203 h 6862203"/>
              <a:gd name="connsiteX5" fmla="*/ 0 w 9527477"/>
              <a:gd name="connsiteY5" fmla="*/ 6766945 h 6862203"/>
              <a:gd name="connsiteX6" fmla="*/ 0 w 9527477"/>
              <a:gd name="connsiteY6" fmla="*/ 99461 h 6862203"/>
              <a:gd name="connsiteX0" fmla="*/ 0 w 9518600"/>
              <a:gd name="connsiteY0" fmla="*/ 99461 h 6862203"/>
              <a:gd name="connsiteX1" fmla="*/ 95258 w 9518600"/>
              <a:gd name="connsiteY1" fmla="*/ 4203 h 6862203"/>
              <a:gd name="connsiteX2" fmla="*/ 9518146 w 9518600"/>
              <a:gd name="connsiteY2" fmla="*/ 0 h 6862203"/>
              <a:gd name="connsiteX3" fmla="*/ 9427804 w 9518600"/>
              <a:gd name="connsiteY3" fmla="*/ 6862203 h 6862203"/>
              <a:gd name="connsiteX4" fmla="*/ 95258 w 9518600"/>
              <a:gd name="connsiteY4" fmla="*/ 6862203 h 6862203"/>
              <a:gd name="connsiteX5" fmla="*/ 0 w 9518600"/>
              <a:gd name="connsiteY5" fmla="*/ 6766945 h 6862203"/>
              <a:gd name="connsiteX6" fmla="*/ 0 w 9518600"/>
              <a:gd name="connsiteY6" fmla="*/ 99461 h 6862203"/>
              <a:gd name="connsiteX0" fmla="*/ 0 w 9521762"/>
              <a:gd name="connsiteY0" fmla="*/ 99461 h 6862203"/>
              <a:gd name="connsiteX1" fmla="*/ 95258 w 9521762"/>
              <a:gd name="connsiteY1" fmla="*/ 4203 h 6862203"/>
              <a:gd name="connsiteX2" fmla="*/ 9518146 w 9521762"/>
              <a:gd name="connsiteY2" fmla="*/ 0 h 6862203"/>
              <a:gd name="connsiteX3" fmla="*/ 9518810 w 9521762"/>
              <a:gd name="connsiteY3" fmla="*/ 6862203 h 6862203"/>
              <a:gd name="connsiteX4" fmla="*/ 95258 w 9521762"/>
              <a:gd name="connsiteY4" fmla="*/ 6862203 h 6862203"/>
              <a:gd name="connsiteX5" fmla="*/ 0 w 9521762"/>
              <a:gd name="connsiteY5" fmla="*/ 6766945 h 6862203"/>
              <a:gd name="connsiteX6" fmla="*/ 0 w 9521762"/>
              <a:gd name="connsiteY6" fmla="*/ 99461 h 6862203"/>
              <a:gd name="connsiteX0" fmla="*/ 0 w 9531950"/>
              <a:gd name="connsiteY0" fmla="*/ 199474 h 6962216"/>
              <a:gd name="connsiteX1" fmla="*/ 95258 w 9531950"/>
              <a:gd name="connsiteY1" fmla="*/ 104216 h 6962216"/>
              <a:gd name="connsiteX2" fmla="*/ 9530053 w 9531950"/>
              <a:gd name="connsiteY2" fmla="*/ 0 h 6962216"/>
              <a:gd name="connsiteX3" fmla="*/ 9518810 w 9531950"/>
              <a:gd name="connsiteY3" fmla="*/ 6962216 h 6962216"/>
              <a:gd name="connsiteX4" fmla="*/ 95258 w 9531950"/>
              <a:gd name="connsiteY4" fmla="*/ 6962216 h 6962216"/>
              <a:gd name="connsiteX5" fmla="*/ 0 w 9531950"/>
              <a:gd name="connsiteY5" fmla="*/ 6866958 h 6962216"/>
              <a:gd name="connsiteX6" fmla="*/ 0 w 9531950"/>
              <a:gd name="connsiteY6" fmla="*/ 199474 h 6962216"/>
              <a:gd name="connsiteX0" fmla="*/ 0 w 9518810"/>
              <a:gd name="connsiteY0" fmla="*/ 95258 h 6858000"/>
              <a:gd name="connsiteX1" fmla="*/ 95258 w 9518810"/>
              <a:gd name="connsiteY1" fmla="*/ 0 h 6858000"/>
              <a:gd name="connsiteX2" fmla="*/ 9470521 w 9518810"/>
              <a:gd name="connsiteY2" fmla="*/ 126766 h 6858000"/>
              <a:gd name="connsiteX3" fmla="*/ 9518810 w 9518810"/>
              <a:gd name="connsiteY3" fmla="*/ 6858000 h 6858000"/>
              <a:gd name="connsiteX4" fmla="*/ 95258 w 9518810"/>
              <a:gd name="connsiteY4" fmla="*/ 6858000 h 6858000"/>
              <a:gd name="connsiteX5" fmla="*/ 0 w 9518810"/>
              <a:gd name="connsiteY5" fmla="*/ 6762742 h 6858000"/>
              <a:gd name="connsiteX6" fmla="*/ 0 w 9518810"/>
              <a:gd name="connsiteY6" fmla="*/ 95258 h 6858000"/>
              <a:gd name="connsiteX0" fmla="*/ 0 w 9529768"/>
              <a:gd name="connsiteY0" fmla="*/ 97080 h 6859822"/>
              <a:gd name="connsiteX1" fmla="*/ 95258 w 9529768"/>
              <a:gd name="connsiteY1" fmla="*/ 1822 h 6859822"/>
              <a:gd name="connsiteX2" fmla="*/ 9527671 w 9529768"/>
              <a:gd name="connsiteY2" fmla="*/ 0 h 6859822"/>
              <a:gd name="connsiteX3" fmla="*/ 9518810 w 9529768"/>
              <a:gd name="connsiteY3" fmla="*/ 6859822 h 6859822"/>
              <a:gd name="connsiteX4" fmla="*/ 95258 w 9529768"/>
              <a:gd name="connsiteY4" fmla="*/ 6859822 h 6859822"/>
              <a:gd name="connsiteX5" fmla="*/ 0 w 9529768"/>
              <a:gd name="connsiteY5" fmla="*/ 6764564 h 6859822"/>
              <a:gd name="connsiteX6" fmla="*/ 0 w 9529768"/>
              <a:gd name="connsiteY6" fmla="*/ 97080 h 6859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9768" h="6859822">
                <a:moveTo>
                  <a:pt x="0" y="97080"/>
                </a:moveTo>
                <a:cubicBezTo>
                  <a:pt x="0" y="44470"/>
                  <a:pt x="42648" y="1822"/>
                  <a:pt x="95258" y="1822"/>
                </a:cubicBezTo>
                <a:lnTo>
                  <a:pt x="9527671" y="0"/>
                </a:lnTo>
                <a:cubicBezTo>
                  <a:pt x="9535612" y="2407049"/>
                  <a:pt x="9518417" y="3430826"/>
                  <a:pt x="9518810" y="6859822"/>
                </a:cubicBezTo>
                <a:lnTo>
                  <a:pt x="95258" y="6859822"/>
                </a:lnTo>
                <a:cubicBezTo>
                  <a:pt x="42648" y="6859822"/>
                  <a:pt x="0" y="6817174"/>
                  <a:pt x="0" y="6764564"/>
                </a:cubicBezTo>
                <a:lnTo>
                  <a:pt x="0" y="97080"/>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tel 1"/>
          <p:cNvSpPr>
            <a:spLocks noGrp="1"/>
          </p:cNvSpPr>
          <p:nvPr>
            <p:ph type="title"/>
          </p:nvPr>
        </p:nvSpPr>
        <p:spPr>
          <a:xfrm>
            <a:off x="2863515" y="-710349"/>
            <a:ext cx="8859071" cy="648000"/>
          </a:xfrm>
        </p:spPr>
        <p:txBody>
          <a:bodyPr anchor="b"/>
          <a:lstStyle>
            <a:lvl1pPr algn="r">
              <a:defRPr/>
            </a:lvl1pPr>
          </a:lstStyle>
          <a:p>
            <a:r>
              <a:rPr lang="nl-NL"/>
              <a:t>Klik om stijl te bewerken</a:t>
            </a:r>
            <a:endParaRPr lang="en-GB" dirty="0"/>
          </a:p>
        </p:txBody>
      </p:sp>
      <p:sp>
        <p:nvSpPr>
          <p:cNvPr id="10" name="Tekstvak 9"/>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Afbeelding (XXL)</a:t>
            </a:r>
          </a:p>
        </p:txBody>
      </p:sp>
      <p:grpSp>
        <p:nvGrpSpPr>
          <p:cNvPr id="49" name="Groep 48">
            <a:extLst>
              <a:ext uri="{FF2B5EF4-FFF2-40B4-BE49-F238E27FC236}">
                <a16:creationId xmlns:a16="http://schemas.microsoft.com/office/drawing/2014/main" id="{1CB86391-C3A1-48A9-83A9-CDA9762F1594}"/>
              </a:ext>
            </a:extLst>
          </p:cNvPr>
          <p:cNvGrpSpPr/>
          <p:nvPr userDrawn="1"/>
        </p:nvGrpSpPr>
        <p:grpSpPr>
          <a:xfrm>
            <a:off x="12363871" y="-26002"/>
            <a:ext cx="3064812" cy="4530930"/>
            <a:chOff x="15419739" y="-26002"/>
            <a:chExt cx="3064812" cy="4530930"/>
          </a:xfrm>
        </p:grpSpPr>
        <p:sp>
          <p:nvSpPr>
            <p:cNvPr id="50" name="Tekstvak 33">
              <a:extLst>
                <a:ext uri="{FF2B5EF4-FFF2-40B4-BE49-F238E27FC236}">
                  <a16:creationId xmlns:a16="http://schemas.microsoft.com/office/drawing/2014/main" id="{2ADCA6F7-250E-4B72-B0DE-999BA8D650E9}"/>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51" name="Tekstvak 33">
              <a:extLst>
                <a:ext uri="{FF2B5EF4-FFF2-40B4-BE49-F238E27FC236}">
                  <a16:creationId xmlns:a16="http://schemas.microsoft.com/office/drawing/2014/main" id="{3D453C5E-479D-4F1D-9BFA-30110A165968}"/>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52" name="Ovaal 51">
              <a:extLst>
                <a:ext uri="{FF2B5EF4-FFF2-40B4-BE49-F238E27FC236}">
                  <a16:creationId xmlns:a16="http://schemas.microsoft.com/office/drawing/2014/main" id="{59F34422-D145-4BF6-A5D7-5A45F15882CF}"/>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53" name="Ovaal 52">
              <a:extLst>
                <a:ext uri="{FF2B5EF4-FFF2-40B4-BE49-F238E27FC236}">
                  <a16:creationId xmlns:a16="http://schemas.microsoft.com/office/drawing/2014/main" id="{4ADA4B64-59B4-479B-9F6E-5DE33E2E0DCC}"/>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54" name="Picture 3">
              <a:extLst>
                <a:ext uri="{FF2B5EF4-FFF2-40B4-BE49-F238E27FC236}">
                  <a16:creationId xmlns:a16="http://schemas.microsoft.com/office/drawing/2014/main" id="{10A71998-BA22-4DB3-B07F-8262582350FC}"/>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55" name="Picture 3">
              <a:extLst>
                <a:ext uri="{FF2B5EF4-FFF2-40B4-BE49-F238E27FC236}">
                  <a16:creationId xmlns:a16="http://schemas.microsoft.com/office/drawing/2014/main" id="{1267A3F0-F5E6-42C8-8255-B54664104A90}"/>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56" name="Tekstvak 55">
              <a:extLst>
                <a:ext uri="{FF2B5EF4-FFF2-40B4-BE49-F238E27FC236}">
                  <a16:creationId xmlns:a16="http://schemas.microsoft.com/office/drawing/2014/main" id="{5D1F6466-7E88-4C40-A76B-97C83D60BF13}"/>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57" name="Rechthoek 56">
              <a:extLst>
                <a:ext uri="{FF2B5EF4-FFF2-40B4-BE49-F238E27FC236}">
                  <a16:creationId xmlns:a16="http://schemas.microsoft.com/office/drawing/2014/main" id="{10BCE57B-8314-47AB-A6BE-574598C816CC}"/>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58" name="Groep 57">
              <a:extLst>
                <a:ext uri="{FF2B5EF4-FFF2-40B4-BE49-F238E27FC236}">
                  <a16:creationId xmlns:a16="http://schemas.microsoft.com/office/drawing/2014/main" id="{BB7B2A28-7AEE-40D5-9733-8D3A2C919095}"/>
                </a:ext>
              </a:extLst>
            </p:cNvPr>
            <p:cNvGrpSpPr/>
            <p:nvPr userDrawn="1"/>
          </p:nvGrpSpPr>
          <p:grpSpPr>
            <a:xfrm>
              <a:off x="15563079" y="358984"/>
              <a:ext cx="2489424" cy="4145944"/>
              <a:chOff x="15563079" y="358984"/>
              <a:chExt cx="2315772" cy="4145944"/>
            </a:xfrm>
          </p:grpSpPr>
          <p:cxnSp>
            <p:nvCxnSpPr>
              <p:cNvPr id="60" name="Rechte verbindingslijn 59">
                <a:extLst>
                  <a:ext uri="{FF2B5EF4-FFF2-40B4-BE49-F238E27FC236}">
                    <a16:creationId xmlns:a16="http://schemas.microsoft.com/office/drawing/2014/main" id="{01932068-E8F3-44CA-AA82-2D843012EC09}"/>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86E371A4-53F6-4D69-A675-664419DD843B}"/>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03719C9B-17A2-4360-8F5A-F299E9B3973B}"/>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59" name="Afbeelding 58">
              <a:extLst>
                <a:ext uri="{FF2B5EF4-FFF2-40B4-BE49-F238E27FC236}">
                  <a16:creationId xmlns:a16="http://schemas.microsoft.com/office/drawing/2014/main" id="{10AA9EE2-B9F0-4E48-B247-7B2A80B4D54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pic>
        <p:nvPicPr>
          <p:cNvPr id="12" name="Afbeelding 11">
            <a:extLst>
              <a:ext uri="{FF2B5EF4-FFF2-40B4-BE49-F238E27FC236}">
                <a16:creationId xmlns:a16="http://schemas.microsoft.com/office/drawing/2014/main" id="{B4D2D389-F56E-47FE-9C6D-2A7B53EF501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892888" y="5274334"/>
            <a:ext cx="1778595" cy="578317"/>
          </a:xfrm>
          <a:prstGeom prst="rect">
            <a:avLst/>
          </a:prstGeom>
        </p:spPr>
      </p:pic>
      <p:pic>
        <p:nvPicPr>
          <p:cNvPr id="14" name="Afbeelding 13">
            <a:extLst>
              <a:ext uri="{FF2B5EF4-FFF2-40B4-BE49-F238E27FC236}">
                <a16:creationId xmlns:a16="http://schemas.microsoft.com/office/drawing/2014/main" id="{3FC69205-9594-477F-BFFF-D9C3D9F4F27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34467" y="6147270"/>
            <a:ext cx="1778599" cy="578317"/>
          </a:xfrm>
          <a:prstGeom prst="rect">
            <a:avLst/>
          </a:prstGeom>
        </p:spPr>
      </p:pic>
      <p:pic>
        <p:nvPicPr>
          <p:cNvPr id="16" name="Afbeelding 15">
            <a:extLst>
              <a:ext uri="{FF2B5EF4-FFF2-40B4-BE49-F238E27FC236}">
                <a16:creationId xmlns:a16="http://schemas.microsoft.com/office/drawing/2014/main" id="{3CD5E66E-7135-4756-8E3E-FF84E48FD52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936848" y="3363418"/>
            <a:ext cx="1778595" cy="578316"/>
          </a:xfrm>
          <a:prstGeom prst="rect">
            <a:avLst/>
          </a:prstGeom>
        </p:spPr>
      </p:pic>
      <p:pic>
        <p:nvPicPr>
          <p:cNvPr id="9" name="Afbeelding 8">
            <a:extLst>
              <a:ext uri="{FF2B5EF4-FFF2-40B4-BE49-F238E27FC236}">
                <a16:creationId xmlns:a16="http://schemas.microsoft.com/office/drawing/2014/main" id="{221A9D0A-4E28-46E7-9C8A-15FF9CFEACE8}"/>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934467" y="4697933"/>
            <a:ext cx="1778595" cy="578316"/>
          </a:xfrm>
          <a:prstGeom prst="rect">
            <a:avLst/>
          </a:prstGeom>
        </p:spPr>
      </p:pic>
      <p:sp>
        <p:nvSpPr>
          <p:cNvPr id="7" name="Rechthoek 6">
            <a:extLst>
              <a:ext uri="{FF2B5EF4-FFF2-40B4-BE49-F238E27FC236}">
                <a16:creationId xmlns:a16="http://schemas.microsoft.com/office/drawing/2014/main" id="{96572EB2-87AA-47A6-9156-C3275FEA7BBC}"/>
              </a:ext>
            </a:extLst>
          </p:cNvPr>
          <p:cNvSpPr/>
          <p:nvPr userDrawn="1"/>
        </p:nvSpPr>
        <p:spPr>
          <a:xfrm>
            <a:off x="9520032" y="0"/>
            <a:ext cx="2675143" cy="5986830"/>
          </a:xfrm>
          <a:custGeom>
            <a:avLst/>
            <a:gdLst>
              <a:gd name="connsiteX0" fmla="*/ 0 w 2674951"/>
              <a:gd name="connsiteY0" fmla="*/ 0 h 5986829"/>
              <a:gd name="connsiteX1" fmla="*/ 2674951 w 2674951"/>
              <a:gd name="connsiteY1" fmla="*/ 0 h 5986829"/>
              <a:gd name="connsiteX2" fmla="*/ 2674951 w 2674951"/>
              <a:gd name="connsiteY2" fmla="*/ 5986829 h 5986829"/>
              <a:gd name="connsiteX3" fmla="*/ 0 w 2674951"/>
              <a:gd name="connsiteY3" fmla="*/ 5986829 h 5986829"/>
              <a:gd name="connsiteX4" fmla="*/ 0 w 2674951"/>
              <a:gd name="connsiteY4" fmla="*/ 0 h 5986829"/>
              <a:gd name="connsiteX0" fmla="*/ 0 w 2676539"/>
              <a:gd name="connsiteY0" fmla="*/ 0 h 5986829"/>
              <a:gd name="connsiteX1" fmla="*/ 2674951 w 2676539"/>
              <a:gd name="connsiteY1" fmla="*/ 0 h 5986829"/>
              <a:gd name="connsiteX2" fmla="*/ 2676539 w 2676539"/>
              <a:gd name="connsiteY2" fmla="*/ 33096 h 5986829"/>
              <a:gd name="connsiteX3" fmla="*/ 2674951 w 2676539"/>
              <a:gd name="connsiteY3" fmla="*/ 5986829 h 5986829"/>
              <a:gd name="connsiteX4" fmla="*/ 0 w 2676539"/>
              <a:gd name="connsiteY4" fmla="*/ 5986829 h 5986829"/>
              <a:gd name="connsiteX5" fmla="*/ 0 w 2676539"/>
              <a:gd name="connsiteY5" fmla="*/ 0 h 5986829"/>
              <a:gd name="connsiteX0" fmla="*/ 0 w 2676539"/>
              <a:gd name="connsiteY0" fmla="*/ 242 h 5987071"/>
              <a:gd name="connsiteX1" fmla="*/ 2640820 w 2676539"/>
              <a:gd name="connsiteY1" fmla="*/ 0 h 5987071"/>
              <a:gd name="connsiteX2" fmla="*/ 2674951 w 2676539"/>
              <a:gd name="connsiteY2" fmla="*/ 242 h 5987071"/>
              <a:gd name="connsiteX3" fmla="*/ 2676539 w 2676539"/>
              <a:gd name="connsiteY3" fmla="*/ 33338 h 5987071"/>
              <a:gd name="connsiteX4" fmla="*/ 2674951 w 2676539"/>
              <a:gd name="connsiteY4" fmla="*/ 5987071 h 5987071"/>
              <a:gd name="connsiteX5" fmla="*/ 0 w 2676539"/>
              <a:gd name="connsiteY5" fmla="*/ 5987071 h 5987071"/>
              <a:gd name="connsiteX6" fmla="*/ 0 w 2676539"/>
              <a:gd name="connsiteY6" fmla="*/ 242 h 5987071"/>
              <a:gd name="connsiteX0" fmla="*/ 0 w 2676539"/>
              <a:gd name="connsiteY0" fmla="*/ 242 h 5987071"/>
              <a:gd name="connsiteX1" fmla="*/ 2640820 w 2676539"/>
              <a:gd name="connsiteY1" fmla="*/ 0 h 5987071"/>
              <a:gd name="connsiteX2" fmla="*/ 2676539 w 2676539"/>
              <a:gd name="connsiteY2" fmla="*/ 33338 h 5987071"/>
              <a:gd name="connsiteX3" fmla="*/ 2674951 w 2676539"/>
              <a:gd name="connsiteY3" fmla="*/ 5987071 h 5987071"/>
              <a:gd name="connsiteX4" fmla="*/ 0 w 2676539"/>
              <a:gd name="connsiteY4" fmla="*/ 5987071 h 5987071"/>
              <a:gd name="connsiteX5" fmla="*/ 0 w 2676539"/>
              <a:gd name="connsiteY5" fmla="*/ 242 h 5987071"/>
              <a:gd name="connsiteX0" fmla="*/ 0 w 2847421"/>
              <a:gd name="connsiteY0" fmla="*/ 444778 h 6431607"/>
              <a:gd name="connsiteX1" fmla="*/ 2640820 w 2847421"/>
              <a:gd name="connsiteY1" fmla="*/ 444536 h 6431607"/>
              <a:gd name="connsiteX2" fmla="*/ 2676539 w 2847421"/>
              <a:gd name="connsiteY2" fmla="*/ 477874 h 6431607"/>
              <a:gd name="connsiteX3" fmla="*/ 2674951 w 2847421"/>
              <a:gd name="connsiteY3" fmla="*/ 6431607 h 6431607"/>
              <a:gd name="connsiteX4" fmla="*/ 0 w 2847421"/>
              <a:gd name="connsiteY4" fmla="*/ 6431607 h 6431607"/>
              <a:gd name="connsiteX5" fmla="*/ 0 w 2847421"/>
              <a:gd name="connsiteY5" fmla="*/ 444778 h 6431607"/>
              <a:gd name="connsiteX0" fmla="*/ 0 w 2847421"/>
              <a:gd name="connsiteY0" fmla="*/ 444778 h 6431607"/>
              <a:gd name="connsiteX1" fmla="*/ 2640820 w 2847421"/>
              <a:gd name="connsiteY1" fmla="*/ 444536 h 6431607"/>
              <a:gd name="connsiteX2" fmla="*/ 2676539 w 2847421"/>
              <a:gd name="connsiteY2" fmla="*/ 477874 h 6431607"/>
              <a:gd name="connsiteX3" fmla="*/ 2674951 w 2847421"/>
              <a:gd name="connsiteY3" fmla="*/ 6431607 h 6431607"/>
              <a:gd name="connsiteX4" fmla="*/ 0 w 2847421"/>
              <a:gd name="connsiteY4" fmla="*/ 6431607 h 6431607"/>
              <a:gd name="connsiteX5" fmla="*/ 0 w 2847421"/>
              <a:gd name="connsiteY5" fmla="*/ 444778 h 6431607"/>
              <a:gd name="connsiteX0" fmla="*/ 0 w 2847421"/>
              <a:gd name="connsiteY0" fmla="*/ 441603 h 6428432"/>
              <a:gd name="connsiteX1" fmla="*/ 2640820 w 2847421"/>
              <a:gd name="connsiteY1" fmla="*/ 441361 h 6428432"/>
              <a:gd name="connsiteX2" fmla="*/ 2676539 w 2847421"/>
              <a:gd name="connsiteY2" fmla="*/ 474699 h 6428432"/>
              <a:gd name="connsiteX3" fmla="*/ 2674951 w 2847421"/>
              <a:gd name="connsiteY3" fmla="*/ 6428432 h 6428432"/>
              <a:gd name="connsiteX4" fmla="*/ 0 w 2847421"/>
              <a:gd name="connsiteY4" fmla="*/ 6428432 h 6428432"/>
              <a:gd name="connsiteX5" fmla="*/ 0 w 2847421"/>
              <a:gd name="connsiteY5" fmla="*/ 441603 h 6428432"/>
              <a:gd name="connsiteX0" fmla="*/ 0 w 2847421"/>
              <a:gd name="connsiteY0" fmla="*/ 441603 h 6428432"/>
              <a:gd name="connsiteX1" fmla="*/ 2640820 w 2847421"/>
              <a:gd name="connsiteY1" fmla="*/ 441361 h 6428432"/>
              <a:gd name="connsiteX2" fmla="*/ 2676539 w 2847421"/>
              <a:gd name="connsiteY2" fmla="*/ 474699 h 6428432"/>
              <a:gd name="connsiteX3" fmla="*/ 2674951 w 2847421"/>
              <a:gd name="connsiteY3" fmla="*/ 6428432 h 6428432"/>
              <a:gd name="connsiteX4" fmla="*/ 0 w 2847421"/>
              <a:gd name="connsiteY4" fmla="*/ 6428432 h 6428432"/>
              <a:gd name="connsiteX5" fmla="*/ 0 w 2847421"/>
              <a:gd name="connsiteY5" fmla="*/ 441603 h 6428432"/>
              <a:gd name="connsiteX0" fmla="*/ 0 w 2847421"/>
              <a:gd name="connsiteY0" fmla="*/ 441603 h 6428432"/>
              <a:gd name="connsiteX1" fmla="*/ 2640820 w 2847421"/>
              <a:gd name="connsiteY1" fmla="*/ 441361 h 6428432"/>
              <a:gd name="connsiteX2" fmla="*/ 2676539 w 2847421"/>
              <a:gd name="connsiteY2" fmla="*/ 474699 h 6428432"/>
              <a:gd name="connsiteX3" fmla="*/ 2674951 w 2847421"/>
              <a:gd name="connsiteY3" fmla="*/ 6428432 h 6428432"/>
              <a:gd name="connsiteX4" fmla="*/ 0 w 2847421"/>
              <a:gd name="connsiteY4" fmla="*/ 6428432 h 6428432"/>
              <a:gd name="connsiteX5" fmla="*/ 0 w 2847421"/>
              <a:gd name="connsiteY5" fmla="*/ 441603 h 6428432"/>
              <a:gd name="connsiteX0" fmla="*/ 0 w 2847421"/>
              <a:gd name="connsiteY0" fmla="*/ 441603 h 6428432"/>
              <a:gd name="connsiteX1" fmla="*/ 2640820 w 2847421"/>
              <a:gd name="connsiteY1" fmla="*/ 441361 h 6428432"/>
              <a:gd name="connsiteX2" fmla="*/ 2676539 w 2847421"/>
              <a:gd name="connsiteY2" fmla="*/ 474699 h 6428432"/>
              <a:gd name="connsiteX3" fmla="*/ 2674951 w 2847421"/>
              <a:gd name="connsiteY3" fmla="*/ 6428432 h 6428432"/>
              <a:gd name="connsiteX4" fmla="*/ 0 w 2847421"/>
              <a:gd name="connsiteY4" fmla="*/ 6428432 h 6428432"/>
              <a:gd name="connsiteX5" fmla="*/ 0 w 2847421"/>
              <a:gd name="connsiteY5" fmla="*/ 441603 h 6428432"/>
              <a:gd name="connsiteX0" fmla="*/ 0 w 2847421"/>
              <a:gd name="connsiteY0" fmla="*/ 417937 h 6404766"/>
              <a:gd name="connsiteX1" fmla="*/ 2640820 w 2847421"/>
              <a:gd name="connsiteY1" fmla="*/ 417695 h 6404766"/>
              <a:gd name="connsiteX2" fmla="*/ 2676539 w 2847421"/>
              <a:gd name="connsiteY2" fmla="*/ 451033 h 6404766"/>
              <a:gd name="connsiteX3" fmla="*/ 2674951 w 2847421"/>
              <a:gd name="connsiteY3" fmla="*/ 6404766 h 6404766"/>
              <a:gd name="connsiteX4" fmla="*/ 0 w 2847421"/>
              <a:gd name="connsiteY4" fmla="*/ 6404766 h 6404766"/>
              <a:gd name="connsiteX5" fmla="*/ 0 w 2847421"/>
              <a:gd name="connsiteY5" fmla="*/ 417937 h 6404766"/>
              <a:gd name="connsiteX0" fmla="*/ 0 w 2676539"/>
              <a:gd name="connsiteY0" fmla="*/ 419028 h 6405857"/>
              <a:gd name="connsiteX1" fmla="*/ 2640820 w 2676539"/>
              <a:gd name="connsiteY1" fmla="*/ 418786 h 6405857"/>
              <a:gd name="connsiteX2" fmla="*/ 2676539 w 2676539"/>
              <a:gd name="connsiteY2" fmla="*/ 452124 h 6405857"/>
              <a:gd name="connsiteX3" fmla="*/ 2674951 w 2676539"/>
              <a:gd name="connsiteY3" fmla="*/ 6405857 h 6405857"/>
              <a:gd name="connsiteX4" fmla="*/ 0 w 2676539"/>
              <a:gd name="connsiteY4" fmla="*/ 6405857 h 6405857"/>
              <a:gd name="connsiteX5" fmla="*/ 0 w 2676539"/>
              <a:gd name="connsiteY5" fmla="*/ 419028 h 6405857"/>
              <a:gd name="connsiteX0" fmla="*/ 0 w 2847421"/>
              <a:gd name="connsiteY0" fmla="*/ 417937 h 6404766"/>
              <a:gd name="connsiteX1" fmla="*/ 2640820 w 2847421"/>
              <a:gd name="connsiteY1" fmla="*/ 417695 h 6404766"/>
              <a:gd name="connsiteX2" fmla="*/ 2676539 w 2847421"/>
              <a:gd name="connsiteY2" fmla="*/ 451033 h 6404766"/>
              <a:gd name="connsiteX3" fmla="*/ 2674951 w 2847421"/>
              <a:gd name="connsiteY3" fmla="*/ 6404766 h 6404766"/>
              <a:gd name="connsiteX4" fmla="*/ 0 w 2847421"/>
              <a:gd name="connsiteY4" fmla="*/ 6404766 h 6404766"/>
              <a:gd name="connsiteX5" fmla="*/ 0 w 2847421"/>
              <a:gd name="connsiteY5" fmla="*/ 417937 h 6404766"/>
              <a:gd name="connsiteX0" fmla="*/ 0 w 2849713"/>
              <a:gd name="connsiteY0" fmla="*/ 242 h 5987071"/>
              <a:gd name="connsiteX1" fmla="*/ 2640820 w 2849713"/>
              <a:gd name="connsiteY1" fmla="*/ 0 h 5987071"/>
              <a:gd name="connsiteX2" fmla="*/ 2676539 w 2849713"/>
              <a:gd name="connsiteY2" fmla="*/ 33338 h 5987071"/>
              <a:gd name="connsiteX3" fmla="*/ 2674951 w 2849713"/>
              <a:gd name="connsiteY3" fmla="*/ 5987071 h 5987071"/>
              <a:gd name="connsiteX4" fmla="*/ 0 w 2849713"/>
              <a:gd name="connsiteY4" fmla="*/ 5987071 h 5987071"/>
              <a:gd name="connsiteX5" fmla="*/ 0 w 2849713"/>
              <a:gd name="connsiteY5" fmla="*/ 242 h 5987071"/>
              <a:gd name="connsiteX0" fmla="*/ 0 w 2677073"/>
              <a:gd name="connsiteY0" fmla="*/ 242 h 5987071"/>
              <a:gd name="connsiteX1" fmla="*/ 2640820 w 2677073"/>
              <a:gd name="connsiteY1" fmla="*/ 0 h 5987071"/>
              <a:gd name="connsiteX2" fmla="*/ 2676539 w 2677073"/>
              <a:gd name="connsiteY2" fmla="*/ 33338 h 5987071"/>
              <a:gd name="connsiteX3" fmla="*/ 2674951 w 2677073"/>
              <a:gd name="connsiteY3" fmla="*/ 5987071 h 5987071"/>
              <a:gd name="connsiteX4" fmla="*/ 0 w 2677073"/>
              <a:gd name="connsiteY4" fmla="*/ 5987071 h 5987071"/>
              <a:gd name="connsiteX5" fmla="*/ 0 w 2677073"/>
              <a:gd name="connsiteY5" fmla="*/ 242 h 5987071"/>
              <a:gd name="connsiteX0" fmla="*/ 0 w 2676539"/>
              <a:gd name="connsiteY0" fmla="*/ 242 h 5987071"/>
              <a:gd name="connsiteX1" fmla="*/ 2640820 w 2676539"/>
              <a:gd name="connsiteY1" fmla="*/ 0 h 5987071"/>
              <a:gd name="connsiteX2" fmla="*/ 2676539 w 2676539"/>
              <a:gd name="connsiteY2" fmla="*/ 33338 h 5987071"/>
              <a:gd name="connsiteX3" fmla="*/ 2674951 w 2676539"/>
              <a:gd name="connsiteY3" fmla="*/ 5987071 h 5987071"/>
              <a:gd name="connsiteX4" fmla="*/ 0 w 2676539"/>
              <a:gd name="connsiteY4" fmla="*/ 5987071 h 5987071"/>
              <a:gd name="connsiteX5" fmla="*/ 0 w 2676539"/>
              <a:gd name="connsiteY5" fmla="*/ 242 h 5987071"/>
              <a:gd name="connsiteX0" fmla="*/ 0 w 2676539"/>
              <a:gd name="connsiteY0" fmla="*/ 242 h 5987071"/>
              <a:gd name="connsiteX1" fmla="*/ 2640820 w 2676539"/>
              <a:gd name="connsiteY1" fmla="*/ 0 h 5987071"/>
              <a:gd name="connsiteX2" fmla="*/ 2676539 w 2676539"/>
              <a:gd name="connsiteY2" fmla="*/ 33338 h 5987071"/>
              <a:gd name="connsiteX3" fmla="*/ 2674951 w 2676539"/>
              <a:gd name="connsiteY3" fmla="*/ 5987071 h 5987071"/>
              <a:gd name="connsiteX4" fmla="*/ 0 w 2676539"/>
              <a:gd name="connsiteY4" fmla="*/ 5987071 h 5987071"/>
              <a:gd name="connsiteX5" fmla="*/ 0 w 2676539"/>
              <a:gd name="connsiteY5" fmla="*/ 242 h 5987071"/>
              <a:gd name="connsiteX0" fmla="*/ 0 w 2676539"/>
              <a:gd name="connsiteY0" fmla="*/ 242 h 5987071"/>
              <a:gd name="connsiteX1" fmla="*/ 2633676 w 2676539"/>
              <a:gd name="connsiteY1" fmla="*/ 0 h 5987071"/>
              <a:gd name="connsiteX2" fmla="*/ 2676539 w 2676539"/>
              <a:gd name="connsiteY2" fmla="*/ 33338 h 5987071"/>
              <a:gd name="connsiteX3" fmla="*/ 2674951 w 2676539"/>
              <a:gd name="connsiteY3" fmla="*/ 5987071 h 5987071"/>
              <a:gd name="connsiteX4" fmla="*/ 0 w 2676539"/>
              <a:gd name="connsiteY4" fmla="*/ 5987071 h 5987071"/>
              <a:gd name="connsiteX5" fmla="*/ 0 w 2676539"/>
              <a:gd name="connsiteY5" fmla="*/ 242 h 5987071"/>
              <a:gd name="connsiteX0" fmla="*/ 0 w 2843351"/>
              <a:gd name="connsiteY0" fmla="*/ 242 h 5987071"/>
              <a:gd name="connsiteX1" fmla="*/ 2633676 w 2843351"/>
              <a:gd name="connsiteY1" fmla="*/ 0 h 5987071"/>
              <a:gd name="connsiteX2" fmla="*/ 2676539 w 2843351"/>
              <a:gd name="connsiteY2" fmla="*/ 54770 h 5987071"/>
              <a:gd name="connsiteX3" fmla="*/ 2674951 w 2843351"/>
              <a:gd name="connsiteY3" fmla="*/ 5987071 h 5987071"/>
              <a:gd name="connsiteX4" fmla="*/ 0 w 2843351"/>
              <a:gd name="connsiteY4" fmla="*/ 5987071 h 5987071"/>
              <a:gd name="connsiteX5" fmla="*/ 0 w 2843351"/>
              <a:gd name="connsiteY5" fmla="*/ 242 h 5987071"/>
              <a:gd name="connsiteX0" fmla="*/ 0 w 2676539"/>
              <a:gd name="connsiteY0" fmla="*/ 242 h 5987071"/>
              <a:gd name="connsiteX1" fmla="*/ 2633676 w 2676539"/>
              <a:gd name="connsiteY1" fmla="*/ 0 h 5987071"/>
              <a:gd name="connsiteX2" fmla="*/ 2676539 w 2676539"/>
              <a:gd name="connsiteY2" fmla="*/ 54770 h 5987071"/>
              <a:gd name="connsiteX3" fmla="*/ 2674951 w 2676539"/>
              <a:gd name="connsiteY3" fmla="*/ 5987071 h 5987071"/>
              <a:gd name="connsiteX4" fmla="*/ 0 w 2676539"/>
              <a:gd name="connsiteY4" fmla="*/ 5987071 h 5987071"/>
              <a:gd name="connsiteX5" fmla="*/ 0 w 2676539"/>
              <a:gd name="connsiteY5" fmla="*/ 242 h 5987071"/>
              <a:gd name="connsiteX0" fmla="*/ 0 w 2676539"/>
              <a:gd name="connsiteY0" fmla="*/ 242 h 5987071"/>
              <a:gd name="connsiteX1" fmla="*/ 2633676 w 2676539"/>
              <a:gd name="connsiteY1" fmla="*/ 0 h 5987071"/>
              <a:gd name="connsiteX2" fmla="*/ 2676539 w 2676539"/>
              <a:gd name="connsiteY2" fmla="*/ 54770 h 5987071"/>
              <a:gd name="connsiteX3" fmla="*/ 2674951 w 2676539"/>
              <a:gd name="connsiteY3" fmla="*/ 5987071 h 5987071"/>
              <a:gd name="connsiteX4" fmla="*/ 0 w 2676539"/>
              <a:gd name="connsiteY4" fmla="*/ 5987071 h 5987071"/>
              <a:gd name="connsiteX5" fmla="*/ 0 w 2676539"/>
              <a:gd name="connsiteY5" fmla="*/ 242 h 5987071"/>
              <a:gd name="connsiteX0" fmla="*/ 0 w 2676569"/>
              <a:gd name="connsiteY0" fmla="*/ 242 h 5987071"/>
              <a:gd name="connsiteX1" fmla="*/ 2633676 w 2676569"/>
              <a:gd name="connsiteY1" fmla="*/ 0 h 5987071"/>
              <a:gd name="connsiteX2" fmla="*/ 2676539 w 2676569"/>
              <a:gd name="connsiteY2" fmla="*/ 54770 h 5987071"/>
              <a:gd name="connsiteX3" fmla="*/ 2674951 w 2676569"/>
              <a:gd name="connsiteY3" fmla="*/ 5987071 h 5987071"/>
              <a:gd name="connsiteX4" fmla="*/ 0 w 2676569"/>
              <a:gd name="connsiteY4" fmla="*/ 5987071 h 5987071"/>
              <a:gd name="connsiteX5" fmla="*/ 0 w 2676569"/>
              <a:gd name="connsiteY5" fmla="*/ 242 h 5987071"/>
              <a:gd name="connsiteX0" fmla="*/ 0 w 2679329"/>
              <a:gd name="connsiteY0" fmla="*/ 397251 h 6384080"/>
              <a:gd name="connsiteX1" fmla="*/ 2633676 w 2679329"/>
              <a:gd name="connsiteY1" fmla="*/ 397009 h 6384080"/>
              <a:gd name="connsiteX2" fmla="*/ 2676539 w 2679329"/>
              <a:gd name="connsiteY2" fmla="*/ 451779 h 6384080"/>
              <a:gd name="connsiteX3" fmla="*/ 2674951 w 2679329"/>
              <a:gd name="connsiteY3" fmla="*/ 6384080 h 6384080"/>
              <a:gd name="connsiteX4" fmla="*/ 0 w 2679329"/>
              <a:gd name="connsiteY4" fmla="*/ 6384080 h 6384080"/>
              <a:gd name="connsiteX5" fmla="*/ 0 w 2679329"/>
              <a:gd name="connsiteY5" fmla="*/ 397251 h 6384080"/>
              <a:gd name="connsiteX0" fmla="*/ 0 w 2679329"/>
              <a:gd name="connsiteY0" fmla="*/ 403897 h 6390726"/>
              <a:gd name="connsiteX1" fmla="*/ 2633676 w 2679329"/>
              <a:gd name="connsiteY1" fmla="*/ 403655 h 6390726"/>
              <a:gd name="connsiteX2" fmla="*/ 2676539 w 2679329"/>
              <a:gd name="connsiteY2" fmla="*/ 458425 h 6390726"/>
              <a:gd name="connsiteX3" fmla="*/ 2674951 w 2679329"/>
              <a:gd name="connsiteY3" fmla="*/ 6390726 h 6390726"/>
              <a:gd name="connsiteX4" fmla="*/ 0 w 2679329"/>
              <a:gd name="connsiteY4" fmla="*/ 6390726 h 6390726"/>
              <a:gd name="connsiteX5" fmla="*/ 0 w 2679329"/>
              <a:gd name="connsiteY5" fmla="*/ 403897 h 6390726"/>
              <a:gd name="connsiteX0" fmla="*/ 0 w 2842019"/>
              <a:gd name="connsiteY0" fmla="*/ 401491 h 6388320"/>
              <a:gd name="connsiteX1" fmla="*/ 2633676 w 2842019"/>
              <a:gd name="connsiteY1" fmla="*/ 401249 h 6388320"/>
              <a:gd name="connsiteX2" fmla="*/ 2676539 w 2842019"/>
              <a:gd name="connsiteY2" fmla="*/ 456019 h 6388320"/>
              <a:gd name="connsiteX3" fmla="*/ 2674951 w 2842019"/>
              <a:gd name="connsiteY3" fmla="*/ 6388320 h 6388320"/>
              <a:gd name="connsiteX4" fmla="*/ 0 w 2842019"/>
              <a:gd name="connsiteY4" fmla="*/ 6388320 h 6388320"/>
              <a:gd name="connsiteX5" fmla="*/ 0 w 2842019"/>
              <a:gd name="connsiteY5" fmla="*/ 401491 h 6388320"/>
              <a:gd name="connsiteX0" fmla="*/ 0 w 2843760"/>
              <a:gd name="connsiteY0" fmla="*/ 242 h 5987071"/>
              <a:gd name="connsiteX1" fmla="*/ 2633676 w 2843760"/>
              <a:gd name="connsiteY1" fmla="*/ 0 h 5987071"/>
              <a:gd name="connsiteX2" fmla="*/ 2676539 w 2843760"/>
              <a:gd name="connsiteY2" fmla="*/ 54770 h 5987071"/>
              <a:gd name="connsiteX3" fmla="*/ 2674951 w 2843760"/>
              <a:gd name="connsiteY3" fmla="*/ 5987071 h 5987071"/>
              <a:gd name="connsiteX4" fmla="*/ 0 w 2843760"/>
              <a:gd name="connsiteY4" fmla="*/ 5987071 h 5987071"/>
              <a:gd name="connsiteX5" fmla="*/ 0 w 2843760"/>
              <a:gd name="connsiteY5" fmla="*/ 242 h 5987071"/>
              <a:gd name="connsiteX0" fmla="*/ 0 w 2676543"/>
              <a:gd name="connsiteY0" fmla="*/ 242 h 5987071"/>
              <a:gd name="connsiteX1" fmla="*/ 2633676 w 2676543"/>
              <a:gd name="connsiteY1" fmla="*/ 0 h 5987071"/>
              <a:gd name="connsiteX2" fmla="*/ 2676539 w 2676543"/>
              <a:gd name="connsiteY2" fmla="*/ 54770 h 5987071"/>
              <a:gd name="connsiteX3" fmla="*/ 2674951 w 2676543"/>
              <a:gd name="connsiteY3" fmla="*/ 5987071 h 5987071"/>
              <a:gd name="connsiteX4" fmla="*/ 0 w 2676543"/>
              <a:gd name="connsiteY4" fmla="*/ 5987071 h 5987071"/>
              <a:gd name="connsiteX5" fmla="*/ 0 w 2676543"/>
              <a:gd name="connsiteY5" fmla="*/ 242 h 5987071"/>
              <a:gd name="connsiteX0" fmla="*/ 0 w 2681396"/>
              <a:gd name="connsiteY0" fmla="*/ 403161 h 6389990"/>
              <a:gd name="connsiteX1" fmla="*/ 2605627 w 2681396"/>
              <a:gd name="connsiteY1" fmla="*/ 402919 h 6389990"/>
              <a:gd name="connsiteX2" fmla="*/ 2676539 w 2681396"/>
              <a:gd name="connsiteY2" fmla="*/ 457689 h 6389990"/>
              <a:gd name="connsiteX3" fmla="*/ 2674951 w 2681396"/>
              <a:gd name="connsiteY3" fmla="*/ 6389990 h 6389990"/>
              <a:gd name="connsiteX4" fmla="*/ 0 w 2681396"/>
              <a:gd name="connsiteY4" fmla="*/ 6389990 h 6389990"/>
              <a:gd name="connsiteX5" fmla="*/ 0 w 2681396"/>
              <a:gd name="connsiteY5" fmla="*/ 403161 h 6389990"/>
              <a:gd name="connsiteX0" fmla="*/ 0 w 2818993"/>
              <a:gd name="connsiteY0" fmla="*/ 369538 h 6356367"/>
              <a:gd name="connsiteX1" fmla="*/ 2605627 w 2818993"/>
              <a:gd name="connsiteY1" fmla="*/ 369296 h 6356367"/>
              <a:gd name="connsiteX2" fmla="*/ 2670929 w 2818993"/>
              <a:gd name="connsiteY2" fmla="*/ 466142 h 6356367"/>
              <a:gd name="connsiteX3" fmla="*/ 2674951 w 2818993"/>
              <a:gd name="connsiteY3" fmla="*/ 6356367 h 6356367"/>
              <a:gd name="connsiteX4" fmla="*/ 0 w 2818993"/>
              <a:gd name="connsiteY4" fmla="*/ 6356367 h 6356367"/>
              <a:gd name="connsiteX5" fmla="*/ 0 w 2818993"/>
              <a:gd name="connsiteY5" fmla="*/ 369538 h 6356367"/>
              <a:gd name="connsiteX0" fmla="*/ 0 w 2819705"/>
              <a:gd name="connsiteY0" fmla="*/ 369538 h 6356367"/>
              <a:gd name="connsiteX1" fmla="*/ 2605627 w 2819705"/>
              <a:gd name="connsiteY1" fmla="*/ 369296 h 6356367"/>
              <a:gd name="connsiteX2" fmla="*/ 2670929 w 2819705"/>
              <a:gd name="connsiteY2" fmla="*/ 466142 h 6356367"/>
              <a:gd name="connsiteX3" fmla="*/ 2674951 w 2819705"/>
              <a:gd name="connsiteY3" fmla="*/ 6356367 h 6356367"/>
              <a:gd name="connsiteX4" fmla="*/ 0 w 2819705"/>
              <a:gd name="connsiteY4" fmla="*/ 6356367 h 6356367"/>
              <a:gd name="connsiteX5" fmla="*/ 0 w 2819705"/>
              <a:gd name="connsiteY5" fmla="*/ 369538 h 6356367"/>
              <a:gd name="connsiteX0" fmla="*/ 0 w 2821139"/>
              <a:gd name="connsiteY0" fmla="*/ 242 h 5987071"/>
              <a:gd name="connsiteX1" fmla="*/ 2605627 w 2821139"/>
              <a:gd name="connsiteY1" fmla="*/ 0 h 5987071"/>
              <a:gd name="connsiteX2" fmla="*/ 2670929 w 2821139"/>
              <a:gd name="connsiteY2" fmla="*/ 96846 h 5987071"/>
              <a:gd name="connsiteX3" fmla="*/ 2674951 w 2821139"/>
              <a:gd name="connsiteY3" fmla="*/ 5987071 h 5987071"/>
              <a:gd name="connsiteX4" fmla="*/ 0 w 2821139"/>
              <a:gd name="connsiteY4" fmla="*/ 5987071 h 5987071"/>
              <a:gd name="connsiteX5" fmla="*/ 0 w 2821139"/>
              <a:gd name="connsiteY5" fmla="*/ 242 h 5987071"/>
              <a:gd name="connsiteX0" fmla="*/ 0 w 2742690"/>
              <a:gd name="connsiteY0" fmla="*/ 367521 h 6354350"/>
              <a:gd name="connsiteX1" fmla="*/ 1722081 w 2742690"/>
              <a:gd name="connsiteY1" fmla="*/ 372889 h 6354350"/>
              <a:gd name="connsiteX2" fmla="*/ 2670929 w 2742690"/>
              <a:gd name="connsiteY2" fmla="*/ 464125 h 6354350"/>
              <a:gd name="connsiteX3" fmla="*/ 2674951 w 2742690"/>
              <a:gd name="connsiteY3" fmla="*/ 6354350 h 6354350"/>
              <a:gd name="connsiteX4" fmla="*/ 0 w 2742690"/>
              <a:gd name="connsiteY4" fmla="*/ 6354350 h 6354350"/>
              <a:gd name="connsiteX5" fmla="*/ 0 w 2742690"/>
              <a:gd name="connsiteY5" fmla="*/ 367521 h 6354350"/>
              <a:gd name="connsiteX0" fmla="*/ 0 w 2742690"/>
              <a:gd name="connsiteY0" fmla="*/ 360489 h 6347318"/>
              <a:gd name="connsiteX1" fmla="*/ 1722081 w 2742690"/>
              <a:gd name="connsiteY1" fmla="*/ 365857 h 6347318"/>
              <a:gd name="connsiteX2" fmla="*/ 2670929 w 2742690"/>
              <a:gd name="connsiteY2" fmla="*/ 457093 h 6347318"/>
              <a:gd name="connsiteX3" fmla="*/ 2674951 w 2742690"/>
              <a:gd name="connsiteY3" fmla="*/ 6347318 h 6347318"/>
              <a:gd name="connsiteX4" fmla="*/ 0 w 2742690"/>
              <a:gd name="connsiteY4" fmla="*/ 6347318 h 6347318"/>
              <a:gd name="connsiteX5" fmla="*/ 0 w 2742690"/>
              <a:gd name="connsiteY5" fmla="*/ 360489 h 6347318"/>
              <a:gd name="connsiteX0" fmla="*/ 0 w 2742690"/>
              <a:gd name="connsiteY0" fmla="*/ 371928 h 6358757"/>
              <a:gd name="connsiteX1" fmla="*/ 1722081 w 2742690"/>
              <a:gd name="connsiteY1" fmla="*/ 377296 h 6358757"/>
              <a:gd name="connsiteX2" fmla="*/ 2670929 w 2742690"/>
              <a:gd name="connsiteY2" fmla="*/ 468532 h 6358757"/>
              <a:gd name="connsiteX3" fmla="*/ 2674951 w 2742690"/>
              <a:gd name="connsiteY3" fmla="*/ 6358757 h 6358757"/>
              <a:gd name="connsiteX4" fmla="*/ 0 w 2742690"/>
              <a:gd name="connsiteY4" fmla="*/ 6358757 h 6358757"/>
              <a:gd name="connsiteX5" fmla="*/ 0 w 2742690"/>
              <a:gd name="connsiteY5" fmla="*/ 371928 h 6358757"/>
              <a:gd name="connsiteX0" fmla="*/ 0 w 2742690"/>
              <a:gd name="connsiteY0" fmla="*/ 0 h 5986829"/>
              <a:gd name="connsiteX1" fmla="*/ 1722081 w 2742690"/>
              <a:gd name="connsiteY1" fmla="*/ 5368 h 5986829"/>
              <a:gd name="connsiteX2" fmla="*/ 2670929 w 2742690"/>
              <a:gd name="connsiteY2" fmla="*/ 96604 h 5986829"/>
              <a:gd name="connsiteX3" fmla="*/ 2674951 w 2742690"/>
              <a:gd name="connsiteY3" fmla="*/ 5986829 h 5986829"/>
              <a:gd name="connsiteX4" fmla="*/ 0 w 2742690"/>
              <a:gd name="connsiteY4" fmla="*/ 5986829 h 5986829"/>
              <a:gd name="connsiteX5" fmla="*/ 0 w 2742690"/>
              <a:gd name="connsiteY5" fmla="*/ 0 h 5986829"/>
              <a:gd name="connsiteX0" fmla="*/ 0 w 2751025"/>
              <a:gd name="connsiteY0" fmla="*/ 0 h 5986829"/>
              <a:gd name="connsiteX1" fmla="*/ 1722081 w 2751025"/>
              <a:gd name="connsiteY1" fmla="*/ 5368 h 5986829"/>
              <a:gd name="connsiteX2" fmla="*/ 2682149 w 2751025"/>
              <a:gd name="connsiteY2" fmla="*/ 74163 h 5986829"/>
              <a:gd name="connsiteX3" fmla="*/ 2674951 w 2751025"/>
              <a:gd name="connsiteY3" fmla="*/ 5986829 h 5986829"/>
              <a:gd name="connsiteX4" fmla="*/ 0 w 2751025"/>
              <a:gd name="connsiteY4" fmla="*/ 5986829 h 5986829"/>
              <a:gd name="connsiteX5" fmla="*/ 0 w 2751025"/>
              <a:gd name="connsiteY5" fmla="*/ 0 h 5986829"/>
              <a:gd name="connsiteX0" fmla="*/ 0 w 2697688"/>
              <a:gd name="connsiteY0" fmla="*/ 0 h 5986829"/>
              <a:gd name="connsiteX1" fmla="*/ 1722081 w 2697688"/>
              <a:gd name="connsiteY1" fmla="*/ 5368 h 5986829"/>
              <a:gd name="connsiteX2" fmla="*/ 2600806 w 2697688"/>
              <a:gd name="connsiteY2" fmla="*/ 155509 h 5986829"/>
              <a:gd name="connsiteX3" fmla="*/ 2674951 w 2697688"/>
              <a:gd name="connsiteY3" fmla="*/ 5986829 h 5986829"/>
              <a:gd name="connsiteX4" fmla="*/ 0 w 2697688"/>
              <a:gd name="connsiteY4" fmla="*/ 5986829 h 5986829"/>
              <a:gd name="connsiteX5" fmla="*/ 0 w 2697688"/>
              <a:gd name="connsiteY5" fmla="*/ 0 h 5986829"/>
              <a:gd name="connsiteX0" fmla="*/ 0 w 2748920"/>
              <a:gd name="connsiteY0" fmla="*/ 0 h 5986829"/>
              <a:gd name="connsiteX1" fmla="*/ 1722081 w 2748920"/>
              <a:gd name="connsiteY1" fmla="*/ 5368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71968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29894 w 2748920"/>
              <a:gd name="connsiteY1" fmla="*/ 586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428917 w 2748920"/>
              <a:gd name="connsiteY1" fmla="*/ 69884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428917 w 2748920"/>
              <a:gd name="connsiteY1" fmla="*/ 69884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3137 h 5989966"/>
              <a:gd name="connsiteX1" fmla="*/ 2569162 w 2748920"/>
              <a:gd name="connsiteY1" fmla="*/ 90 h 5989966"/>
              <a:gd name="connsiteX2" fmla="*/ 2679344 w 2748920"/>
              <a:gd name="connsiteY2" fmla="*/ 74495 h 5989966"/>
              <a:gd name="connsiteX3" fmla="*/ 2674951 w 2748920"/>
              <a:gd name="connsiteY3" fmla="*/ 5989966 h 5989966"/>
              <a:gd name="connsiteX4" fmla="*/ 0 w 2748920"/>
              <a:gd name="connsiteY4" fmla="*/ 5989966 h 5989966"/>
              <a:gd name="connsiteX5" fmla="*/ 0 w 2748920"/>
              <a:gd name="connsiteY5" fmla="*/ 3137 h 5989966"/>
              <a:gd name="connsiteX0" fmla="*/ 0 w 2748920"/>
              <a:gd name="connsiteY0" fmla="*/ 3137 h 5989966"/>
              <a:gd name="connsiteX1" fmla="*/ 2569162 w 2748920"/>
              <a:gd name="connsiteY1" fmla="*/ 90 h 5989966"/>
              <a:gd name="connsiteX2" fmla="*/ 2679344 w 2748920"/>
              <a:gd name="connsiteY2" fmla="*/ 74495 h 5989966"/>
              <a:gd name="connsiteX3" fmla="*/ 2674951 w 2748920"/>
              <a:gd name="connsiteY3" fmla="*/ 5989966 h 5989966"/>
              <a:gd name="connsiteX4" fmla="*/ 0 w 2748920"/>
              <a:gd name="connsiteY4" fmla="*/ 5989966 h 5989966"/>
              <a:gd name="connsiteX5" fmla="*/ 0 w 2748920"/>
              <a:gd name="connsiteY5" fmla="*/ 3137 h 5989966"/>
              <a:gd name="connsiteX0" fmla="*/ 0 w 2748920"/>
              <a:gd name="connsiteY0" fmla="*/ 3137 h 5989966"/>
              <a:gd name="connsiteX1" fmla="*/ 2569162 w 2748920"/>
              <a:gd name="connsiteY1" fmla="*/ 90 h 5989966"/>
              <a:gd name="connsiteX2" fmla="*/ 2679344 w 2748920"/>
              <a:gd name="connsiteY2" fmla="*/ 74495 h 5989966"/>
              <a:gd name="connsiteX3" fmla="*/ 2674951 w 2748920"/>
              <a:gd name="connsiteY3" fmla="*/ 5989966 h 5989966"/>
              <a:gd name="connsiteX4" fmla="*/ 0 w 2748920"/>
              <a:gd name="connsiteY4" fmla="*/ 5989966 h 5989966"/>
              <a:gd name="connsiteX5" fmla="*/ 0 w 2748920"/>
              <a:gd name="connsiteY5" fmla="*/ 3137 h 5989966"/>
              <a:gd name="connsiteX0" fmla="*/ 0 w 2679344"/>
              <a:gd name="connsiteY0" fmla="*/ 3137 h 5989966"/>
              <a:gd name="connsiteX1" fmla="*/ 2569162 w 2679344"/>
              <a:gd name="connsiteY1" fmla="*/ 90 h 5989966"/>
              <a:gd name="connsiteX2" fmla="*/ 2679344 w 2679344"/>
              <a:gd name="connsiteY2" fmla="*/ 74495 h 5989966"/>
              <a:gd name="connsiteX3" fmla="*/ 2674951 w 2679344"/>
              <a:gd name="connsiteY3" fmla="*/ 5989966 h 5989966"/>
              <a:gd name="connsiteX4" fmla="*/ 0 w 2679344"/>
              <a:gd name="connsiteY4" fmla="*/ 5989966 h 5989966"/>
              <a:gd name="connsiteX5" fmla="*/ 0 w 2679344"/>
              <a:gd name="connsiteY5" fmla="*/ 3137 h 5989966"/>
              <a:gd name="connsiteX0" fmla="*/ 0 w 2679344"/>
              <a:gd name="connsiteY0" fmla="*/ 3137 h 5989966"/>
              <a:gd name="connsiteX1" fmla="*/ 2569162 w 2679344"/>
              <a:gd name="connsiteY1" fmla="*/ 90 h 5989966"/>
              <a:gd name="connsiteX2" fmla="*/ 2679344 w 2679344"/>
              <a:gd name="connsiteY2" fmla="*/ 74495 h 5989966"/>
              <a:gd name="connsiteX3" fmla="*/ 2674951 w 2679344"/>
              <a:gd name="connsiteY3" fmla="*/ 5989966 h 5989966"/>
              <a:gd name="connsiteX4" fmla="*/ 0 w 2679344"/>
              <a:gd name="connsiteY4" fmla="*/ 5989966 h 5989966"/>
              <a:gd name="connsiteX5" fmla="*/ 0 w 2679344"/>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0 h 5986829"/>
              <a:gd name="connsiteX1" fmla="*/ 2566780 w 2679350"/>
              <a:gd name="connsiteY1" fmla="*/ 94589 h 5986829"/>
              <a:gd name="connsiteX2" fmla="*/ 2679344 w 2679350"/>
              <a:gd name="connsiteY2" fmla="*/ 71358 h 5986829"/>
              <a:gd name="connsiteX3" fmla="*/ 2674951 w 2679350"/>
              <a:gd name="connsiteY3" fmla="*/ 5986829 h 5986829"/>
              <a:gd name="connsiteX4" fmla="*/ 0 w 2679350"/>
              <a:gd name="connsiteY4" fmla="*/ 5986829 h 5986829"/>
              <a:gd name="connsiteX5" fmla="*/ 0 w 2679350"/>
              <a:gd name="connsiteY5" fmla="*/ 0 h 5986829"/>
              <a:gd name="connsiteX0" fmla="*/ 0 w 2679350"/>
              <a:gd name="connsiteY0" fmla="*/ 761 h 5987590"/>
              <a:gd name="connsiteX1" fmla="*/ 2581068 w 2679350"/>
              <a:gd name="connsiteY1" fmla="*/ 96 h 5987590"/>
              <a:gd name="connsiteX2" fmla="*/ 2679344 w 2679350"/>
              <a:gd name="connsiteY2" fmla="*/ 72119 h 5987590"/>
              <a:gd name="connsiteX3" fmla="*/ 2674951 w 2679350"/>
              <a:gd name="connsiteY3" fmla="*/ 5987590 h 5987590"/>
              <a:gd name="connsiteX4" fmla="*/ 0 w 2679350"/>
              <a:gd name="connsiteY4" fmla="*/ 5987590 h 5987590"/>
              <a:gd name="connsiteX5" fmla="*/ 0 w 2679350"/>
              <a:gd name="connsiteY5" fmla="*/ 761 h 5987590"/>
              <a:gd name="connsiteX0" fmla="*/ 0 w 2679350"/>
              <a:gd name="connsiteY0" fmla="*/ 761 h 5987590"/>
              <a:gd name="connsiteX1" fmla="*/ 2581068 w 2679350"/>
              <a:gd name="connsiteY1" fmla="*/ 96 h 5987590"/>
              <a:gd name="connsiteX2" fmla="*/ 2679344 w 2679350"/>
              <a:gd name="connsiteY2" fmla="*/ 72119 h 5987590"/>
              <a:gd name="connsiteX3" fmla="*/ 2674951 w 2679350"/>
              <a:gd name="connsiteY3" fmla="*/ 5987590 h 5987590"/>
              <a:gd name="connsiteX4" fmla="*/ 0 w 2679350"/>
              <a:gd name="connsiteY4" fmla="*/ 5987590 h 5987590"/>
              <a:gd name="connsiteX5" fmla="*/ 0 w 2679350"/>
              <a:gd name="connsiteY5" fmla="*/ 761 h 5987590"/>
              <a:gd name="connsiteX0" fmla="*/ 0 w 2679350"/>
              <a:gd name="connsiteY0" fmla="*/ 761 h 5987590"/>
              <a:gd name="connsiteX1" fmla="*/ 2581068 w 2679350"/>
              <a:gd name="connsiteY1" fmla="*/ 96 h 5987590"/>
              <a:gd name="connsiteX2" fmla="*/ 2679344 w 2679350"/>
              <a:gd name="connsiteY2" fmla="*/ 72119 h 5987590"/>
              <a:gd name="connsiteX3" fmla="*/ 2674951 w 2679350"/>
              <a:gd name="connsiteY3" fmla="*/ 5987590 h 5987590"/>
              <a:gd name="connsiteX4" fmla="*/ 0 w 2679350"/>
              <a:gd name="connsiteY4" fmla="*/ 5987590 h 5987590"/>
              <a:gd name="connsiteX5" fmla="*/ 0 w 2679350"/>
              <a:gd name="connsiteY5" fmla="*/ 761 h 5987590"/>
              <a:gd name="connsiteX0" fmla="*/ 0 w 2679350"/>
              <a:gd name="connsiteY0" fmla="*/ 0 h 5986829"/>
              <a:gd name="connsiteX1" fmla="*/ 2585830 w 2679350"/>
              <a:gd name="connsiteY1" fmla="*/ 44581 h 5986829"/>
              <a:gd name="connsiteX2" fmla="*/ 2679344 w 2679350"/>
              <a:gd name="connsiteY2" fmla="*/ 71358 h 5986829"/>
              <a:gd name="connsiteX3" fmla="*/ 2674951 w 2679350"/>
              <a:gd name="connsiteY3" fmla="*/ 5986829 h 5986829"/>
              <a:gd name="connsiteX4" fmla="*/ 0 w 2679350"/>
              <a:gd name="connsiteY4" fmla="*/ 5986829 h 5986829"/>
              <a:gd name="connsiteX5" fmla="*/ 0 w 2679350"/>
              <a:gd name="connsiteY5" fmla="*/ 0 h 5986829"/>
              <a:gd name="connsiteX0" fmla="*/ 0 w 2679350"/>
              <a:gd name="connsiteY0" fmla="*/ 0 h 5986829"/>
              <a:gd name="connsiteX1" fmla="*/ 2588212 w 2679350"/>
              <a:gd name="connsiteY1" fmla="*/ 1716 h 5986829"/>
              <a:gd name="connsiteX2" fmla="*/ 2679344 w 2679350"/>
              <a:gd name="connsiteY2" fmla="*/ 71358 h 5986829"/>
              <a:gd name="connsiteX3" fmla="*/ 2674951 w 2679350"/>
              <a:gd name="connsiteY3" fmla="*/ 5986829 h 5986829"/>
              <a:gd name="connsiteX4" fmla="*/ 0 w 2679350"/>
              <a:gd name="connsiteY4" fmla="*/ 5986829 h 5986829"/>
              <a:gd name="connsiteX5" fmla="*/ 0 w 2679350"/>
              <a:gd name="connsiteY5" fmla="*/ 0 h 5986829"/>
              <a:gd name="connsiteX0" fmla="*/ 0 w 2674961"/>
              <a:gd name="connsiteY0" fmla="*/ 0 h 5986829"/>
              <a:gd name="connsiteX1" fmla="*/ 2588212 w 2674961"/>
              <a:gd name="connsiteY1" fmla="*/ 1716 h 5986829"/>
              <a:gd name="connsiteX2" fmla="*/ 2655531 w 2674961"/>
              <a:gd name="connsiteY2" fmla="*/ 78502 h 5986829"/>
              <a:gd name="connsiteX3" fmla="*/ 2674951 w 2674961"/>
              <a:gd name="connsiteY3" fmla="*/ 5986829 h 5986829"/>
              <a:gd name="connsiteX4" fmla="*/ 0 w 2674961"/>
              <a:gd name="connsiteY4" fmla="*/ 5986829 h 5986829"/>
              <a:gd name="connsiteX5" fmla="*/ 0 w 2674961"/>
              <a:gd name="connsiteY5" fmla="*/ 0 h 5986829"/>
              <a:gd name="connsiteX0" fmla="*/ 0 w 2675143"/>
              <a:gd name="connsiteY0" fmla="*/ 0 h 5986829"/>
              <a:gd name="connsiteX1" fmla="*/ 2588212 w 2675143"/>
              <a:gd name="connsiteY1" fmla="*/ 1716 h 5986829"/>
              <a:gd name="connsiteX2" fmla="*/ 2674581 w 2675143"/>
              <a:gd name="connsiteY2" fmla="*/ 80883 h 5986829"/>
              <a:gd name="connsiteX3" fmla="*/ 2674951 w 2675143"/>
              <a:gd name="connsiteY3" fmla="*/ 5986829 h 5986829"/>
              <a:gd name="connsiteX4" fmla="*/ 0 w 2675143"/>
              <a:gd name="connsiteY4" fmla="*/ 5986829 h 5986829"/>
              <a:gd name="connsiteX5" fmla="*/ 0 w 2675143"/>
              <a:gd name="connsiteY5" fmla="*/ 0 h 598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5143" h="5986829">
                <a:moveTo>
                  <a:pt x="0" y="0"/>
                </a:moveTo>
                <a:lnTo>
                  <a:pt x="2588212" y="1716"/>
                </a:lnTo>
                <a:cubicBezTo>
                  <a:pt x="2639095" y="-351"/>
                  <a:pt x="2671381" y="38070"/>
                  <a:pt x="2674581" y="80883"/>
                </a:cubicBezTo>
                <a:cubicBezTo>
                  <a:pt x="2674773" y="1264412"/>
                  <a:pt x="2675480" y="4002251"/>
                  <a:pt x="2674951" y="5986829"/>
                </a:cubicBezTo>
                <a:lnTo>
                  <a:pt x="0" y="5986829"/>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Tijdelijke aanduiding voor datum 3"/>
          <p:cNvSpPr>
            <a:spLocks noGrp="1"/>
          </p:cNvSpPr>
          <p:nvPr>
            <p:ph type="dt" sz="half" idx="10"/>
          </p:nvPr>
        </p:nvSpPr>
        <p:spPr>
          <a:xfrm>
            <a:off x="10676001" y="5401161"/>
            <a:ext cx="1434524" cy="365125"/>
          </a:xfrm>
        </p:spPr>
        <p:txBody>
          <a:bodyPr/>
          <a:lstStyle>
            <a:lvl1pPr>
              <a:defRPr>
                <a:solidFill>
                  <a:schemeClr val="tx2"/>
                </a:solidFill>
              </a:defRPr>
            </a:lvl1pPr>
          </a:lstStyle>
          <a:p>
            <a:fld id="{0F477DB2-28B9-4831-85F8-E86CA22D8EA0}" type="datetime4">
              <a:rPr lang="en-GB" smtClean="0"/>
              <a:t>29 May 2020</a:t>
            </a:fld>
            <a:endParaRPr lang="en-GB" dirty="0"/>
          </a:p>
        </p:txBody>
      </p:sp>
      <p:sp>
        <p:nvSpPr>
          <p:cNvPr id="5" name="Tijdelijke aanduiding voor voettekst 4"/>
          <p:cNvSpPr>
            <a:spLocks noGrp="1"/>
          </p:cNvSpPr>
          <p:nvPr>
            <p:ph type="ftr" sz="quarter" idx="11"/>
          </p:nvPr>
        </p:nvSpPr>
        <p:spPr>
          <a:xfrm>
            <a:off x="9981386" y="5365065"/>
            <a:ext cx="814092" cy="365125"/>
          </a:xfrm>
        </p:spPr>
        <p:txBody>
          <a:bodyPr/>
          <a:lstStyle>
            <a:lvl1pPr>
              <a:defRPr>
                <a:solidFill>
                  <a:schemeClr val="tx2"/>
                </a:solidFill>
              </a:defRPr>
            </a:lvl1pPr>
          </a:lstStyle>
          <a:p>
            <a:r>
              <a:rPr lang="en-GB"/>
              <a:t>|</a:t>
            </a:r>
          </a:p>
        </p:txBody>
      </p:sp>
      <p:sp>
        <p:nvSpPr>
          <p:cNvPr id="6" name="Tijdelijke aanduiding voor dianummer 5"/>
          <p:cNvSpPr>
            <a:spLocks noGrp="1"/>
          </p:cNvSpPr>
          <p:nvPr>
            <p:ph type="sldNum" sz="quarter" idx="12"/>
          </p:nvPr>
        </p:nvSpPr>
        <p:spPr>
          <a:xfrm>
            <a:off x="9560279" y="5401161"/>
            <a:ext cx="540585" cy="365125"/>
          </a:xfrm>
        </p:spPr>
        <p:txBody>
          <a:bodyPr/>
          <a:lstStyle>
            <a:lvl1pPr>
              <a:defRPr>
                <a:solidFill>
                  <a:schemeClr val="tx2"/>
                </a:solidFill>
              </a:defRPr>
            </a:lvl1pPr>
          </a:lstStyle>
          <a:p>
            <a:fld id="{534B5F9C-CFE5-4EC6-9BBB-664E2F56B033}" type="slidenum">
              <a:rPr lang="en-GB" smtClean="0"/>
              <a:pPr/>
              <a:t>‹nr.›</a:t>
            </a:fld>
            <a:endParaRPr lang="en-GB" dirty="0"/>
          </a:p>
        </p:txBody>
      </p:sp>
      <p:sp>
        <p:nvSpPr>
          <p:cNvPr id="28" name="Tijdelijke aanduiding voor afbeelding 2">
            <a:extLst>
              <a:ext uri="{FF2B5EF4-FFF2-40B4-BE49-F238E27FC236}">
                <a16:creationId xmlns:a16="http://schemas.microsoft.com/office/drawing/2014/main" id="{16DBD923-A819-4FA3-8642-E1DC6B8509B0}"/>
              </a:ext>
            </a:extLst>
          </p:cNvPr>
          <p:cNvSpPr>
            <a:spLocks noGrp="1"/>
          </p:cNvSpPr>
          <p:nvPr>
            <p:ph type="pic" idx="13"/>
          </p:nvPr>
        </p:nvSpPr>
        <p:spPr>
          <a:xfrm>
            <a:off x="-2498" y="-2912"/>
            <a:ext cx="9522159" cy="6858478"/>
          </a:xfrm>
          <a:custGeom>
            <a:avLst/>
            <a:gdLst>
              <a:gd name="connsiteX0" fmla="*/ 79964 w 12195175"/>
              <a:gd name="connsiteY0" fmla="*/ 0 h 6858000"/>
              <a:gd name="connsiteX1" fmla="*/ 12115211 w 12195175"/>
              <a:gd name="connsiteY1" fmla="*/ 0 h 6858000"/>
              <a:gd name="connsiteX2" fmla="*/ 12195175 w 12195175"/>
              <a:gd name="connsiteY2" fmla="*/ 79964 h 6858000"/>
              <a:gd name="connsiteX3" fmla="*/ 12195175 w 12195175"/>
              <a:gd name="connsiteY3" fmla="*/ 6858000 h 6858000"/>
              <a:gd name="connsiteX4" fmla="*/ 12195175 w 12195175"/>
              <a:gd name="connsiteY4" fmla="*/ 6858000 h 6858000"/>
              <a:gd name="connsiteX5" fmla="*/ 0 w 12195175"/>
              <a:gd name="connsiteY5" fmla="*/ 6858000 h 6858000"/>
              <a:gd name="connsiteX6" fmla="*/ 0 w 12195175"/>
              <a:gd name="connsiteY6" fmla="*/ 6858000 h 6858000"/>
              <a:gd name="connsiteX7" fmla="*/ 0 w 12195175"/>
              <a:gd name="connsiteY7" fmla="*/ 79964 h 6858000"/>
              <a:gd name="connsiteX8" fmla="*/ 79964 w 12195175"/>
              <a:gd name="connsiteY8"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7673 w 12197673"/>
              <a:gd name="connsiteY3" fmla="*/ 6858000 h 6858000"/>
              <a:gd name="connsiteX4" fmla="*/ 12197673 w 12197673"/>
              <a:gd name="connsiteY4" fmla="*/ 6858000 h 6858000"/>
              <a:gd name="connsiteX5" fmla="*/ 2498 w 12197673"/>
              <a:gd name="connsiteY5" fmla="*/ 6858000 h 6858000"/>
              <a:gd name="connsiteX6" fmla="*/ 2498 w 12197673"/>
              <a:gd name="connsiteY6" fmla="*/ 6858000 h 6858000"/>
              <a:gd name="connsiteX7" fmla="*/ 0 w 12197673"/>
              <a:gd name="connsiteY7" fmla="*/ 6785548 h 6858000"/>
              <a:gd name="connsiteX8" fmla="*/ 2498 w 12197673"/>
              <a:gd name="connsiteY8" fmla="*/ 79964 h 6858000"/>
              <a:gd name="connsiteX9" fmla="*/ 82462 w 12197673"/>
              <a:gd name="connsiteY9"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7673 w 12197673"/>
              <a:gd name="connsiteY3" fmla="*/ 6858000 h 6858000"/>
              <a:gd name="connsiteX4" fmla="*/ 12197673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97673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97673 w 12197673"/>
              <a:gd name="connsiteY5" fmla="*/ 6858000 h 6858000"/>
              <a:gd name="connsiteX6" fmla="*/ 12112052 w 12197673"/>
              <a:gd name="connsiteY6" fmla="*/ 6858000 h 6858000"/>
              <a:gd name="connsiteX7" fmla="*/ 74950 w 12197673"/>
              <a:gd name="connsiteY7" fmla="*/ 6855502 h 6858000"/>
              <a:gd name="connsiteX8" fmla="*/ 2498 w 12197673"/>
              <a:gd name="connsiteY8" fmla="*/ 6858000 h 6858000"/>
              <a:gd name="connsiteX9" fmla="*/ 2498 w 12197673"/>
              <a:gd name="connsiteY9" fmla="*/ 6858000 h 6858000"/>
              <a:gd name="connsiteX10" fmla="*/ 0 w 12197673"/>
              <a:gd name="connsiteY10" fmla="*/ 6785548 h 6858000"/>
              <a:gd name="connsiteX11" fmla="*/ 2498 w 12197673"/>
              <a:gd name="connsiteY11" fmla="*/ 79964 h 6858000"/>
              <a:gd name="connsiteX12" fmla="*/ 82462 w 12197673"/>
              <a:gd name="connsiteY12"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2498 w 12197673"/>
              <a:gd name="connsiteY7" fmla="*/ 6858000 h 6858224"/>
              <a:gd name="connsiteX8" fmla="*/ 0 w 12197673"/>
              <a:gd name="connsiteY8" fmla="*/ 6785548 h 6858224"/>
              <a:gd name="connsiteX9" fmla="*/ 2498 w 12197673"/>
              <a:gd name="connsiteY9" fmla="*/ 79964 h 6858224"/>
              <a:gd name="connsiteX10" fmla="*/ 82462 w 12197673"/>
              <a:gd name="connsiteY10"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2498 w 12197673"/>
              <a:gd name="connsiteY7" fmla="*/ 6858000 h 6858224"/>
              <a:gd name="connsiteX8" fmla="*/ 0 w 12197673"/>
              <a:gd name="connsiteY8" fmla="*/ 6785548 h 6858224"/>
              <a:gd name="connsiteX9" fmla="*/ 2498 w 12197673"/>
              <a:gd name="connsiteY9" fmla="*/ 79964 h 6858224"/>
              <a:gd name="connsiteX10" fmla="*/ 82462 w 12197673"/>
              <a:gd name="connsiteY10"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0 w 12197673"/>
              <a:gd name="connsiteY7" fmla="*/ 6785548 h 6858224"/>
              <a:gd name="connsiteX8" fmla="*/ 2498 w 12197673"/>
              <a:gd name="connsiteY8" fmla="*/ 79964 h 6858224"/>
              <a:gd name="connsiteX9" fmla="*/ 82462 w 12197673"/>
              <a:gd name="connsiteY9"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 name="connsiteX0" fmla="*/ 82462 w 12197673"/>
              <a:gd name="connsiteY0" fmla="*/ 2912 h 6861136"/>
              <a:gd name="connsiteX1" fmla="*/ 9522159 w 12197673"/>
              <a:gd name="connsiteY1" fmla="*/ 0 h 6861136"/>
              <a:gd name="connsiteX2" fmla="*/ 12117709 w 12197673"/>
              <a:gd name="connsiteY2" fmla="*/ 2912 h 6861136"/>
              <a:gd name="connsiteX3" fmla="*/ 12197673 w 12197673"/>
              <a:gd name="connsiteY3" fmla="*/ 82876 h 6861136"/>
              <a:gd name="connsiteX4" fmla="*/ 12194498 w 12197673"/>
              <a:gd name="connsiteY4" fmla="*/ 6780964 h 6861136"/>
              <a:gd name="connsiteX5" fmla="*/ 12112052 w 12197673"/>
              <a:gd name="connsiteY5" fmla="*/ 6860912 h 6861136"/>
              <a:gd name="connsiteX6" fmla="*/ 74950 w 12197673"/>
              <a:gd name="connsiteY6" fmla="*/ 6858414 h 6861136"/>
              <a:gd name="connsiteX7" fmla="*/ 0 w 12197673"/>
              <a:gd name="connsiteY7" fmla="*/ 6788460 h 6861136"/>
              <a:gd name="connsiteX8" fmla="*/ 2498 w 12197673"/>
              <a:gd name="connsiteY8" fmla="*/ 82876 h 6861136"/>
              <a:gd name="connsiteX9" fmla="*/ 82462 w 12197673"/>
              <a:gd name="connsiteY9" fmla="*/ 2912 h 6861136"/>
              <a:gd name="connsiteX0" fmla="*/ 82462 w 12197673"/>
              <a:gd name="connsiteY0" fmla="*/ 2912 h 6861136"/>
              <a:gd name="connsiteX1" fmla="*/ 9522159 w 12197673"/>
              <a:gd name="connsiteY1" fmla="*/ 0 h 6861136"/>
              <a:gd name="connsiteX2" fmla="*/ 12117709 w 12197673"/>
              <a:gd name="connsiteY2" fmla="*/ 2912 h 6861136"/>
              <a:gd name="connsiteX3" fmla="*/ 12197673 w 12197673"/>
              <a:gd name="connsiteY3" fmla="*/ 82876 h 6861136"/>
              <a:gd name="connsiteX4" fmla="*/ 12194498 w 12197673"/>
              <a:gd name="connsiteY4" fmla="*/ 6780964 h 6861136"/>
              <a:gd name="connsiteX5" fmla="*/ 12112052 w 12197673"/>
              <a:gd name="connsiteY5" fmla="*/ 6860912 h 6861136"/>
              <a:gd name="connsiteX6" fmla="*/ 9522159 w 12197673"/>
              <a:gd name="connsiteY6" fmla="*/ 6858000 h 6861136"/>
              <a:gd name="connsiteX7" fmla="*/ 74950 w 12197673"/>
              <a:gd name="connsiteY7" fmla="*/ 6858414 h 6861136"/>
              <a:gd name="connsiteX8" fmla="*/ 0 w 12197673"/>
              <a:gd name="connsiteY8" fmla="*/ 6788460 h 6861136"/>
              <a:gd name="connsiteX9" fmla="*/ 2498 w 12197673"/>
              <a:gd name="connsiteY9" fmla="*/ 82876 h 6861136"/>
              <a:gd name="connsiteX10" fmla="*/ 82462 w 12197673"/>
              <a:gd name="connsiteY10" fmla="*/ 2912 h 6861136"/>
              <a:gd name="connsiteX0" fmla="*/ 82462 w 12334905"/>
              <a:gd name="connsiteY0" fmla="*/ 2912 h 6860912"/>
              <a:gd name="connsiteX1" fmla="*/ 9522159 w 12334905"/>
              <a:gd name="connsiteY1" fmla="*/ 0 h 6860912"/>
              <a:gd name="connsiteX2" fmla="*/ 12117709 w 12334905"/>
              <a:gd name="connsiteY2" fmla="*/ 2912 h 6860912"/>
              <a:gd name="connsiteX3" fmla="*/ 12197673 w 12334905"/>
              <a:gd name="connsiteY3" fmla="*/ 82876 h 6860912"/>
              <a:gd name="connsiteX4" fmla="*/ 12112052 w 12334905"/>
              <a:gd name="connsiteY4" fmla="*/ 6860912 h 6860912"/>
              <a:gd name="connsiteX5" fmla="*/ 9522159 w 12334905"/>
              <a:gd name="connsiteY5" fmla="*/ 6858000 h 6860912"/>
              <a:gd name="connsiteX6" fmla="*/ 74950 w 12334905"/>
              <a:gd name="connsiteY6" fmla="*/ 6858414 h 6860912"/>
              <a:gd name="connsiteX7" fmla="*/ 0 w 12334905"/>
              <a:gd name="connsiteY7" fmla="*/ 6788460 h 6860912"/>
              <a:gd name="connsiteX8" fmla="*/ 2498 w 12334905"/>
              <a:gd name="connsiteY8" fmla="*/ 82876 h 6860912"/>
              <a:gd name="connsiteX9" fmla="*/ 82462 w 12334905"/>
              <a:gd name="connsiteY9" fmla="*/ 2912 h 6860912"/>
              <a:gd name="connsiteX0" fmla="*/ 82462 w 12197673"/>
              <a:gd name="connsiteY0" fmla="*/ 2912 h 6858478"/>
              <a:gd name="connsiteX1" fmla="*/ 9522159 w 12197673"/>
              <a:gd name="connsiteY1" fmla="*/ 0 h 6858478"/>
              <a:gd name="connsiteX2" fmla="*/ 12117709 w 12197673"/>
              <a:gd name="connsiteY2" fmla="*/ 2912 h 6858478"/>
              <a:gd name="connsiteX3" fmla="*/ 12197673 w 12197673"/>
              <a:gd name="connsiteY3" fmla="*/ 82876 h 6858478"/>
              <a:gd name="connsiteX4" fmla="*/ 9522159 w 12197673"/>
              <a:gd name="connsiteY4" fmla="*/ 6858000 h 6858478"/>
              <a:gd name="connsiteX5" fmla="*/ 74950 w 12197673"/>
              <a:gd name="connsiteY5" fmla="*/ 6858414 h 6858478"/>
              <a:gd name="connsiteX6" fmla="*/ 0 w 12197673"/>
              <a:gd name="connsiteY6" fmla="*/ 6788460 h 6858478"/>
              <a:gd name="connsiteX7" fmla="*/ 2498 w 12197673"/>
              <a:gd name="connsiteY7" fmla="*/ 82876 h 6858478"/>
              <a:gd name="connsiteX8" fmla="*/ 82462 w 12197673"/>
              <a:gd name="connsiteY8" fmla="*/ 2912 h 6858478"/>
              <a:gd name="connsiteX0" fmla="*/ 82462 w 12117709"/>
              <a:gd name="connsiteY0" fmla="*/ 2912 h 6858478"/>
              <a:gd name="connsiteX1" fmla="*/ 9522159 w 12117709"/>
              <a:gd name="connsiteY1" fmla="*/ 0 h 6858478"/>
              <a:gd name="connsiteX2" fmla="*/ 12117709 w 12117709"/>
              <a:gd name="connsiteY2" fmla="*/ 2912 h 6858478"/>
              <a:gd name="connsiteX3" fmla="*/ 9522159 w 12117709"/>
              <a:gd name="connsiteY3" fmla="*/ 6858000 h 6858478"/>
              <a:gd name="connsiteX4" fmla="*/ 74950 w 12117709"/>
              <a:gd name="connsiteY4" fmla="*/ 6858414 h 6858478"/>
              <a:gd name="connsiteX5" fmla="*/ 0 w 12117709"/>
              <a:gd name="connsiteY5" fmla="*/ 6788460 h 6858478"/>
              <a:gd name="connsiteX6" fmla="*/ 2498 w 12117709"/>
              <a:gd name="connsiteY6" fmla="*/ 82876 h 6858478"/>
              <a:gd name="connsiteX7" fmla="*/ 82462 w 12117709"/>
              <a:gd name="connsiteY7" fmla="*/ 2912 h 6858478"/>
              <a:gd name="connsiteX0" fmla="*/ 82462 w 12117709"/>
              <a:gd name="connsiteY0" fmla="*/ 2912 h 6858478"/>
              <a:gd name="connsiteX1" fmla="*/ 9522159 w 12117709"/>
              <a:gd name="connsiteY1" fmla="*/ 0 h 6858478"/>
              <a:gd name="connsiteX2" fmla="*/ 12117709 w 12117709"/>
              <a:gd name="connsiteY2" fmla="*/ 2912 h 6858478"/>
              <a:gd name="connsiteX3" fmla="*/ 9522159 w 12117709"/>
              <a:gd name="connsiteY3" fmla="*/ 6858000 h 6858478"/>
              <a:gd name="connsiteX4" fmla="*/ 74950 w 12117709"/>
              <a:gd name="connsiteY4" fmla="*/ 6858414 h 6858478"/>
              <a:gd name="connsiteX5" fmla="*/ 0 w 12117709"/>
              <a:gd name="connsiteY5" fmla="*/ 6788460 h 6858478"/>
              <a:gd name="connsiteX6" fmla="*/ 2498 w 12117709"/>
              <a:gd name="connsiteY6" fmla="*/ 82876 h 6858478"/>
              <a:gd name="connsiteX7" fmla="*/ 82462 w 12117709"/>
              <a:gd name="connsiteY7" fmla="*/ 2912 h 6858478"/>
              <a:gd name="connsiteX0" fmla="*/ 82462 w 9522159"/>
              <a:gd name="connsiteY0" fmla="*/ 2912 h 6858478"/>
              <a:gd name="connsiteX1" fmla="*/ 9522159 w 9522159"/>
              <a:gd name="connsiteY1" fmla="*/ 0 h 6858478"/>
              <a:gd name="connsiteX2" fmla="*/ 9522159 w 9522159"/>
              <a:gd name="connsiteY2" fmla="*/ 6858000 h 6858478"/>
              <a:gd name="connsiteX3" fmla="*/ 74950 w 9522159"/>
              <a:gd name="connsiteY3" fmla="*/ 6858414 h 6858478"/>
              <a:gd name="connsiteX4" fmla="*/ 0 w 9522159"/>
              <a:gd name="connsiteY4" fmla="*/ 6788460 h 6858478"/>
              <a:gd name="connsiteX5" fmla="*/ 2498 w 9522159"/>
              <a:gd name="connsiteY5" fmla="*/ 82876 h 6858478"/>
              <a:gd name="connsiteX6" fmla="*/ 82462 w 9522159"/>
              <a:gd name="connsiteY6" fmla="*/ 2912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2159" h="6858478">
                <a:moveTo>
                  <a:pt x="82462" y="2912"/>
                </a:moveTo>
                <a:lnTo>
                  <a:pt x="9522159" y="0"/>
                </a:lnTo>
                <a:lnTo>
                  <a:pt x="9522159" y="6858000"/>
                </a:lnTo>
                <a:lnTo>
                  <a:pt x="74950" y="6858414"/>
                </a:lnTo>
                <a:cubicBezTo>
                  <a:pt x="37476" y="6860079"/>
                  <a:pt x="-1" y="6829266"/>
                  <a:pt x="0" y="6788460"/>
                </a:cubicBezTo>
                <a:cubicBezTo>
                  <a:pt x="833" y="4553265"/>
                  <a:pt x="1665" y="2318071"/>
                  <a:pt x="2498" y="82876"/>
                </a:cubicBezTo>
                <a:cubicBezTo>
                  <a:pt x="2498" y="38713"/>
                  <a:pt x="38299" y="2912"/>
                  <a:pt x="82462" y="2912"/>
                </a:cubicBezTo>
                <a:close/>
              </a:path>
            </a:pathLst>
          </a:custGeo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8" name="Tijdelijke aanduiding voor tekst 7">
            <a:extLst>
              <a:ext uri="{FF2B5EF4-FFF2-40B4-BE49-F238E27FC236}">
                <a16:creationId xmlns:a16="http://schemas.microsoft.com/office/drawing/2014/main" id="{39BD6526-75E5-4652-A0F9-4ACC8AA0F6C3}"/>
              </a:ext>
            </a:extLst>
          </p:cNvPr>
          <p:cNvSpPr>
            <a:spLocks noGrp="1"/>
          </p:cNvSpPr>
          <p:nvPr>
            <p:ph type="body" sz="quarter" idx="14"/>
          </p:nvPr>
        </p:nvSpPr>
        <p:spPr>
          <a:xfrm>
            <a:off x="9865628" y="358984"/>
            <a:ext cx="2003987" cy="475490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991205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99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fbeelding (4:3) (lichtblauw)">
    <p:spTree>
      <p:nvGrpSpPr>
        <p:cNvPr id="1" name=""/>
        <p:cNvGrpSpPr/>
        <p:nvPr/>
      </p:nvGrpSpPr>
      <p:grpSpPr>
        <a:xfrm>
          <a:off x="0" y="0"/>
          <a:ext cx="0" cy="0"/>
          <a:chOff x="0" y="0"/>
          <a:chExt cx="0" cy="0"/>
        </a:xfrm>
      </p:grpSpPr>
      <p:sp>
        <p:nvSpPr>
          <p:cNvPr id="23" name="Afgeronde rechthoek 7">
            <a:extLst>
              <a:ext uri="{FF2B5EF4-FFF2-40B4-BE49-F238E27FC236}">
                <a16:creationId xmlns:a16="http://schemas.microsoft.com/office/drawing/2014/main" id="{9E686FF5-BE1E-475E-BC37-372393A83A53}"/>
              </a:ext>
            </a:extLst>
          </p:cNvPr>
          <p:cNvSpPr/>
          <p:nvPr userDrawn="1"/>
        </p:nvSpPr>
        <p:spPr>
          <a:xfrm>
            <a:off x="-1538" y="-1824"/>
            <a:ext cx="9529768" cy="6859823"/>
          </a:xfrm>
          <a:custGeom>
            <a:avLst/>
            <a:gdLst>
              <a:gd name="connsiteX0" fmla="*/ 0 w 12195175"/>
              <a:gd name="connsiteY0" fmla="*/ 95258 h 6858000"/>
              <a:gd name="connsiteX1" fmla="*/ 95258 w 12195175"/>
              <a:gd name="connsiteY1" fmla="*/ 0 h 6858000"/>
              <a:gd name="connsiteX2" fmla="*/ 12099917 w 12195175"/>
              <a:gd name="connsiteY2" fmla="*/ 0 h 6858000"/>
              <a:gd name="connsiteX3" fmla="*/ 12195175 w 12195175"/>
              <a:gd name="connsiteY3" fmla="*/ 95258 h 6858000"/>
              <a:gd name="connsiteX4" fmla="*/ 12195175 w 12195175"/>
              <a:gd name="connsiteY4" fmla="*/ 6762742 h 6858000"/>
              <a:gd name="connsiteX5" fmla="*/ 12099917 w 12195175"/>
              <a:gd name="connsiteY5" fmla="*/ 6858000 h 6858000"/>
              <a:gd name="connsiteX6" fmla="*/ 95258 w 12195175"/>
              <a:gd name="connsiteY6" fmla="*/ 6858000 h 6858000"/>
              <a:gd name="connsiteX7" fmla="*/ 0 w 12195175"/>
              <a:gd name="connsiteY7" fmla="*/ 6762742 h 6858000"/>
              <a:gd name="connsiteX8" fmla="*/ 0 w 12195175"/>
              <a:gd name="connsiteY8" fmla="*/ 95258 h 6858000"/>
              <a:gd name="connsiteX0" fmla="*/ 0 w 12195175"/>
              <a:gd name="connsiteY0" fmla="*/ 118634 h 6881376"/>
              <a:gd name="connsiteX1" fmla="*/ 95258 w 12195175"/>
              <a:gd name="connsiteY1" fmla="*/ 23376 h 6881376"/>
              <a:gd name="connsiteX2" fmla="*/ 12099917 w 12195175"/>
              <a:gd name="connsiteY2" fmla="*/ 23376 h 6881376"/>
              <a:gd name="connsiteX3" fmla="*/ 12195175 w 12195175"/>
              <a:gd name="connsiteY3" fmla="*/ 23384 h 6881376"/>
              <a:gd name="connsiteX4" fmla="*/ 12195175 w 12195175"/>
              <a:gd name="connsiteY4" fmla="*/ 6786118 h 6881376"/>
              <a:gd name="connsiteX5" fmla="*/ 12099917 w 12195175"/>
              <a:gd name="connsiteY5" fmla="*/ 6881376 h 6881376"/>
              <a:gd name="connsiteX6" fmla="*/ 95258 w 12195175"/>
              <a:gd name="connsiteY6" fmla="*/ 6881376 h 6881376"/>
              <a:gd name="connsiteX7" fmla="*/ 0 w 12195175"/>
              <a:gd name="connsiteY7" fmla="*/ 6786118 h 6881376"/>
              <a:gd name="connsiteX8" fmla="*/ 0 w 12195175"/>
              <a:gd name="connsiteY8" fmla="*/ 118634 h 6881376"/>
              <a:gd name="connsiteX0" fmla="*/ 0 w 13021588"/>
              <a:gd name="connsiteY0" fmla="*/ 596245 h 7358987"/>
              <a:gd name="connsiteX1" fmla="*/ 95258 w 13021588"/>
              <a:gd name="connsiteY1" fmla="*/ 500987 h 7358987"/>
              <a:gd name="connsiteX2" fmla="*/ 12099917 w 13021588"/>
              <a:gd name="connsiteY2" fmla="*/ 500987 h 7358987"/>
              <a:gd name="connsiteX3" fmla="*/ 12195175 w 13021588"/>
              <a:gd name="connsiteY3" fmla="*/ 500995 h 7358987"/>
              <a:gd name="connsiteX4" fmla="*/ 12195175 w 13021588"/>
              <a:gd name="connsiteY4" fmla="*/ 7263729 h 7358987"/>
              <a:gd name="connsiteX5" fmla="*/ 12099917 w 13021588"/>
              <a:gd name="connsiteY5" fmla="*/ 7358987 h 7358987"/>
              <a:gd name="connsiteX6" fmla="*/ 95258 w 13021588"/>
              <a:gd name="connsiteY6" fmla="*/ 7358987 h 7358987"/>
              <a:gd name="connsiteX7" fmla="*/ 0 w 13021588"/>
              <a:gd name="connsiteY7" fmla="*/ 7263729 h 7358987"/>
              <a:gd name="connsiteX8" fmla="*/ 0 w 13021588"/>
              <a:gd name="connsiteY8" fmla="*/ 596245 h 7358987"/>
              <a:gd name="connsiteX0" fmla="*/ 0 w 12195175"/>
              <a:gd name="connsiteY0" fmla="*/ 95258 h 6858000"/>
              <a:gd name="connsiteX1" fmla="*/ 95258 w 12195175"/>
              <a:gd name="connsiteY1" fmla="*/ 0 h 6858000"/>
              <a:gd name="connsiteX2" fmla="*/ 12195175 w 12195175"/>
              <a:gd name="connsiteY2" fmla="*/ 8 h 6858000"/>
              <a:gd name="connsiteX3" fmla="*/ 12195175 w 12195175"/>
              <a:gd name="connsiteY3" fmla="*/ 6762742 h 6858000"/>
              <a:gd name="connsiteX4" fmla="*/ 12099917 w 12195175"/>
              <a:gd name="connsiteY4" fmla="*/ 6858000 h 6858000"/>
              <a:gd name="connsiteX5" fmla="*/ 95258 w 12195175"/>
              <a:gd name="connsiteY5" fmla="*/ 6858000 h 6858000"/>
              <a:gd name="connsiteX6" fmla="*/ 0 w 12195175"/>
              <a:gd name="connsiteY6" fmla="*/ 6762742 h 6858000"/>
              <a:gd name="connsiteX7" fmla="*/ 0 w 12195175"/>
              <a:gd name="connsiteY7" fmla="*/ 95258 h 6858000"/>
              <a:gd name="connsiteX0" fmla="*/ 0 w 12213415"/>
              <a:gd name="connsiteY0" fmla="*/ 95258 h 6858000"/>
              <a:gd name="connsiteX1" fmla="*/ 95258 w 12213415"/>
              <a:gd name="connsiteY1" fmla="*/ 0 h 6858000"/>
              <a:gd name="connsiteX2" fmla="*/ 12195175 w 12213415"/>
              <a:gd name="connsiteY2" fmla="*/ 8 h 6858000"/>
              <a:gd name="connsiteX3" fmla="*/ 12195175 w 12213415"/>
              <a:gd name="connsiteY3" fmla="*/ 6762742 h 6858000"/>
              <a:gd name="connsiteX4" fmla="*/ 12188023 w 12213415"/>
              <a:gd name="connsiteY4" fmla="*/ 6858000 h 6858000"/>
              <a:gd name="connsiteX5" fmla="*/ 95258 w 12213415"/>
              <a:gd name="connsiteY5" fmla="*/ 6858000 h 6858000"/>
              <a:gd name="connsiteX6" fmla="*/ 0 w 12213415"/>
              <a:gd name="connsiteY6" fmla="*/ 6762742 h 6858000"/>
              <a:gd name="connsiteX7" fmla="*/ 0 w 12213415"/>
              <a:gd name="connsiteY7" fmla="*/ 95258 h 6858000"/>
              <a:gd name="connsiteX0" fmla="*/ 0 w 13085932"/>
              <a:gd name="connsiteY0" fmla="*/ 95258 h 7296671"/>
              <a:gd name="connsiteX1" fmla="*/ 95258 w 13085932"/>
              <a:gd name="connsiteY1" fmla="*/ 0 h 7296671"/>
              <a:gd name="connsiteX2" fmla="*/ 12195175 w 13085932"/>
              <a:gd name="connsiteY2" fmla="*/ 8 h 7296671"/>
              <a:gd name="connsiteX3" fmla="*/ 12195175 w 13085932"/>
              <a:gd name="connsiteY3" fmla="*/ 6762742 h 7296671"/>
              <a:gd name="connsiteX4" fmla="*/ 12188023 w 13085932"/>
              <a:gd name="connsiteY4" fmla="*/ 6858000 h 7296671"/>
              <a:gd name="connsiteX5" fmla="*/ 95258 w 13085932"/>
              <a:gd name="connsiteY5" fmla="*/ 6858000 h 7296671"/>
              <a:gd name="connsiteX6" fmla="*/ 0 w 13085932"/>
              <a:gd name="connsiteY6" fmla="*/ 6762742 h 7296671"/>
              <a:gd name="connsiteX7" fmla="*/ 0 w 13085932"/>
              <a:gd name="connsiteY7" fmla="*/ 95258 h 7296671"/>
              <a:gd name="connsiteX0" fmla="*/ 0 w 12195175"/>
              <a:gd name="connsiteY0" fmla="*/ 95258 h 6858000"/>
              <a:gd name="connsiteX1" fmla="*/ 95258 w 12195175"/>
              <a:gd name="connsiteY1" fmla="*/ 0 h 6858000"/>
              <a:gd name="connsiteX2" fmla="*/ 12195175 w 12195175"/>
              <a:gd name="connsiteY2" fmla="*/ 8 h 6858000"/>
              <a:gd name="connsiteX3" fmla="*/ 12188023 w 12195175"/>
              <a:gd name="connsiteY3" fmla="*/ 6858000 h 6858000"/>
              <a:gd name="connsiteX4" fmla="*/ 95258 w 12195175"/>
              <a:gd name="connsiteY4" fmla="*/ 6858000 h 6858000"/>
              <a:gd name="connsiteX5" fmla="*/ 0 w 12195175"/>
              <a:gd name="connsiteY5" fmla="*/ 6762742 h 6858000"/>
              <a:gd name="connsiteX6" fmla="*/ 0 w 12195175"/>
              <a:gd name="connsiteY6" fmla="*/ 95258 h 6858000"/>
              <a:gd name="connsiteX0" fmla="*/ 0 w 13092080"/>
              <a:gd name="connsiteY0" fmla="*/ 602898 h 7365640"/>
              <a:gd name="connsiteX1" fmla="*/ 95258 w 13092080"/>
              <a:gd name="connsiteY1" fmla="*/ 507640 h 7365640"/>
              <a:gd name="connsiteX2" fmla="*/ 12195175 w 13092080"/>
              <a:gd name="connsiteY2" fmla="*/ 507648 h 7365640"/>
              <a:gd name="connsiteX3" fmla="*/ 12197548 w 13092080"/>
              <a:gd name="connsiteY3" fmla="*/ 7360878 h 7365640"/>
              <a:gd name="connsiteX4" fmla="*/ 95258 w 13092080"/>
              <a:gd name="connsiteY4" fmla="*/ 7365640 h 7365640"/>
              <a:gd name="connsiteX5" fmla="*/ 0 w 13092080"/>
              <a:gd name="connsiteY5" fmla="*/ 7270382 h 7365640"/>
              <a:gd name="connsiteX6" fmla="*/ 0 w 13092080"/>
              <a:gd name="connsiteY6" fmla="*/ 602898 h 7365640"/>
              <a:gd name="connsiteX0" fmla="*/ 0 w 13091286"/>
              <a:gd name="connsiteY0" fmla="*/ 603074 h 7365816"/>
              <a:gd name="connsiteX1" fmla="*/ 95258 w 13091286"/>
              <a:gd name="connsiteY1" fmla="*/ 507816 h 7365816"/>
              <a:gd name="connsiteX2" fmla="*/ 12195175 w 13091286"/>
              <a:gd name="connsiteY2" fmla="*/ 507824 h 7365816"/>
              <a:gd name="connsiteX3" fmla="*/ 12195167 w 13091286"/>
              <a:gd name="connsiteY3" fmla="*/ 7363435 h 7365816"/>
              <a:gd name="connsiteX4" fmla="*/ 95258 w 13091286"/>
              <a:gd name="connsiteY4" fmla="*/ 7365816 h 7365816"/>
              <a:gd name="connsiteX5" fmla="*/ 0 w 13091286"/>
              <a:gd name="connsiteY5" fmla="*/ 7270558 h 7365816"/>
              <a:gd name="connsiteX6" fmla="*/ 0 w 13091286"/>
              <a:gd name="connsiteY6" fmla="*/ 603074 h 7365816"/>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2202311"/>
              <a:gd name="connsiteY0" fmla="*/ 489460 h 7252202"/>
              <a:gd name="connsiteX1" fmla="*/ 95258 w 12202311"/>
              <a:gd name="connsiteY1" fmla="*/ 394202 h 7252202"/>
              <a:gd name="connsiteX2" fmla="*/ 12195175 w 12202311"/>
              <a:gd name="connsiteY2" fmla="*/ 394210 h 7252202"/>
              <a:gd name="connsiteX3" fmla="*/ 12202311 w 12202311"/>
              <a:gd name="connsiteY3" fmla="*/ 7252202 h 7252202"/>
              <a:gd name="connsiteX4" fmla="*/ 95258 w 12202311"/>
              <a:gd name="connsiteY4" fmla="*/ 7252202 h 7252202"/>
              <a:gd name="connsiteX5" fmla="*/ 0 w 12202311"/>
              <a:gd name="connsiteY5" fmla="*/ 7156944 h 7252202"/>
              <a:gd name="connsiteX6" fmla="*/ 0 w 12202311"/>
              <a:gd name="connsiteY6" fmla="*/ 489460 h 7252202"/>
              <a:gd name="connsiteX0" fmla="*/ 0 w 12202311"/>
              <a:gd name="connsiteY0" fmla="*/ 489460 h 7252202"/>
              <a:gd name="connsiteX1" fmla="*/ 95258 w 12202311"/>
              <a:gd name="connsiteY1" fmla="*/ 394202 h 7252202"/>
              <a:gd name="connsiteX2" fmla="*/ 12195175 w 12202311"/>
              <a:gd name="connsiteY2" fmla="*/ 394210 h 7252202"/>
              <a:gd name="connsiteX3" fmla="*/ 12202311 w 12202311"/>
              <a:gd name="connsiteY3" fmla="*/ 7252202 h 7252202"/>
              <a:gd name="connsiteX4" fmla="*/ 95258 w 12202311"/>
              <a:gd name="connsiteY4" fmla="*/ 7252202 h 7252202"/>
              <a:gd name="connsiteX5" fmla="*/ 0 w 12202311"/>
              <a:gd name="connsiteY5" fmla="*/ 7156944 h 7252202"/>
              <a:gd name="connsiteX6" fmla="*/ 0 w 12202311"/>
              <a:gd name="connsiteY6" fmla="*/ 489460 h 7252202"/>
              <a:gd name="connsiteX0" fmla="*/ 0 w 12202311"/>
              <a:gd name="connsiteY0" fmla="*/ 95258 h 6858000"/>
              <a:gd name="connsiteX1" fmla="*/ 95258 w 12202311"/>
              <a:gd name="connsiteY1" fmla="*/ 0 h 6858000"/>
              <a:gd name="connsiteX2" fmla="*/ 12195175 w 12202311"/>
              <a:gd name="connsiteY2" fmla="*/ 8 h 6858000"/>
              <a:gd name="connsiteX3" fmla="*/ 12202311 w 12202311"/>
              <a:gd name="connsiteY3" fmla="*/ 6858000 h 6858000"/>
              <a:gd name="connsiteX4" fmla="*/ 95258 w 12202311"/>
              <a:gd name="connsiteY4" fmla="*/ 6858000 h 6858000"/>
              <a:gd name="connsiteX5" fmla="*/ 0 w 12202311"/>
              <a:gd name="connsiteY5" fmla="*/ 6762742 h 6858000"/>
              <a:gd name="connsiteX6" fmla="*/ 0 w 12202311"/>
              <a:gd name="connsiteY6" fmla="*/ 95258 h 6858000"/>
              <a:gd name="connsiteX0" fmla="*/ 0 w 12205862"/>
              <a:gd name="connsiteY0" fmla="*/ 789969 h 7552711"/>
              <a:gd name="connsiteX1" fmla="*/ 95258 w 12205862"/>
              <a:gd name="connsiteY1" fmla="*/ 694711 h 7552711"/>
              <a:gd name="connsiteX2" fmla="*/ 12195175 w 12205862"/>
              <a:gd name="connsiteY2" fmla="*/ 694719 h 7552711"/>
              <a:gd name="connsiteX3" fmla="*/ 12202311 w 12205862"/>
              <a:gd name="connsiteY3" fmla="*/ 7552711 h 7552711"/>
              <a:gd name="connsiteX4" fmla="*/ 95258 w 12205862"/>
              <a:gd name="connsiteY4" fmla="*/ 7552711 h 7552711"/>
              <a:gd name="connsiteX5" fmla="*/ 0 w 12205862"/>
              <a:gd name="connsiteY5" fmla="*/ 7457453 h 7552711"/>
              <a:gd name="connsiteX6" fmla="*/ 0 w 12205862"/>
              <a:gd name="connsiteY6" fmla="*/ 789969 h 7552711"/>
              <a:gd name="connsiteX0" fmla="*/ 0 w 12205862"/>
              <a:gd name="connsiteY0" fmla="*/ 789969 h 7552711"/>
              <a:gd name="connsiteX1" fmla="*/ 95258 w 12205862"/>
              <a:gd name="connsiteY1" fmla="*/ 694711 h 7552711"/>
              <a:gd name="connsiteX2" fmla="*/ 12195175 w 12205862"/>
              <a:gd name="connsiteY2" fmla="*/ 694719 h 7552711"/>
              <a:gd name="connsiteX3" fmla="*/ 12202311 w 12205862"/>
              <a:gd name="connsiteY3" fmla="*/ 7552711 h 7552711"/>
              <a:gd name="connsiteX4" fmla="*/ 95258 w 12205862"/>
              <a:gd name="connsiteY4" fmla="*/ 7552711 h 7552711"/>
              <a:gd name="connsiteX5" fmla="*/ 0 w 12205862"/>
              <a:gd name="connsiteY5" fmla="*/ 7457453 h 7552711"/>
              <a:gd name="connsiteX6" fmla="*/ 0 w 12205862"/>
              <a:gd name="connsiteY6" fmla="*/ 789969 h 7552711"/>
              <a:gd name="connsiteX0" fmla="*/ 0 w 12639103"/>
              <a:gd name="connsiteY0" fmla="*/ 620131 h 7382873"/>
              <a:gd name="connsiteX1" fmla="*/ 95258 w 12639103"/>
              <a:gd name="connsiteY1" fmla="*/ 524873 h 7382873"/>
              <a:gd name="connsiteX2" fmla="*/ 12195175 w 12639103"/>
              <a:gd name="connsiteY2" fmla="*/ 524881 h 7382873"/>
              <a:gd name="connsiteX3" fmla="*/ 12202311 w 12639103"/>
              <a:gd name="connsiteY3" fmla="*/ 7382873 h 7382873"/>
              <a:gd name="connsiteX4" fmla="*/ 95258 w 12639103"/>
              <a:gd name="connsiteY4" fmla="*/ 7382873 h 7382873"/>
              <a:gd name="connsiteX5" fmla="*/ 0 w 12639103"/>
              <a:gd name="connsiteY5" fmla="*/ 7287615 h 7382873"/>
              <a:gd name="connsiteX6" fmla="*/ 0 w 12639103"/>
              <a:gd name="connsiteY6" fmla="*/ 620131 h 7382873"/>
              <a:gd name="connsiteX0" fmla="*/ 0 w 12639103"/>
              <a:gd name="connsiteY0" fmla="*/ 620131 h 7382873"/>
              <a:gd name="connsiteX1" fmla="*/ 95258 w 12639103"/>
              <a:gd name="connsiteY1" fmla="*/ 524873 h 7382873"/>
              <a:gd name="connsiteX2" fmla="*/ 12195175 w 12639103"/>
              <a:gd name="connsiteY2" fmla="*/ 524881 h 7382873"/>
              <a:gd name="connsiteX3" fmla="*/ 12202311 w 12639103"/>
              <a:gd name="connsiteY3" fmla="*/ 7382873 h 7382873"/>
              <a:gd name="connsiteX4" fmla="*/ 95258 w 12639103"/>
              <a:gd name="connsiteY4" fmla="*/ 7382873 h 7382873"/>
              <a:gd name="connsiteX5" fmla="*/ 0 w 12639103"/>
              <a:gd name="connsiteY5" fmla="*/ 7287615 h 7382873"/>
              <a:gd name="connsiteX6" fmla="*/ 0 w 12639103"/>
              <a:gd name="connsiteY6" fmla="*/ 620131 h 7382873"/>
              <a:gd name="connsiteX0" fmla="*/ 0 w 12837278"/>
              <a:gd name="connsiteY0" fmla="*/ 165206 h 6927948"/>
              <a:gd name="connsiteX1" fmla="*/ 95258 w 12837278"/>
              <a:gd name="connsiteY1" fmla="*/ 69948 h 6927948"/>
              <a:gd name="connsiteX2" fmla="*/ 12195175 w 12837278"/>
              <a:gd name="connsiteY2" fmla="*/ 69956 h 6927948"/>
              <a:gd name="connsiteX3" fmla="*/ 12202311 w 12837278"/>
              <a:gd name="connsiteY3" fmla="*/ 6927948 h 6927948"/>
              <a:gd name="connsiteX4" fmla="*/ 95258 w 12837278"/>
              <a:gd name="connsiteY4" fmla="*/ 6927948 h 6927948"/>
              <a:gd name="connsiteX5" fmla="*/ 0 w 12837278"/>
              <a:gd name="connsiteY5" fmla="*/ 6832690 h 6927948"/>
              <a:gd name="connsiteX6" fmla="*/ 0 w 12837278"/>
              <a:gd name="connsiteY6" fmla="*/ 165206 h 6927948"/>
              <a:gd name="connsiteX0" fmla="*/ 0 w 12837278"/>
              <a:gd name="connsiteY0" fmla="*/ 165206 h 6927948"/>
              <a:gd name="connsiteX1" fmla="*/ 95258 w 12837278"/>
              <a:gd name="connsiteY1" fmla="*/ 69948 h 6927948"/>
              <a:gd name="connsiteX2" fmla="*/ 12195175 w 12837278"/>
              <a:gd name="connsiteY2" fmla="*/ 69956 h 6927948"/>
              <a:gd name="connsiteX3" fmla="*/ 12202311 w 12837278"/>
              <a:gd name="connsiteY3" fmla="*/ 6927948 h 6927948"/>
              <a:gd name="connsiteX4" fmla="*/ 95258 w 12837278"/>
              <a:gd name="connsiteY4" fmla="*/ 6927948 h 6927948"/>
              <a:gd name="connsiteX5" fmla="*/ 0 w 12837278"/>
              <a:gd name="connsiteY5" fmla="*/ 6832690 h 6927948"/>
              <a:gd name="connsiteX6" fmla="*/ 0 w 12837278"/>
              <a:gd name="connsiteY6" fmla="*/ 165206 h 6927948"/>
              <a:gd name="connsiteX0" fmla="*/ 0 w 12837278"/>
              <a:gd name="connsiteY0" fmla="*/ 165206 h 6927948"/>
              <a:gd name="connsiteX1" fmla="*/ 95258 w 12837278"/>
              <a:gd name="connsiteY1" fmla="*/ 69948 h 6927948"/>
              <a:gd name="connsiteX2" fmla="*/ 12195175 w 12837278"/>
              <a:gd name="connsiteY2" fmla="*/ 69956 h 6927948"/>
              <a:gd name="connsiteX3" fmla="*/ 12202311 w 12837278"/>
              <a:gd name="connsiteY3" fmla="*/ 6927948 h 6927948"/>
              <a:gd name="connsiteX4" fmla="*/ 95258 w 12837278"/>
              <a:gd name="connsiteY4" fmla="*/ 6927948 h 6927948"/>
              <a:gd name="connsiteX5" fmla="*/ 0 w 12837278"/>
              <a:gd name="connsiteY5" fmla="*/ 6832690 h 6927948"/>
              <a:gd name="connsiteX6" fmla="*/ 0 w 12837278"/>
              <a:gd name="connsiteY6" fmla="*/ 165206 h 6927948"/>
              <a:gd name="connsiteX0" fmla="*/ 0 w 12202311"/>
              <a:gd name="connsiteY0" fmla="*/ 165206 h 6927948"/>
              <a:gd name="connsiteX1" fmla="*/ 95258 w 12202311"/>
              <a:gd name="connsiteY1" fmla="*/ 69948 h 6927948"/>
              <a:gd name="connsiteX2" fmla="*/ 12195175 w 12202311"/>
              <a:gd name="connsiteY2" fmla="*/ 69956 h 6927948"/>
              <a:gd name="connsiteX3" fmla="*/ 12202311 w 12202311"/>
              <a:gd name="connsiteY3" fmla="*/ 6927948 h 6927948"/>
              <a:gd name="connsiteX4" fmla="*/ 95258 w 12202311"/>
              <a:gd name="connsiteY4" fmla="*/ 6927948 h 6927948"/>
              <a:gd name="connsiteX5" fmla="*/ 0 w 12202311"/>
              <a:gd name="connsiteY5" fmla="*/ 6832690 h 6927948"/>
              <a:gd name="connsiteX6" fmla="*/ 0 w 12202311"/>
              <a:gd name="connsiteY6" fmla="*/ 165206 h 6927948"/>
              <a:gd name="connsiteX0" fmla="*/ 0 w 12202311"/>
              <a:gd name="connsiteY0" fmla="*/ 95258 h 6858000"/>
              <a:gd name="connsiteX1" fmla="*/ 95258 w 12202311"/>
              <a:gd name="connsiteY1" fmla="*/ 0 h 6858000"/>
              <a:gd name="connsiteX2" fmla="*/ 12195175 w 12202311"/>
              <a:gd name="connsiteY2" fmla="*/ 8 h 6858000"/>
              <a:gd name="connsiteX3" fmla="*/ 12202311 w 12202311"/>
              <a:gd name="connsiteY3" fmla="*/ 6858000 h 6858000"/>
              <a:gd name="connsiteX4" fmla="*/ 95258 w 12202311"/>
              <a:gd name="connsiteY4" fmla="*/ 6858000 h 6858000"/>
              <a:gd name="connsiteX5" fmla="*/ 0 w 12202311"/>
              <a:gd name="connsiteY5" fmla="*/ 6762742 h 6858000"/>
              <a:gd name="connsiteX6" fmla="*/ 0 w 12202311"/>
              <a:gd name="connsiteY6" fmla="*/ 95258 h 6858000"/>
              <a:gd name="connsiteX0" fmla="*/ 0 w 12202311"/>
              <a:gd name="connsiteY0" fmla="*/ 95258 h 6858000"/>
              <a:gd name="connsiteX1" fmla="*/ 95258 w 12202311"/>
              <a:gd name="connsiteY1" fmla="*/ 0 h 6858000"/>
              <a:gd name="connsiteX2" fmla="*/ 12195175 w 12202311"/>
              <a:gd name="connsiteY2" fmla="*/ 8 h 6858000"/>
              <a:gd name="connsiteX3" fmla="*/ 12202311 w 12202311"/>
              <a:gd name="connsiteY3" fmla="*/ 6858000 h 6858000"/>
              <a:gd name="connsiteX4" fmla="*/ 95258 w 12202311"/>
              <a:gd name="connsiteY4" fmla="*/ 6858000 h 6858000"/>
              <a:gd name="connsiteX5" fmla="*/ 0 w 12202311"/>
              <a:gd name="connsiteY5" fmla="*/ 6762742 h 6858000"/>
              <a:gd name="connsiteX6" fmla="*/ 0 w 12202311"/>
              <a:gd name="connsiteY6" fmla="*/ 95258 h 6858000"/>
              <a:gd name="connsiteX0" fmla="*/ 0 w 12202311"/>
              <a:gd name="connsiteY0" fmla="*/ 95258 h 6858000"/>
              <a:gd name="connsiteX1" fmla="*/ 95258 w 12202311"/>
              <a:gd name="connsiteY1" fmla="*/ 0 h 6858000"/>
              <a:gd name="connsiteX2" fmla="*/ 12195175 w 12202311"/>
              <a:gd name="connsiteY2" fmla="*/ 8 h 6858000"/>
              <a:gd name="connsiteX3" fmla="*/ 12202311 w 12202311"/>
              <a:gd name="connsiteY3" fmla="*/ 6858000 h 6858000"/>
              <a:gd name="connsiteX4" fmla="*/ 95258 w 12202311"/>
              <a:gd name="connsiteY4" fmla="*/ 6858000 h 6858000"/>
              <a:gd name="connsiteX5" fmla="*/ 0 w 12202311"/>
              <a:gd name="connsiteY5" fmla="*/ 6762742 h 6858000"/>
              <a:gd name="connsiteX6" fmla="*/ 0 w 12202311"/>
              <a:gd name="connsiteY6" fmla="*/ 95258 h 6858000"/>
              <a:gd name="connsiteX0" fmla="*/ 0 w 13012739"/>
              <a:gd name="connsiteY0" fmla="*/ 95258 h 7364588"/>
              <a:gd name="connsiteX1" fmla="*/ 95258 w 13012739"/>
              <a:gd name="connsiteY1" fmla="*/ 0 h 7364588"/>
              <a:gd name="connsiteX2" fmla="*/ 11922125 w 13012739"/>
              <a:gd name="connsiteY2" fmla="*/ 19058 h 7364588"/>
              <a:gd name="connsiteX3" fmla="*/ 12202311 w 13012739"/>
              <a:gd name="connsiteY3" fmla="*/ 6858000 h 7364588"/>
              <a:gd name="connsiteX4" fmla="*/ 95258 w 13012739"/>
              <a:gd name="connsiteY4" fmla="*/ 6858000 h 7364588"/>
              <a:gd name="connsiteX5" fmla="*/ 0 w 13012739"/>
              <a:gd name="connsiteY5" fmla="*/ 6762742 h 7364588"/>
              <a:gd name="connsiteX6" fmla="*/ 0 w 13012739"/>
              <a:gd name="connsiteY6" fmla="*/ 95258 h 7364588"/>
              <a:gd name="connsiteX0" fmla="*/ 0 w 13169364"/>
              <a:gd name="connsiteY0" fmla="*/ 228600 h 7509219"/>
              <a:gd name="connsiteX1" fmla="*/ 95258 w 13169364"/>
              <a:gd name="connsiteY1" fmla="*/ 133342 h 7509219"/>
              <a:gd name="connsiteX2" fmla="*/ 12398375 w 13169364"/>
              <a:gd name="connsiteY2" fmla="*/ 0 h 7509219"/>
              <a:gd name="connsiteX3" fmla="*/ 12202311 w 13169364"/>
              <a:gd name="connsiteY3" fmla="*/ 6991342 h 7509219"/>
              <a:gd name="connsiteX4" fmla="*/ 95258 w 13169364"/>
              <a:gd name="connsiteY4" fmla="*/ 6991342 h 7509219"/>
              <a:gd name="connsiteX5" fmla="*/ 0 w 13169364"/>
              <a:gd name="connsiteY5" fmla="*/ 6896084 h 7509219"/>
              <a:gd name="connsiteX6" fmla="*/ 0 w 13169364"/>
              <a:gd name="connsiteY6" fmla="*/ 228600 h 7509219"/>
              <a:gd name="connsiteX0" fmla="*/ 0 w 12911670"/>
              <a:gd name="connsiteY0" fmla="*/ 95258 h 7325547"/>
              <a:gd name="connsiteX1" fmla="*/ 95258 w 12911670"/>
              <a:gd name="connsiteY1" fmla="*/ 0 h 7325547"/>
              <a:gd name="connsiteX2" fmla="*/ 11553825 w 12911670"/>
              <a:gd name="connsiteY2" fmla="*/ 546108 h 7325547"/>
              <a:gd name="connsiteX3" fmla="*/ 12202311 w 12911670"/>
              <a:gd name="connsiteY3" fmla="*/ 6858000 h 7325547"/>
              <a:gd name="connsiteX4" fmla="*/ 95258 w 12911670"/>
              <a:gd name="connsiteY4" fmla="*/ 6858000 h 7325547"/>
              <a:gd name="connsiteX5" fmla="*/ 0 w 12911670"/>
              <a:gd name="connsiteY5" fmla="*/ 6762742 h 7325547"/>
              <a:gd name="connsiteX6" fmla="*/ 0 w 12911670"/>
              <a:gd name="connsiteY6" fmla="*/ 95258 h 7325547"/>
              <a:gd name="connsiteX0" fmla="*/ 0 w 13100634"/>
              <a:gd name="connsiteY0" fmla="*/ 95258 h 7365999"/>
              <a:gd name="connsiteX1" fmla="*/ 95258 w 13100634"/>
              <a:gd name="connsiteY1" fmla="*/ 0 h 7365999"/>
              <a:gd name="connsiteX2" fmla="*/ 12201525 w 13100634"/>
              <a:gd name="connsiteY2" fmla="*/ 8 h 7365999"/>
              <a:gd name="connsiteX3" fmla="*/ 12202311 w 13100634"/>
              <a:gd name="connsiteY3" fmla="*/ 6858000 h 7365999"/>
              <a:gd name="connsiteX4" fmla="*/ 95258 w 13100634"/>
              <a:gd name="connsiteY4" fmla="*/ 6858000 h 7365999"/>
              <a:gd name="connsiteX5" fmla="*/ 0 w 13100634"/>
              <a:gd name="connsiteY5" fmla="*/ 6762742 h 7365999"/>
              <a:gd name="connsiteX6" fmla="*/ 0 w 13100634"/>
              <a:gd name="connsiteY6" fmla="*/ 95258 h 7365999"/>
              <a:gd name="connsiteX0" fmla="*/ 0 w 12205175"/>
              <a:gd name="connsiteY0" fmla="*/ 95258 h 7365999"/>
              <a:gd name="connsiteX1" fmla="*/ 95258 w 12205175"/>
              <a:gd name="connsiteY1" fmla="*/ 0 h 7365999"/>
              <a:gd name="connsiteX2" fmla="*/ 12201525 w 12205175"/>
              <a:gd name="connsiteY2" fmla="*/ 8 h 7365999"/>
              <a:gd name="connsiteX3" fmla="*/ 12202311 w 12205175"/>
              <a:gd name="connsiteY3" fmla="*/ 6858000 h 7365999"/>
              <a:gd name="connsiteX4" fmla="*/ 95258 w 12205175"/>
              <a:gd name="connsiteY4" fmla="*/ 6858000 h 7365999"/>
              <a:gd name="connsiteX5" fmla="*/ 0 w 12205175"/>
              <a:gd name="connsiteY5" fmla="*/ 6762742 h 7365999"/>
              <a:gd name="connsiteX6" fmla="*/ 0 w 12205175"/>
              <a:gd name="connsiteY6" fmla="*/ 95258 h 7365999"/>
              <a:gd name="connsiteX0" fmla="*/ 0 w 12205175"/>
              <a:gd name="connsiteY0" fmla="*/ 95258 h 6858000"/>
              <a:gd name="connsiteX1" fmla="*/ 95258 w 12205175"/>
              <a:gd name="connsiteY1" fmla="*/ 0 h 6858000"/>
              <a:gd name="connsiteX2" fmla="*/ 12201525 w 12205175"/>
              <a:gd name="connsiteY2" fmla="*/ 8 h 6858000"/>
              <a:gd name="connsiteX3" fmla="*/ 12202311 w 12205175"/>
              <a:gd name="connsiteY3" fmla="*/ 6858000 h 6858000"/>
              <a:gd name="connsiteX4" fmla="*/ 95258 w 12205175"/>
              <a:gd name="connsiteY4" fmla="*/ 6858000 h 6858000"/>
              <a:gd name="connsiteX5" fmla="*/ 0 w 12205175"/>
              <a:gd name="connsiteY5" fmla="*/ 6762742 h 6858000"/>
              <a:gd name="connsiteX6" fmla="*/ 0 w 12205175"/>
              <a:gd name="connsiteY6" fmla="*/ 95258 h 6858000"/>
              <a:gd name="connsiteX0" fmla="*/ 0 w 12205175"/>
              <a:gd name="connsiteY0" fmla="*/ 95258 h 6858000"/>
              <a:gd name="connsiteX1" fmla="*/ 95258 w 12205175"/>
              <a:gd name="connsiteY1" fmla="*/ 0 h 6858000"/>
              <a:gd name="connsiteX2" fmla="*/ 12201525 w 12205175"/>
              <a:gd name="connsiteY2" fmla="*/ 8 h 6858000"/>
              <a:gd name="connsiteX3" fmla="*/ 12202311 w 12205175"/>
              <a:gd name="connsiteY3" fmla="*/ 6858000 h 6858000"/>
              <a:gd name="connsiteX4" fmla="*/ 95258 w 12205175"/>
              <a:gd name="connsiteY4" fmla="*/ 6858000 h 6858000"/>
              <a:gd name="connsiteX5" fmla="*/ 0 w 12205175"/>
              <a:gd name="connsiteY5" fmla="*/ 6762742 h 6858000"/>
              <a:gd name="connsiteX6" fmla="*/ 0 w 12205175"/>
              <a:gd name="connsiteY6" fmla="*/ 95258 h 6858000"/>
              <a:gd name="connsiteX0" fmla="*/ 0 w 12201542"/>
              <a:gd name="connsiteY0" fmla="*/ 95258 h 6858000"/>
              <a:gd name="connsiteX1" fmla="*/ 95258 w 12201542"/>
              <a:gd name="connsiteY1" fmla="*/ 0 h 6858000"/>
              <a:gd name="connsiteX2" fmla="*/ 12201525 w 12201542"/>
              <a:gd name="connsiteY2" fmla="*/ 8 h 6858000"/>
              <a:gd name="connsiteX3" fmla="*/ 9527477 w 12201542"/>
              <a:gd name="connsiteY3" fmla="*/ 6858000 h 6858000"/>
              <a:gd name="connsiteX4" fmla="*/ 95258 w 12201542"/>
              <a:gd name="connsiteY4" fmla="*/ 6858000 h 6858000"/>
              <a:gd name="connsiteX5" fmla="*/ 0 w 12201542"/>
              <a:gd name="connsiteY5" fmla="*/ 6762742 h 6858000"/>
              <a:gd name="connsiteX6" fmla="*/ 0 w 12201542"/>
              <a:gd name="connsiteY6" fmla="*/ 95258 h 6858000"/>
              <a:gd name="connsiteX0" fmla="*/ 0 w 9527477"/>
              <a:gd name="connsiteY0" fmla="*/ 103795 h 6866537"/>
              <a:gd name="connsiteX1" fmla="*/ 95258 w 9527477"/>
              <a:gd name="connsiteY1" fmla="*/ 8537 h 6866537"/>
              <a:gd name="connsiteX2" fmla="*/ 9518146 w 9527477"/>
              <a:gd name="connsiteY2" fmla="*/ 0 h 6866537"/>
              <a:gd name="connsiteX3" fmla="*/ 9527477 w 9527477"/>
              <a:gd name="connsiteY3" fmla="*/ 6866537 h 6866537"/>
              <a:gd name="connsiteX4" fmla="*/ 95258 w 9527477"/>
              <a:gd name="connsiteY4" fmla="*/ 6866537 h 6866537"/>
              <a:gd name="connsiteX5" fmla="*/ 0 w 9527477"/>
              <a:gd name="connsiteY5" fmla="*/ 6771279 h 6866537"/>
              <a:gd name="connsiteX6" fmla="*/ 0 w 9527477"/>
              <a:gd name="connsiteY6" fmla="*/ 103795 h 6866537"/>
              <a:gd name="connsiteX0" fmla="*/ 0 w 9527477"/>
              <a:gd name="connsiteY0" fmla="*/ 95258 h 6858000"/>
              <a:gd name="connsiteX1" fmla="*/ 95258 w 9527477"/>
              <a:gd name="connsiteY1" fmla="*/ 0 h 6858000"/>
              <a:gd name="connsiteX2" fmla="*/ 9236459 w 9527477"/>
              <a:gd name="connsiteY2" fmla="*/ 99804 h 6858000"/>
              <a:gd name="connsiteX3" fmla="*/ 9527477 w 9527477"/>
              <a:gd name="connsiteY3" fmla="*/ 6858000 h 6858000"/>
              <a:gd name="connsiteX4" fmla="*/ 95258 w 9527477"/>
              <a:gd name="connsiteY4" fmla="*/ 6858000 h 6858000"/>
              <a:gd name="connsiteX5" fmla="*/ 0 w 9527477"/>
              <a:gd name="connsiteY5" fmla="*/ 6762742 h 6858000"/>
              <a:gd name="connsiteX6" fmla="*/ 0 w 9527477"/>
              <a:gd name="connsiteY6" fmla="*/ 95258 h 6858000"/>
              <a:gd name="connsiteX0" fmla="*/ 0 w 9527477"/>
              <a:gd name="connsiteY0" fmla="*/ 95258 h 6858000"/>
              <a:gd name="connsiteX1" fmla="*/ 95258 w 9527477"/>
              <a:gd name="connsiteY1" fmla="*/ 0 h 6858000"/>
              <a:gd name="connsiteX2" fmla="*/ 9440140 w 9527477"/>
              <a:gd name="connsiteY2" fmla="*/ 39133 h 6858000"/>
              <a:gd name="connsiteX3" fmla="*/ 9527477 w 9527477"/>
              <a:gd name="connsiteY3" fmla="*/ 6858000 h 6858000"/>
              <a:gd name="connsiteX4" fmla="*/ 95258 w 9527477"/>
              <a:gd name="connsiteY4" fmla="*/ 6858000 h 6858000"/>
              <a:gd name="connsiteX5" fmla="*/ 0 w 9527477"/>
              <a:gd name="connsiteY5" fmla="*/ 6762742 h 6858000"/>
              <a:gd name="connsiteX6" fmla="*/ 0 w 9527477"/>
              <a:gd name="connsiteY6" fmla="*/ 95258 h 6858000"/>
              <a:gd name="connsiteX0" fmla="*/ 0 w 9527477"/>
              <a:gd name="connsiteY0" fmla="*/ 99461 h 6862203"/>
              <a:gd name="connsiteX1" fmla="*/ 95258 w 9527477"/>
              <a:gd name="connsiteY1" fmla="*/ 4203 h 6862203"/>
              <a:gd name="connsiteX2" fmla="*/ 9518146 w 9527477"/>
              <a:gd name="connsiteY2" fmla="*/ 0 h 6862203"/>
              <a:gd name="connsiteX3" fmla="*/ 9527477 w 9527477"/>
              <a:gd name="connsiteY3" fmla="*/ 6862203 h 6862203"/>
              <a:gd name="connsiteX4" fmla="*/ 95258 w 9527477"/>
              <a:gd name="connsiteY4" fmla="*/ 6862203 h 6862203"/>
              <a:gd name="connsiteX5" fmla="*/ 0 w 9527477"/>
              <a:gd name="connsiteY5" fmla="*/ 6766945 h 6862203"/>
              <a:gd name="connsiteX6" fmla="*/ 0 w 9527477"/>
              <a:gd name="connsiteY6" fmla="*/ 99461 h 6862203"/>
              <a:gd name="connsiteX0" fmla="*/ 0 w 9518600"/>
              <a:gd name="connsiteY0" fmla="*/ 99461 h 6862203"/>
              <a:gd name="connsiteX1" fmla="*/ 95258 w 9518600"/>
              <a:gd name="connsiteY1" fmla="*/ 4203 h 6862203"/>
              <a:gd name="connsiteX2" fmla="*/ 9518146 w 9518600"/>
              <a:gd name="connsiteY2" fmla="*/ 0 h 6862203"/>
              <a:gd name="connsiteX3" fmla="*/ 9427804 w 9518600"/>
              <a:gd name="connsiteY3" fmla="*/ 6862203 h 6862203"/>
              <a:gd name="connsiteX4" fmla="*/ 95258 w 9518600"/>
              <a:gd name="connsiteY4" fmla="*/ 6862203 h 6862203"/>
              <a:gd name="connsiteX5" fmla="*/ 0 w 9518600"/>
              <a:gd name="connsiteY5" fmla="*/ 6766945 h 6862203"/>
              <a:gd name="connsiteX6" fmla="*/ 0 w 9518600"/>
              <a:gd name="connsiteY6" fmla="*/ 99461 h 6862203"/>
              <a:gd name="connsiteX0" fmla="*/ 0 w 9521762"/>
              <a:gd name="connsiteY0" fmla="*/ 99461 h 6862203"/>
              <a:gd name="connsiteX1" fmla="*/ 95258 w 9521762"/>
              <a:gd name="connsiteY1" fmla="*/ 4203 h 6862203"/>
              <a:gd name="connsiteX2" fmla="*/ 9518146 w 9521762"/>
              <a:gd name="connsiteY2" fmla="*/ 0 h 6862203"/>
              <a:gd name="connsiteX3" fmla="*/ 9518810 w 9521762"/>
              <a:gd name="connsiteY3" fmla="*/ 6862203 h 6862203"/>
              <a:gd name="connsiteX4" fmla="*/ 95258 w 9521762"/>
              <a:gd name="connsiteY4" fmla="*/ 6862203 h 6862203"/>
              <a:gd name="connsiteX5" fmla="*/ 0 w 9521762"/>
              <a:gd name="connsiteY5" fmla="*/ 6766945 h 6862203"/>
              <a:gd name="connsiteX6" fmla="*/ 0 w 9521762"/>
              <a:gd name="connsiteY6" fmla="*/ 99461 h 6862203"/>
              <a:gd name="connsiteX0" fmla="*/ 0 w 9531950"/>
              <a:gd name="connsiteY0" fmla="*/ 199474 h 6962216"/>
              <a:gd name="connsiteX1" fmla="*/ 95258 w 9531950"/>
              <a:gd name="connsiteY1" fmla="*/ 104216 h 6962216"/>
              <a:gd name="connsiteX2" fmla="*/ 9530053 w 9531950"/>
              <a:gd name="connsiteY2" fmla="*/ 0 h 6962216"/>
              <a:gd name="connsiteX3" fmla="*/ 9518810 w 9531950"/>
              <a:gd name="connsiteY3" fmla="*/ 6962216 h 6962216"/>
              <a:gd name="connsiteX4" fmla="*/ 95258 w 9531950"/>
              <a:gd name="connsiteY4" fmla="*/ 6962216 h 6962216"/>
              <a:gd name="connsiteX5" fmla="*/ 0 w 9531950"/>
              <a:gd name="connsiteY5" fmla="*/ 6866958 h 6962216"/>
              <a:gd name="connsiteX6" fmla="*/ 0 w 9531950"/>
              <a:gd name="connsiteY6" fmla="*/ 199474 h 6962216"/>
              <a:gd name="connsiteX0" fmla="*/ 0 w 9518810"/>
              <a:gd name="connsiteY0" fmla="*/ 95258 h 6858000"/>
              <a:gd name="connsiteX1" fmla="*/ 95258 w 9518810"/>
              <a:gd name="connsiteY1" fmla="*/ 0 h 6858000"/>
              <a:gd name="connsiteX2" fmla="*/ 9470521 w 9518810"/>
              <a:gd name="connsiteY2" fmla="*/ 126766 h 6858000"/>
              <a:gd name="connsiteX3" fmla="*/ 9518810 w 9518810"/>
              <a:gd name="connsiteY3" fmla="*/ 6858000 h 6858000"/>
              <a:gd name="connsiteX4" fmla="*/ 95258 w 9518810"/>
              <a:gd name="connsiteY4" fmla="*/ 6858000 h 6858000"/>
              <a:gd name="connsiteX5" fmla="*/ 0 w 9518810"/>
              <a:gd name="connsiteY5" fmla="*/ 6762742 h 6858000"/>
              <a:gd name="connsiteX6" fmla="*/ 0 w 9518810"/>
              <a:gd name="connsiteY6" fmla="*/ 95258 h 6858000"/>
              <a:gd name="connsiteX0" fmla="*/ 0 w 9529768"/>
              <a:gd name="connsiteY0" fmla="*/ 97080 h 6859822"/>
              <a:gd name="connsiteX1" fmla="*/ 95258 w 9529768"/>
              <a:gd name="connsiteY1" fmla="*/ 1822 h 6859822"/>
              <a:gd name="connsiteX2" fmla="*/ 9527671 w 9529768"/>
              <a:gd name="connsiteY2" fmla="*/ 0 h 6859822"/>
              <a:gd name="connsiteX3" fmla="*/ 9518810 w 9529768"/>
              <a:gd name="connsiteY3" fmla="*/ 6859822 h 6859822"/>
              <a:gd name="connsiteX4" fmla="*/ 95258 w 9529768"/>
              <a:gd name="connsiteY4" fmla="*/ 6859822 h 6859822"/>
              <a:gd name="connsiteX5" fmla="*/ 0 w 9529768"/>
              <a:gd name="connsiteY5" fmla="*/ 6764564 h 6859822"/>
              <a:gd name="connsiteX6" fmla="*/ 0 w 9529768"/>
              <a:gd name="connsiteY6" fmla="*/ 97080 h 6859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9768" h="6859822">
                <a:moveTo>
                  <a:pt x="0" y="97080"/>
                </a:moveTo>
                <a:cubicBezTo>
                  <a:pt x="0" y="44470"/>
                  <a:pt x="42648" y="1822"/>
                  <a:pt x="95258" y="1822"/>
                </a:cubicBezTo>
                <a:lnTo>
                  <a:pt x="9527671" y="0"/>
                </a:lnTo>
                <a:cubicBezTo>
                  <a:pt x="9535612" y="2407049"/>
                  <a:pt x="9518417" y="3430826"/>
                  <a:pt x="9518810" y="6859822"/>
                </a:cubicBezTo>
                <a:lnTo>
                  <a:pt x="95258" y="6859822"/>
                </a:lnTo>
                <a:cubicBezTo>
                  <a:pt x="42648" y="6859822"/>
                  <a:pt x="0" y="6817174"/>
                  <a:pt x="0" y="6764564"/>
                </a:cubicBezTo>
                <a:lnTo>
                  <a:pt x="0" y="97080"/>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tel 1"/>
          <p:cNvSpPr>
            <a:spLocks noGrp="1"/>
          </p:cNvSpPr>
          <p:nvPr>
            <p:ph type="title"/>
          </p:nvPr>
        </p:nvSpPr>
        <p:spPr>
          <a:xfrm>
            <a:off x="2863515" y="-710349"/>
            <a:ext cx="8859071" cy="648000"/>
          </a:xfrm>
        </p:spPr>
        <p:txBody>
          <a:bodyPr anchor="b"/>
          <a:lstStyle>
            <a:lvl1pPr algn="r">
              <a:defRPr/>
            </a:lvl1pPr>
          </a:lstStyle>
          <a:p>
            <a:r>
              <a:rPr lang="nl-NL"/>
              <a:t>Klik om stijl te bewerken</a:t>
            </a:r>
            <a:endParaRPr lang="en-GB" dirty="0"/>
          </a:p>
        </p:txBody>
      </p:sp>
      <p:sp>
        <p:nvSpPr>
          <p:cNvPr id="10" name="Tekstvak 9"/>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Afbeelding (XXL)</a:t>
            </a:r>
          </a:p>
        </p:txBody>
      </p:sp>
      <p:grpSp>
        <p:nvGrpSpPr>
          <p:cNvPr id="49" name="Groep 48">
            <a:extLst>
              <a:ext uri="{FF2B5EF4-FFF2-40B4-BE49-F238E27FC236}">
                <a16:creationId xmlns:a16="http://schemas.microsoft.com/office/drawing/2014/main" id="{1CB86391-C3A1-48A9-83A9-CDA9762F1594}"/>
              </a:ext>
            </a:extLst>
          </p:cNvPr>
          <p:cNvGrpSpPr/>
          <p:nvPr userDrawn="1"/>
        </p:nvGrpSpPr>
        <p:grpSpPr>
          <a:xfrm>
            <a:off x="12363871" y="-26002"/>
            <a:ext cx="3064812" cy="4530930"/>
            <a:chOff x="15419739" y="-26002"/>
            <a:chExt cx="3064812" cy="4530930"/>
          </a:xfrm>
        </p:grpSpPr>
        <p:sp>
          <p:nvSpPr>
            <p:cNvPr id="50" name="Tekstvak 33">
              <a:extLst>
                <a:ext uri="{FF2B5EF4-FFF2-40B4-BE49-F238E27FC236}">
                  <a16:creationId xmlns:a16="http://schemas.microsoft.com/office/drawing/2014/main" id="{2ADCA6F7-250E-4B72-B0DE-999BA8D650E9}"/>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51" name="Tekstvak 33">
              <a:extLst>
                <a:ext uri="{FF2B5EF4-FFF2-40B4-BE49-F238E27FC236}">
                  <a16:creationId xmlns:a16="http://schemas.microsoft.com/office/drawing/2014/main" id="{3D453C5E-479D-4F1D-9BFA-30110A165968}"/>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52" name="Ovaal 51">
              <a:extLst>
                <a:ext uri="{FF2B5EF4-FFF2-40B4-BE49-F238E27FC236}">
                  <a16:creationId xmlns:a16="http://schemas.microsoft.com/office/drawing/2014/main" id="{59F34422-D145-4BF6-A5D7-5A45F15882CF}"/>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53" name="Ovaal 52">
              <a:extLst>
                <a:ext uri="{FF2B5EF4-FFF2-40B4-BE49-F238E27FC236}">
                  <a16:creationId xmlns:a16="http://schemas.microsoft.com/office/drawing/2014/main" id="{4ADA4B64-59B4-479B-9F6E-5DE33E2E0DCC}"/>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54" name="Picture 3">
              <a:extLst>
                <a:ext uri="{FF2B5EF4-FFF2-40B4-BE49-F238E27FC236}">
                  <a16:creationId xmlns:a16="http://schemas.microsoft.com/office/drawing/2014/main" id="{10A71998-BA22-4DB3-B07F-8262582350FC}"/>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55" name="Picture 3">
              <a:extLst>
                <a:ext uri="{FF2B5EF4-FFF2-40B4-BE49-F238E27FC236}">
                  <a16:creationId xmlns:a16="http://schemas.microsoft.com/office/drawing/2014/main" id="{1267A3F0-F5E6-42C8-8255-B54664104A90}"/>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56" name="Tekstvak 55">
              <a:extLst>
                <a:ext uri="{FF2B5EF4-FFF2-40B4-BE49-F238E27FC236}">
                  <a16:creationId xmlns:a16="http://schemas.microsoft.com/office/drawing/2014/main" id="{5D1F6466-7E88-4C40-A76B-97C83D60BF13}"/>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57" name="Rechthoek 56">
              <a:extLst>
                <a:ext uri="{FF2B5EF4-FFF2-40B4-BE49-F238E27FC236}">
                  <a16:creationId xmlns:a16="http://schemas.microsoft.com/office/drawing/2014/main" id="{10BCE57B-8314-47AB-A6BE-574598C816CC}"/>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58" name="Groep 57">
              <a:extLst>
                <a:ext uri="{FF2B5EF4-FFF2-40B4-BE49-F238E27FC236}">
                  <a16:creationId xmlns:a16="http://schemas.microsoft.com/office/drawing/2014/main" id="{BB7B2A28-7AEE-40D5-9733-8D3A2C919095}"/>
                </a:ext>
              </a:extLst>
            </p:cNvPr>
            <p:cNvGrpSpPr/>
            <p:nvPr userDrawn="1"/>
          </p:nvGrpSpPr>
          <p:grpSpPr>
            <a:xfrm>
              <a:off x="15563079" y="358984"/>
              <a:ext cx="2489424" cy="4145944"/>
              <a:chOff x="15563079" y="358984"/>
              <a:chExt cx="2315772" cy="4145944"/>
            </a:xfrm>
          </p:grpSpPr>
          <p:cxnSp>
            <p:nvCxnSpPr>
              <p:cNvPr id="60" name="Rechte verbindingslijn 59">
                <a:extLst>
                  <a:ext uri="{FF2B5EF4-FFF2-40B4-BE49-F238E27FC236}">
                    <a16:creationId xmlns:a16="http://schemas.microsoft.com/office/drawing/2014/main" id="{01932068-E8F3-44CA-AA82-2D843012EC09}"/>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86E371A4-53F6-4D69-A675-664419DD843B}"/>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03719C9B-17A2-4360-8F5A-F299E9B3973B}"/>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59" name="Afbeelding 58">
              <a:extLst>
                <a:ext uri="{FF2B5EF4-FFF2-40B4-BE49-F238E27FC236}">
                  <a16:creationId xmlns:a16="http://schemas.microsoft.com/office/drawing/2014/main" id="{10AA9EE2-B9F0-4E48-B247-7B2A80B4D54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pic>
        <p:nvPicPr>
          <p:cNvPr id="12" name="Afbeelding 11">
            <a:extLst>
              <a:ext uri="{FF2B5EF4-FFF2-40B4-BE49-F238E27FC236}">
                <a16:creationId xmlns:a16="http://schemas.microsoft.com/office/drawing/2014/main" id="{B4D2D389-F56E-47FE-9C6D-2A7B53EF501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892888" y="5274334"/>
            <a:ext cx="1778595" cy="578317"/>
          </a:xfrm>
          <a:prstGeom prst="rect">
            <a:avLst/>
          </a:prstGeom>
        </p:spPr>
      </p:pic>
      <p:pic>
        <p:nvPicPr>
          <p:cNvPr id="14" name="Afbeelding 13">
            <a:extLst>
              <a:ext uri="{FF2B5EF4-FFF2-40B4-BE49-F238E27FC236}">
                <a16:creationId xmlns:a16="http://schemas.microsoft.com/office/drawing/2014/main" id="{3FC69205-9594-477F-BFFF-D9C3D9F4F27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34467" y="6147270"/>
            <a:ext cx="1778599" cy="578317"/>
          </a:xfrm>
          <a:prstGeom prst="rect">
            <a:avLst/>
          </a:prstGeom>
        </p:spPr>
      </p:pic>
      <p:pic>
        <p:nvPicPr>
          <p:cNvPr id="16" name="Afbeelding 15">
            <a:extLst>
              <a:ext uri="{FF2B5EF4-FFF2-40B4-BE49-F238E27FC236}">
                <a16:creationId xmlns:a16="http://schemas.microsoft.com/office/drawing/2014/main" id="{3CD5E66E-7135-4756-8E3E-FF84E48FD52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936848" y="3363418"/>
            <a:ext cx="1778595" cy="578316"/>
          </a:xfrm>
          <a:prstGeom prst="rect">
            <a:avLst/>
          </a:prstGeom>
        </p:spPr>
      </p:pic>
      <p:pic>
        <p:nvPicPr>
          <p:cNvPr id="9" name="Afbeelding 8">
            <a:extLst>
              <a:ext uri="{FF2B5EF4-FFF2-40B4-BE49-F238E27FC236}">
                <a16:creationId xmlns:a16="http://schemas.microsoft.com/office/drawing/2014/main" id="{221A9D0A-4E28-46E7-9C8A-15FF9CFEACE8}"/>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934467" y="4697933"/>
            <a:ext cx="1778595" cy="578316"/>
          </a:xfrm>
          <a:prstGeom prst="rect">
            <a:avLst/>
          </a:prstGeom>
        </p:spPr>
      </p:pic>
      <p:sp>
        <p:nvSpPr>
          <p:cNvPr id="7" name="Rechthoek 6">
            <a:extLst>
              <a:ext uri="{FF2B5EF4-FFF2-40B4-BE49-F238E27FC236}">
                <a16:creationId xmlns:a16="http://schemas.microsoft.com/office/drawing/2014/main" id="{96572EB2-87AA-47A6-9156-C3275FEA7BBC}"/>
              </a:ext>
            </a:extLst>
          </p:cNvPr>
          <p:cNvSpPr/>
          <p:nvPr userDrawn="1"/>
        </p:nvSpPr>
        <p:spPr>
          <a:xfrm>
            <a:off x="9520032" y="0"/>
            <a:ext cx="2675143" cy="5986830"/>
          </a:xfrm>
          <a:custGeom>
            <a:avLst/>
            <a:gdLst>
              <a:gd name="connsiteX0" fmla="*/ 0 w 2674951"/>
              <a:gd name="connsiteY0" fmla="*/ 0 h 5986829"/>
              <a:gd name="connsiteX1" fmla="*/ 2674951 w 2674951"/>
              <a:gd name="connsiteY1" fmla="*/ 0 h 5986829"/>
              <a:gd name="connsiteX2" fmla="*/ 2674951 w 2674951"/>
              <a:gd name="connsiteY2" fmla="*/ 5986829 h 5986829"/>
              <a:gd name="connsiteX3" fmla="*/ 0 w 2674951"/>
              <a:gd name="connsiteY3" fmla="*/ 5986829 h 5986829"/>
              <a:gd name="connsiteX4" fmla="*/ 0 w 2674951"/>
              <a:gd name="connsiteY4" fmla="*/ 0 h 5986829"/>
              <a:gd name="connsiteX0" fmla="*/ 0 w 2676539"/>
              <a:gd name="connsiteY0" fmla="*/ 0 h 5986829"/>
              <a:gd name="connsiteX1" fmla="*/ 2674951 w 2676539"/>
              <a:gd name="connsiteY1" fmla="*/ 0 h 5986829"/>
              <a:gd name="connsiteX2" fmla="*/ 2676539 w 2676539"/>
              <a:gd name="connsiteY2" fmla="*/ 33096 h 5986829"/>
              <a:gd name="connsiteX3" fmla="*/ 2674951 w 2676539"/>
              <a:gd name="connsiteY3" fmla="*/ 5986829 h 5986829"/>
              <a:gd name="connsiteX4" fmla="*/ 0 w 2676539"/>
              <a:gd name="connsiteY4" fmla="*/ 5986829 h 5986829"/>
              <a:gd name="connsiteX5" fmla="*/ 0 w 2676539"/>
              <a:gd name="connsiteY5" fmla="*/ 0 h 5986829"/>
              <a:gd name="connsiteX0" fmla="*/ 0 w 2676539"/>
              <a:gd name="connsiteY0" fmla="*/ 242 h 5987071"/>
              <a:gd name="connsiteX1" fmla="*/ 2640820 w 2676539"/>
              <a:gd name="connsiteY1" fmla="*/ 0 h 5987071"/>
              <a:gd name="connsiteX2" fmla="*/ 2674951 w 2676539"/>
              <a:gd name="connsiteY2" fmla="*/ 242 h 5987071"/>
              <a:gd name="connsiteX3" fmla="*/ 2676539 w 2676539"/>
              <a:gd name="connsiteY3" fmla="*/ 33338 h 5987071"/>
              <a:gd name="connsiteX4" fmla="*/ 2674951 w 2676539"/>
              <a:gd name="connsiteY4" fmla="*/ 5987071 h 5987071"/>
              <a:gd name="connsiteX5" fmla="*/ 0 w 2676539"/>
              <a:gd name="connsiteY5" fmla="*/ 5987071 h 5987071"/>
              <a:gd name="connsiteX6" fmla="*/ 0 w 2676539"/>
              <a:gd name="connsiteY6" fmla="*/ 242 h 5987071"/>
              <a:gd name="connsiteX0" fmla="*/ 0 w 2676539"/>
              <a:gd name="connsiteY0" fmla="*/ 242 h 5987071"/>
              <a:gd name="connsiteX1" fmla="*/ 2640820 w 2676539"/>
              <a:gd name="connsiteY1" fmla="*/ 0 h 5987071"/>
              <a:gd name="connsiteX2" fmla="*/ 2676539 w 2676539"/>
              <a:gd name="connsiteY2" fmla="*/ 33338 h 5987071"/>
              <a:gd name="connsiteX3" fmla="*/ 2674951 w 2676539"/>
              <a:gd name="connsiteY3" fmla="*/ 5987071 h 5987071"/>
              <a:gd name="connsiteX4" fmla="*/ 0 w 2676539"/>
              <a:gd name="connsiteY4" fmla="*/ 5987071 h 5987071"/>
              <a:gd name="connsiteX5" fmla="*/ 0 w 2676539"/>
              <a:gd name="connsiteY5" fmla="*/ 242 h 5987071"/>
              <a:gd name="connsiteX0" fmla="*/ 0 w 2847421"/>
              <a:gd name="connsiteY0" fmla="*/ 444778 h 6431607"/>
              <a:gd name="connsiteX1" fmla="*/ 2640820 w 2847421"/>
              <a:gd name="connsiteY1" fmla="*/ 444536 h 6431607"/>
              <a:gd name="connsiteX2" fmla="*/ 2676539 w 2847421"/>
              <a:gd name="connsiteY2" fmla="*/ 477874 h 6431607"/>
              <a:gd name="connsiteX3" fmla="*/ 2674951 w 2847421"/>
              <a:gd name="connsiteY3" fmla="*/ 6431607 h 6431607"/>
              <a:gd name="connsiteX4" fmla="*/ 0 w 2847421"/>
              <a:gd name="connsiteY4" fmla="*/ 6431607 h 6431607"/>
              <a:gd name="connsiteX5" fmla="*/ 0 w 2847421"/>
              <a:gd name="connsiteY5" fmla="*/ 444778 h 6431607"/>
              <a:gd name="connsiteX0" fmla="*/ 0 w 2847421"/>
              <a:gd name="connsiteY0" fmla="*/ 444778 h 6431607"/>
              <a:gd name="connsiteX1" fmla="*/ 2640820 w 2847421"/>
              <a:gd name="connsiteY1" fmla="*/ 444536 h 6431607"/>
              <a:gd name="connsiteX2" fmla="*/ 2676539 w 2847421"/>
              <a:gd name="connsiteY2" fmla="*/ 477874 h 6431607"/>
              <a:gd name="connsiteX3" fmla="*/ 2674951 w 2847421"/>
              <a:gd name="connsiteY3" fmla="*/ 6431607 h 6431607"/>
              <a:gd name="connsiteX4" fmla="*/ 0 w 2847421"/>
              <a:gd name="connsiteY4" fmla="*/ 6431607 h 6431607"/>
              <a:gd name="connsiteX5" fmla="*/ 0 w 2847421"/>
              <a:gd name="connsiteY5" fmla="*/ 444778 h 6431607"/>
              <a:gd name="connsiteX0" fmla="*/ 0 w 2847421"/>
              <a:gd name="connsiteY0" fmla="*/ 441603 h 6428432"/>
              <a:gd name="connsiteX1" fmla="*/ 2640820 w 2847421"/>
              <a:gd name="connsiteY1" fmla="*/ 441361 h 6428432"/>
              <a:gd name="connsiteX2" fmla="*/ 2676539 w 2847421"/>
              <a:gd name="connsiteY2" fmla="*/ 474699 h 6428432"/>
              <a:gd name="connsiteX3" fmla="*/ 2674951 w 2847421"/>
              <a:gd name="connsiteY3" fmla="*/ 6428432 h 6428432"/>
              <a:gd name="connsiteX4" fmla="*/ 0 w 2847421"/>
              <a:gd name="connsiteY4" fmla="*/ 6428432 h 6428432"/>
              <a:gd name="connsiteX5" fmla="*/ 0 w 2847421"/>
              <a:gd name="connsiteY5" fmla="*/ 441603 h 6428432"/>
              <a:gd name="connsiteX0" fmla="*/ 0 w 2847421"/>
              <a:gd name="connsiteY0" fmla="*/ 441603 h 6428432"/>
              <a:gd name="connsiteX1" fmla="*/ 2640820 w 2847421"/>
              <a:gd name="connsiteY1" fmla="*/ 441361 h 6428432"/>
              <a:gd name="connsiteX2" fmla="*/ 2676539 w 2847421"/>
              <a:gd name="connsiteY2" fmla="*/ 474699 h 6428432"/>
              <a:gd name="connsiteX3" fmla="*/ 2674951 w 2847421"/>
              <a:gd name="connsiteY3" fmla="*/ 6428432 h 6428432"/>
              <a:gd name="connsiteX4" fmla="*/ 0 w 2847421"/>
              <a:gd name="connsiteY4" fmla="*/ 6428432 h 6428432"/>
              <a:gd name="connsiteX5" fmla="*/ 0 w 2847421"/>
              <a:gd name="connsiteY5" fmla="*/ 441603 h 6428432"/>
              <a:gd name="connsiteX0" fmla="*/ 0 w 2847421"/>
              <a:gd name="connsiteY0" fmla="*/ 441603 h 6428432"/>
              <a:gd name="connsiteX1" fmla="*/ 2640820 w 2847421"/>
              <a:gd name="connsiteY1" fmla="*/ 441361 h 6428432"/>
              <a:gd name="connsiteX2" fmla="*/ 2676539 w 2847421"/>
              <a:gd name="connsiteY2" fmla="*/ 474699 h 6428432"/>
              <a:gd name="connsiteX3" fmla="*/ 2674951 w 2847421"/>
              <a:gd name="connsiteY3" fmla="*/ 6428432 h 6428432"/>
              <a:gd name="connsiteX4" fmla="*/ 0 w 2847421"/>
              <a:gd name="connsiteY4" fmla="*/ 6428432 h 6428432"/>
              <a:gd name="connsiteX5" fmla="*/ 0 w 2847421"/>
              <a:gd name="connsiteY5" fmla="*/ 441603 h 6428432"/>
              <a:gd name="connsiteX0" fmla="*/ 0 w 2847421"/>
              <a:gd name="connsiteY0" fmla="*/ 441603 h 6428432"/>
              <a:gd name="connsiteX1" fmla="*/ 2640820 w 2847421"/>
              <a:gd name="connsiteY1" fmla="*/ 441361 h 6428432"/>
              <a:gd name="connsiteX2" fmla="*/ 2676539 w 2847421"/>
              <a:gd name="connsiteY2" fmla="*/ 474699 h 6428432"/>
              <a:gd name="connsiteX3" fmla="*/ 2674951 w 2847421"/>
              <a:gd name="connsiteY3" fmla="*/ 6428432 h 6428432"/>
              <a:gd name="connsiteX4" fmla="*/ 0 w 2847421"/>
              <a:gd name="connsiteY4" fmla="*/ 6428432 h 6428432"/>
              <a:gd name="connsiteX5" fmla="*/ 0 w 2847421"/>
              <a:gd name="connsiteY5" fmla="*/ 441603 h 6428432"/>
              <a:gd name="connsiteX0" fmla="*/ 0 w 2847421"/>
              <a:gd name="connsiteY0" fmla="*/ 417937 h 6404766"/>
              <a:gd name="connsiteX1" fmla="*/ 2640820 w 2847421"/>
              <a:gd name="connsiteY1" fmla="*/ 417695 h 6404766"/>
              <a:gd name="connsiteX2" fmla="*/ 2676539 w 2847421"/>
              <a:gd name="connsiteY2" fmla="*/ 451033 h 6404766"/>
              <a:gd name="connsiteX3" fmla="*/ 2674951 w 2847421"/>
              <a:gd name="connsiteY3" fmla="*/ 6404766 h 6404766"/>
              <a:gd name="connsiteX4" fmla="*/ 0 w 2847421"/>
              <a:gd name="connsiteY4" fmla="*/ 6404766 h 6404766"/>
              <a:gd name="connsiteX5" fmla="*/ 0 w 2847421"/>
              <a:gd name="connsiteY5" fmla="*/ 417937 h 6404766"/>
              <a:gd name="connsiteX0" fmla="*/ 0 w 2676539"/>
              <a:gd name="connsiteY0" fmla="*/ 419028 h 6405857"/>
              <a:gd name="connsiteX1" fmla="*/ 2640820 w 2676539"/>
              <a:gd name="connsiteY1" fmla="*/ 418786 h 6405857"/>
              <a:gd name="connsiteX2" fmla="*/ 2676539 w 2676539"/>
              <a:gd name="connsiteY2" fmla="*/ 452124 h 6405857"/>
              <a:gd name="connsiteX3" fmla="*/ 2674951 w 2676539"/>
              <a:gd name="connsiteY3" fmla="*/ 6405857 h 6405857"/>
              <a:gd name="connsiteX4" fmla="*/ 0 w 2676539"/>
              <a:gd name="connsiteY4" fmla="*/ 6405857 h 6405857"/>
              <a:gd name="connsiteX5" fmla="*/ 0 w 2676539"/>
              <a:gd name="connsiteY5" fmla="*/ 419028 h 6405857"/>
              <a:gd name="connsiteX0" fmla="*/ 0 w 2847421"/>
              <a:gd name="connsiteY0" fmla="*/ 417937 h 6404766"/>
              <a:gd name="connsiteX1" fmla="*/ 2640820 w 2847421"/>
              <a:gd name="connsiteY1" fmla="*/ 417695 h 6404766"/>
              <a:gd name="connsiteX2" fmla="*/ 2676539 w 2847421"/>
              <a:gd name="connsiteY2" fmla="*/ 451033 h 6404766"/>
              <a:gd name="connsiteX3" fmla="*/ 2674951 w 2847421"/>
              <a:gd name="connsiteY3" fmla="*/ 6404766 h 6404766"/>
              <a:gd name="connsiteX4" fmla="*/ 0 w 2847421"/>
              <a:gd name="connsiteY4" fmla="*/ 6404766 h 6404766"/>
              <a:gd name="connsiteX5" fmla="*/ 0 w 2847421"/>
              <a:gd name="connsiteY5" fmla="*/ 417937 h 6404766"/>
              <a:gd name="connsiteX0" fmla="*/ 0 w 2849713"/>
              <a:gd name="connsiteY0" fmla="*/ 242 h 5987071"/>
              <a:gd name="connsiteX1" fmla="*/ 2640820 w 2849713"/>
              <a:gd name="connsiteY1" fmla="*/ 0 h 5987071"/>
              <a:gd name="connsiteX2" fmla="*/ 2676539 w 2849713"/>
              <a:gd name="connsiteY2" fmla="*/ 33338 h 5987071"/>
              <a:gd name="connsiteX3" fmla="*/ 2674951 w 2849713"/>
              <a:gd name="connsiteY3" fmla="*/ 5987071 h 5987071"/>
              <a:gd name="connsiteX4" fmla="*/ 0 w 2849713"/>
              <a:gd name="connsiteY4" fmla="*/ 5987071 h 5987071"/>
              <a:gd name="connsiteX5" fmla="*/ 0 w 2849713"/>
              <a:gd name="connsiteY5" fmla="*/ 242 h 5987071"/>
              <a:gd name="connsiteX0" fmla="*/ 0 w 2677073"/>
              <a:gd name="connsiteY0" fmla="*/ 242 h 5987071"/>
              <a:gd name="connsiteX1" fmla="*/ 2640820 w 2677073"/>
              <a:gd name="connsiteY1" fmla="*/ 0 h 5987071"/>
              <a:gd name="connsiteX2" fmla="*/ 2676539 w 2677073"/>
              <a:gd name="connsiteY2" fmla="*/ 33338 h 5987071"/>
              <a:gd name="connsiteX3" fmla="*/ 2674951 w 2677073"/>
              <a:gd name="connsiteY3" fmla="*/ 5987071 h 5987071"/>
              <a:gd name="connsiteX4" fmla="*/ 0 w 2677073"/>
              <a:gd name="connsiteY4" fmla="*/ 5987071 h 5987071"/>
              <a:gd name="connsiteX5" fmla="*/ 0 w 2677073"/>
              <a:gd name="connsiteY5" fmla="*/ 242 h 5987071"/>
              <a:gd name="connsiteX0" fmla="*/ 0 w 2676539"/>
              <a:gd name="connsiteY0" fmla="*/ 242 h 5987071"/>
              <a:gd name="connsiteX1" fmla="*/ 2640820 w 2676539"/>
              <a:gd name="connsiteY1" fmla="*/ 0 h 5987071"/>
              <a:gd name="connsiteX2" fmla="*/ 2676539 w 2676539"/>
              <a:gd name="connsiteY2" fmla="*/ 33338 h 5987071"/>
              <a:gd name="connsiteX3" fmla="*/ 2674951 w 2676539"/>
              <a:gd name="connsiteY3" fmla="*/ 5987071 h 5987071"/>
              <a:gd name="connsiteX4" fmla="*/ 0 w 2676539"/>
              <a:gd name="connsiteY4" fmla="*/ 5987071 h 5987071"/>
              <a:gd name="connsiteX5" fmla="*/ 0 w 2676539"/>
              <a:gd name="connsiteY5" fmla="*/ 242 h 5987071"/>
              <a:gd name="connsiteX0" fmla="*/ 0 w 2676539"/>
              <a:gd name="connsiteY0" fmla="*/ 242 h 5987071"/>
              <a:gd name="connsiteX1" fmla="*/ 2640820 w 2676539"/>
              <a:gd name="connsiteY1" fmla="*/ 0 h 5987071"/>
              <a:gd name="connsiteX2" fmla="*/ 2676539 w 2676539"/>
              <a:gd name="connsiteY2" fmla="*/ 33338 h 5987071"/>
              <a:gd name="connsiteX3" fmla="*/ 2674951 w 2676539"/>
              <a:gd name="connsiteY3" fmla="*/ 5987071 h 5987071"/>
              <a:gd name="connsiteX4" fmla="*/ 0 w 2676539"/>
              <a:gd name="connsiteY4" fmla="*/ 5987071 h 5987071"/>
              <a:gd name="connsiteX5" fmla="*/ 0 w 2676539"/>
              <a:gd name="connsiteY5" fmla="*/ 242 h 5987071"/>
              <a:gd name="connsiteX0" fmla="*/ 0 w 2676539"/>
              <a:gd name="connsiteY0" fmla="*/ 242 h 5987071"/>
              <a:gd name="connsiteX1" fmla="*/ 2633676 w 2676539"/>
              <a:gd name="connsiteY1" fmla="*/ 0 h 5987071"/>
              <a:gd name="connsiteX2" fmla="*/ 2676539 w 2676539"/>
              <a:gd name="connsiteY2" fmla="*/ 33338 h 5987071"/>
              <a:gd name="connsiteX3" fmla="*/ 2674951 w 2676539"/>
              <a:gd name="connsiteY3" fmla="*/ 5987071 h 5987071"/>
              <a:gd name="connsiteX4" fmla="*/ 0 w 2676539"/>
              <a:gd name="connsiteY4" fmla="*/ 5987071 h 5987071"/>
              <a:gd name="connsiteX5" fmla="*/ 0 w 2676539"/>
              <a:gd name="connsiteY5" fmla="*/ 242 h 5987071"/>
              <a:gd name="connsiteX0" fmla="*/ 0 w 2843351"/>
              <a:gd name="connsiteY0" fmla="*/ 242 h 5987071"/>
              <a:gd name="connsiteX1" fmla="*/ 2633676 w 2843351"/>
              <a:gd name="connsiteY1" fmla="*/ 0 h 5987071"/>
              <a:gd name="connsiteX2" fmla="*/ 2676539 w 2843351"/>
              <a:gd name="connsiteY2" fmla="*/ 54770 h 5987071"/>
              <a:gd name="connsiteX3" fmla="*/ 2674951 w 2843351"/>
              <a:gd name="connsiteY3" fmla="*/ 5987071 h 5987071"/>
              <a:gd name="connsiteX4" fmla="*/ 0 w 2843351"/>
              <a:gd name="connsiteY4" fmla="*/ 5987071 h 5987071"/>
              <a:gd name="connsiteX5" fmla="*/ 0 w 2843351"/>
              <a:gd name="connsiteY5" fmla="*/ 242 h 5987071"/>
              <a:gd name="connsiteX0" fmla="*/ 0 w 2676539"/>
              <a:gd name="connsiteY0" fmla="*/ 242 h 5987071"/>
              <a:gd name="connsiteX1" fmla="*/ 2633676 w 2676539"/>
              <a:gd name="connsiteY1" fmla="*/ 0 h 5987071"/>
              <a:gd name="connsiteX2" fmla="*/ 2676539 w 2676539"/>
              <a:gd name="connsiteY2" fmla="*/ 54770 h 5987071"/>
              <a:gd name="connsiteX3" fmla="*/ 2674951 w 2676539"/>
              <a:gd name="connsiteY3" fmla="*/ 5987071 h 5987071"/>
              <a:gd name="connsiteX4" fmla="*/ 0 w 2676539"/>
              <a:gd name="connsiteY4" fmla="*/ 5987071 h 5987071"/>
              <a:gd name="connsiteX5" fmla="*/ 0 w 2676539"/>
              <a:gd name="connsiteY5" fmla="*/ 242 h 5987071"/>
              <a:gd name="connsiteX0" fmla="*/ 0 w 2676539"/>
              <a:gd name="connsiteY0" fmla="*/ 242 h 5987071"/>
              <a:gd name="connsiteX1" fmla="*/ 2633676 w 2676539"/>
              <a:gd name="connsiteY1" fmla="*/ 0 h 5987071"/>
              <a:gd name="connsiteX2" fmla="*/ 2676539 w 2676539"/>
              <a:gd name="connsiteY2" fmla="*/ 54770 h 5987071"/>
              <a:gd name="connsiteX3" fmla="*/ 2674951 w 2676539"/>
              <a:gd name="connsiteY3" fmla="*/ 5987071 h 5987071"/>
              <a:gd name="connsiteX4" fmla="*/ 0 w 2676539"/>
              <a:gd name="connsiteY4" fmla="*/ 5987071 h 5987071"/>
              <a:gd name="connsiteX5" fmla="*/ 0 w 2676539"/>
              <a:gd name="connsiteY5" fmla="*/ 242 h 5987071"/>
              <a:gd name="connsiteX0" fmla="*/ 0 w 2676569"/>
              <a:gd name="connsiteY0" fmla="*/ 242 h 5987071"/>
              <a:gd name="connsiteX1" fmla="*/ 2633676 w 2676569"/>
              <a:gd name="connsiteY1" fmla="*/ 0 h 5987071"/>
              <a:gd name="connsiteX2" fmla="*/ 2676539 w 2676569"/>
              <a:gd name="connsiteY2" fmla="*/ 54770 h 5987071"/>
              <a:gd name="connsiteX3" fmla="*/ 2674951 w 2676569"/>
              <a:gd name="connsiteY3" fmla="*/ 5987071 h 5987071"/>
              <a:gd name="connsiteX4" fmla="*/ 0 w 2676569"/>
              <a:gd name="connsiteY4" fmla="*/ 5987071 h 5987071"/>
              <a:gd name="connsiteX5" fmla="*/ 0 w 2676569"/>
              <a:gd name="connsiteY5" fmla="*/ 242 h 5987071"/>
              <a:gd name="connsiteX0" fmla="*/ 0 w 2679329"/>
              <a:gd name="connsiteY0" fmla="*/ 397251 h 6384080"/>
              <a:gd name="connsiteX1" fmla="*/ 2633676 w 2679329"/>
              <a:gd name="connsiteY1" fmla="*/ 397009 h 6384080"/>
              <a:gd name="connsiteX2" fmla="*/ 2676539 w 2679329"/>
              <a:gd name="connsiteY2" fmla="*/ 451779 h 6384080"/>
              <a:gd name="connsiteX3" fmla="*/ 2674951 w 2679329"/>
              <a:gd name="connsiteY3" fmla="*/ 6384080 h 6384080"/>
              <a:gd name="connsiteX4" fmla="*/ 0 w 2679329"/>
              <a:gd name="connsiteY4" fmla="*/ 6384080 h 6384080"/>
              <a:gd name="connsiteX5" fmla="*/ 0 w 2679329"/>
              <a:gd name="connsiteY5" fmla="*/ 397251 h 6384080"/>
              <a:gd name="connsiteX0" fmla="*/ 0 w 2679329"/>
              <a:gd name="connsiteY0" fmla="*/ 403897 h 6390726"/>
              <a:gd name="connsiteX1" fmla="*/ 2633676 w 2679329"/>
              <a:gd name="connsiteY1" fmla="*/ 403655 h 6390726"/>
              <a:gd name="connsiteX2" fmla="*/ 2676539 w 2679329"/>
              <a:gd name="connsiteY2" fmla="*/ 458425 h 6390726"/>
              <a:gd name="connsiteX3" fmla="*/ 2674951 w 2679329"/>
              <a:gd name="connsiteY3" fmla="*/ 6390726 h 6390726"/>
              <a:gd name="connsiteX4" fmla="*/ 0 w 2679329"/>
              <a:gd name="connsiteY4" fmla="*/ 6390726 h 6390726"/>
              <a:gd name="connsiteX5" fmla="*/ 0 w 2679329"/>
              <a:gd name="connsiteY5" fmla="*/ 403897 h 6390726"/>
              <a:gd name="connsiteX0" fmla="*/ 0 w 2842019"/>
              <a:gd name="connsiteY0" fmla="*/ 401491 h 6388320"/>
              <a:gd name="connsiteX1" fmla="*/ 2633676 w 2842019"/>
              <a:gd name="connsiteY1" fmla="*/ 401249 h 6388320"/>
              <a:gd name="connsiteX2" fmla="*/ 2676539 w 2842019"/>
              <a:gd name="connsiteY2" fmla="*/ 456019 h 6388320"/>
              <a:gd name="connsiteX3" fmla="*/ 2674951 w 2842019"/>
              <a:gd name="connsiteY3" fmla="*/ 6388320 h 6388320"/>
              <a:gd name="connsiteX4" fmla="*/ 0 w 2842019"/>
              <a:gd name="connsiteY4" fmla="*/ 6388320 h 6388320"/>
              <a:gd name="connsiteX5" fmla="*/ 0 w 2842019"/>
              <a:gd name="connsiteY5" fmla="*/ 401491 h 6388320"/>
              <a:gd name="connsiteX0" fmla="*/ 0 w 2843760"/>
              <a:gd name="connsiteY0" fmla="*/ 242 h 5987071"/>
              <a:gd name="connsiteX1" fmla="*/ 2633676 w 2843760"/>
              <a:gd name="connsiteY1" fmla="*/ 0 h 5987071"/>
              <a:gd name="connsiteX2" fmla="*/ 2676539 w 2843760"/>
              <a:gd name="connsiteY2" fmla="*/ 54770 h 5987071"/>
              <a:gd name="connsiteX3" fmla="*/ 2674951 w 2843760"/>
              <a:gd name="connsiteY3" fmla="*/ 5987071 h 5987071"/>
              <a:gd name="connsiteX4" fmla="*/ 0 w 2843760"/>
              <a:gd name="connsiteY4" fmla="*/ 5987071 h 5987071"/>
              <a:gd name="connsiteX5" fmla="*/ 0 w 2843760"/>
              <a:gd name="connsiteY5" fmla="*/ 242 h 5987071"/>
              <a:gd name="connsiteX0" fmla="*/ 0 w 2676543"/>
              <a:gd name="connsiteY0" fmla="*/ 242 h 5987071"/>
              <a:gd name="connsiteX1" fmla="*/ 2633676 w 2676543"/>
              <a:gd name="connsiteY1" fmla="*/ 0 h 5987071"/>
              <a:gd name="connsiteX2" fmla="*/ 2676539 w 2676543"/>
              <a:gd name="connsiteY2" fmla="*/ 54770 h 5987071"/>
              <a:gd name="connsiteX3" fmla="*/ 2674951 w 2676543"/>
              <a:gd name="connsiteY3" fmla="*/ 5987071 h 5987071"/>
              <a:gd name="connsiteX4" fmla="*/ 0 w 2676543"/>
              <a:gd name="connsiteY4" fmla="*/ 5987071 h 5987071"/>
              <a:gd name="connsiteX5" fmla="*/ 0 w 2676543"/>
              <a:gd name="connsiteY5" fmla="*/ 242 h 5987071"/>
              <a:gd name="connsiteX0" fmla="*/ 0 w 2681396"/>
              <a:gd name="connsiteY0" fmla="*/ 403161 h 6389990"/>
              <a:gd name="connsiteX1" fmla="*/ 2605627 w 2681396"/>
              <a:gd name="connsiteY1" fmla="*/ 402919 h 6389990"/>
              <a:gd name="connsiteX2" fmla="*/ 2676539 w 2681396"/>
              <a:gd name="connsiteY2" fmla="*/ 457689 h 6389990"/>
              <a:gd name="connsiteX3" fmla="*/ 2674951 w 2681396"/>
              <a:gd name="connsiteY3" fmla="*/ 6389990 h 6389990"/>
              <a:gd name="connsiteX4" fmla="*/ 0 w 2681396"/>
              <a:gd name="connsiteY4" fmla="*/ 6389990 h 6389990"/>
              <a:gd name="connsiteX5" fmla="*/ 0 w 2681396"/>
              <a:gd name="connsiteY5" fmla="*/ 403161 h 6389990"/>
              <a:gd name="connsiteX0" fmla="*/ 0 w 2818993"/>
              <a:gd name="connsiteY0" fmla="*/ 369538 h 6356367"/>
              <a:gd name="connsiteX1" fmla="*/ 2605627 w 2818993"/>
              <a:gd name="connsiteY1" fmla="*/ 369296 h 6356367"/>
              <a:gd name="connsiteX2" fmla="*/ 2670929 w 2818993"/>
              <a:gd name="connsiteY2" fmla="*/ 466142 h 6356367"/>
              <a:gd name="connsiteX3" fmla="*/ 2674951 w 2818993"/>
              <a:gd name="connsiteY3" fmla="*/ 6356367 h 6356367"/>
              <a:gd name="connsiteX4" fmla="*/ 0 w 2818993"/>
              <a:gd name="connsiteY4" fmla="*/ 6356367 h 6356367"/>
              <a:gd name="connsiteX5" fmla="*/ 0 w 2818993"/>
              <a:gd name="connsiteY5" fmla="*/ 369538 h 6356367"/>
              <a:gd name="connsiteX0" fmla="*/ 0 w 2819705"/>
              <a:gd name="connsiteY0" fmla="*/ 369538 h 6356367"/>
              <a:gd name="connsiteX1" fmla="*/ 2605627 w 2819705"/>
              <a:gd name="connsiteY1" fmla="*/ 369296 h 6356367"/>
              <a:gd name="connsiteX2" fmla="*/ 2670929 w 2819705"/>
              <a:gd name="connsiteY2" fmla="*/ 466142 h 6356367"/>
              <a:gd name="connsiteX3" fmla="*/ 2674951 w 2819705"/>
              <a:gd name="connsiteY3" fmla="*/ 6356367 h 6356367"/>
              <a:gd name="connsiteX4" fmla="*/ 0 w 2819705"/>
              <a:gd name="connsiteY4" fmla="*/ 6356367 h 6356367"/>
              <a:gd name="connsiteX5" fmla="*/ 0 w 2819705"/>
              <a:gd name="connsiteY5" fmla="*/ 369538 h 6356367"/>
              <a:gd name="connsiteX0" fmla="*/ 0 w 2821139"/>
              <a:gd name="connsiteY0" fmla="*/ 242 h 5987071"/>
              <a:gd name="connsiteX1" fmla="*/ 2605627 w 2821139"/>
              <a:gd name="connsiteY1" fmla="*/ 0 h 5987071"/>
              <a:gd name="connsiteX2" fmla="*/ 2670929 w 2821139"/>
              <a:gd name="connsiteY2" fmla="*/ 96846 h 5987071"/>
              <a:gd name="connsiteX3" fmla="*/ 2674951 w 2821139"/>
              <a:gd name="connsiteY3" fmla="*/ 5987071 h 5987071"/>
              <a:gd name="connsiteX4" fmla="*/ 0 w 2821139"/>
              <a:gd name="connsiteY4" fmla="*/ 5987071 h 5987071"/>
              <a:gd name="connsiteX5" fmla="*/ 0 w 2821139"/>
              <a:gd name="connsiteY5" fmla="*/ 242 h 5987071"/>
              <a:gd name="connsiteX0" fmla="*/ 0 w 2742690"/>
              <a:gd name="connsiteY0" fmla="*/ 367521 h 6354350"/>
              <a:gd name="connsiteX1" fmla="*/ 1722081 w 2742690"/>
              <a:gd name="connsiteY1" fmla="*/ 372889 h 6354350"/>
              <a:gd name="connsiteX2" fmla="*/ 2670929 w 2742690"/>
              <a:gd name="connsiteY2" fmla="*/ 464125 h 6354350"/>
              <a:gd name="connsiteX3" fmla="*/ 2674951 w 2742690"/>
              <a:gd name="connsiteY3" fmla="*/ 6354350 h 6354350"/>
              <a:gd name="connsiteX4" fmla="*/ 0 w 2742690"/>
              <a:gd name="connsiteY4" fmla="*/ 6354350 h 6354350"/>
              <a:gd name="connsiteX5" fmla="*/ 0 w 2742690"/>
              <a:gd name="connsiteY5" fmla="*/ 367521 h 6354350"/>
              <a:gd name="connsiteX0" fmla="*/ 0 w 2742690"/>
              <a:gd name="connsiteY0" fmla="*/ 360489 h 6347318"/>
              <a:gd name="connsiteX1" fmla="*/ 1722081 w 2742690"/>
              <a:gd name="connsiteY1" fmla="*/ 365857 h 6347318"/>
              <a:gd name="connsiteX2" fmla="*/ 2670929 w 2742690"/>
              <a:gd name="connsiteY2" fmla="*/ 457093 h 6347318"/>
              <a:gd name="connsiteX3" fmla="*/ 2674951 w 2742690"/>
              <a:gd name="connsiteY3" fmla="*/ 6347318 h 6347318"/>
              <a:gd name="connsiteX4" fmla="*/ 0 w 2742690"/>
              <a:gd name="connsiteY4" fmla="*/ 6347318 h 6347318"/>
              <a:gd name="connsiteX5" fmla="*/ 0 w 2742690"/>
              <a:gd name="connsiteY5" fmla="*/ 360489 h 6347318"/>
              <a:gd name="connsiteX0" fmla="*/ 0 w 2742690"/>
              <a:gd name="connsiteY0" fmla="*/ 371928 h 6358757"/>
              <a:gd name="connsiteX1" fmla="*/ 1722081 w 2742690"/>
              <a:gd name="connsiteY1" fmla="*/ 377296 h 6358757"/>
              <a:gd name="connsiteX2" fmla="*/ 2670929 w 2742690"/>
              <a:gd name="connsiteY2" fmla="*/ 468532 h 6358757"/>
              <a:gd name="connsiteX3" fmla="*/ 2674951 w 2742690"/>
              <a:gd name="connsiteY3" fmla="*/ 6358757 h 6358757"/>
              <a:gd name="connsiteX4" fmla="*/ 0 w 2742690"/>
              <a:gd name="connsiteY4" fmla="*/ 6358757 h 6358757"/>
              <a:gd name="connsiteX5" fmla="*/ 0 w 2742690"/>
              <a:gd name="connsiteY5" fmla="*/ 371928 h 6358757"/>
              <a:gd name="connsiteX0" fmla="*/ 0 w 2742690"/>
              <a:gd name="connsiteY0" fmla="*/ 0 h 5986829"/>
              <a:gd name="connsiteX1" fmla="*/ 1722081 w 2742690"/>
              <a:gd name="connsiteY1" fmla="*/ 5368 h 5986829"/>
              <a:gd name="connsiteX2" fmla="*/ 2670929 w 2742690"/>
              <a:gd name="connsiteY2" fmla="*/ 96604 h 5986829"/>
              <a:gd name="connsiteX3" fmla="*/ 2674951 w 2742690"/>
              <a:gd name="connsiteY3" fmla="*/ 5986829 h 5986829"/>
              <a:gd name="connsiteX4" fmla="*/ 0 w 2742690"/>
              <a:gd name="connsiteY4" fmla="*/ 5986829 h 5986829"/>
              <a:gd name="connsiteX5" fmla="*/ 0 w 2742690"/>
              <a:gd name="connsiteY5" fmla="*/ 0 h 5986829"/>
              <a:gd name="connsiteX0" fmla="*/ 0 w 2751025"/>
              <a:gd name="connsiteY0" fmla="*/ 0 h 5986829"/>
              <a:gd name="connsiteX1" fmla="*/ 1722081 w 2751025"/>
              <a:gd name="connsiteY1" fmla="*/ 5368 h 5986829"/>
              <a:gd name="connsiteX2" fmla="*/ 2682149 w 2751025"/>
              <a:gd name="connsiteY2" fmla="*/ 74163 h 5986829"/>
              <a:gd name="connsiteX3" fmla="*/ 2674951 w 2751025"/>
              <a:gd name="connsiteY3" fmla="*/ 5986829 h 5986829"/>
              <a:gd name="connsiteX4" fmla="*/ 0 w 2751025"/>
              <a:gd name="connsiteY4" fmla="*/ 5986829 h 5986829"/>
              <a:gd name="connsiteX5" fmla="*/ 0 w 2751025"/>
              <a:gd name="connsiteY5" fmla="*/ 0 h 5986829"/>
              <a:gd name="connsiteX0" fmla="*/ 0 w 2697688"/>
              <a:gd name="connsiteY0" fmla="*/ 0 h 5986829"/>
              <a:gd name="connsiteX1" fmla="*/ 1722081 w 2697688"/>
              <a:gd name="connsiteY1" fmla="*/ 5368 h 5986829"/>
              <a:gd name="connsiteX2" fmla="*/ 2600806 w 2697688"/>
              <a:gd name="connsiteY2" fmla="*/ 155509 h 5986829"/>
              <a:gd name="connsiteX3" fmla="*/ 2674951 w 2697688"/>
              <a:gd name="connsiteY3" fmla="*/ 5986829 h 5986829"/>
              <a:gd name="connsiteX4" fmla="*/ 0 w 2697688"/>
              <a:gd name="connsiteY4" fmla="*/ 5986829 h 5986829"/>
              <a:gd name="connsiteX5" fmla="*/ 0 w 2697688"/>
              <a:gd name="connsiteY5" fmla="*/ 0 h 5986829"/>
              <a:gd name="connsiteX0" fmla="*/ 0 w 2748920"/>
              <a:gd name="connsiteY0" fmla="*/ 0 h 5986829"/>
              <a:gd name="connsiteX1" fmla="*/ 1722081 w 2748920"/>
              <a:gd name="connsiteY1" fmla="*/ 5368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71968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29894 w 2748920"/>
              <a:gd name="connsiteY1" fmla="*/ 586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428917 w 2748920"/>
              <a:gd name="connsiteY1" fmla="*/ 69884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428917 w 2748920"/>
              <a:gd name="connsiteY1" fmla="*/ 69884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3137 h 5989966"/>
              <a:gd name="connsiteX1" fmla="*/ 2569162 w 2748920"/>
              <a:gd name="connsiteY1" fmla="*/ 90 h 5989966"/>
              <a:gd name="connsiteX2" fmla="*/ 2679344 w 2748920"/>
              <a:gd name="connsiteY2" fmla="*/ 74495 h 5989966"/>
              <a:gd name="connsiteX3" fmla="*/ 2674951 w 2748920"/>
              <a:gd name="connsiteY3" fmla="*/ 5989966 h 5989966"/>
              <a:gd name="connsiteX4" fmla="*/ 0 w 2748920"/>
              <a:gd name="connsiteY4" fmla="*/ 5989966 h 5989966"/>
              <a:gd name="connsiteX5" fmla="*/ 0 w 2748920"/>
              <a:gd name="connsiteY5" fmla="*/ 3137 h 5989966"/>
              <a:gd name="connsiteX0" fmla="*/ 0 w 2748920"/>
              <a:gd name="connsiteY0" fmla="*/ 3137 h 5989966"/>
              <a:gd name="connsiteX1" fmla="*/ 2569162 w 2748920"/>
              <a:gd name="connsiteY1" fmla="*/ 90 h 5989966"/>
              <a:gd name="connsiteX2" fmla="*/ 2679344 w 2748920"/>
              <a:gd name="connsiteY2" fmla="*/ 74495 h 5989966"/>
              <a:gd name="connsiteX3" fmla="*/ 2674951 w 2748920"/>
              <a:gd name="connsiteY3" fmla="*/ 5989966 h 5989966"/>
              <a:gd name="connsiteX4" fmla="*/ 0 w 2748920"/>
              <a:gd name="connsiteY4" fmla="*/ 5989966 h 5989966"/>
              <a:gd name="connsiteX5" fmla="*/ 0 w 2748920"/>
              <a:gd name="connsiteY5" fmla="*/ 3137 h 5989966"/>
              <a:gd name="connsiteX0" fmla="*/ 0 w 2748920"/>
              <a:gd name="connsiteY0" fmla="*/ 3137 h 5989966"/>
              <a:gd name="connsiteX1" fmla="*/ 2569162 w 2748920"/>
              <a:gd name="connsiteY1" fmla="*/ 90 h 5989966"/>
              <a:gd name="connsiteX2" fmla="*/ 2679344 w 2748920"/>
              <a:gd name="connsiteY2" fmla="*/ 74495 h 5989966"/>
              <a:gd name="connsiteX3" fmla="*/ 2674951 w 2748920"/>
              <a:gd name="connsiteY3" fmla="*/ 5989966 h 5989966"/>
              <a:gd name="connsiteX4" fmla="*/ 0 w 2748920"/>
              <a:gd name="connsiteY4" fmla="*/ 5989966 h 5989966"/>
              <a:gd name="connsiteX5" fmla="*/ 0 w 2748920"/>
              <a:gd name="connsiteY5" fmla="*/ 3137 h 5989966"/>
              <a:gd name="connsiteX0" fmla="*/ 0 w 2679344"/>
              <a:gd name="connsiteY0" fmla="*/ 3137 h 5989966"/>
              <a:gd name="connsiteX1" fmla="*/ 2569162 w 2679344"/>
              <a:gd name="connsiteY1" fmla="*/ 90 h 5989966"/>
              <a:gd name="connsiteX2" fmla="*/ 2679344 w 2679344"/>
              <a:gd name="connsiteY2" fmla="*/ 74495 h 5989966"/>
              <a:gd name="connsiteX3" fmla="*/ 2674951 w 2679344"/>
              <a:gd name="connsiteY3" fmla="*/ 5989966 h 5989966"/>
              <a:gd name="connsiteX4" fmla="*/ 0 w 2679344"/>
              <a:gd name="connsiteY4" fmla="*/ 5989966 h 5989966"/>
              <a:gd name="connsiteX5" fmla="*/ 0 w 2679344"/>
              <a:gd name="connsiteY5" fmla="*/ 3137 h 5989966"/>
              <a:gd name="connsiteX0" fmla="*/ 0 w 2679344"/>
              <a:gd name="connsiteY0" fmla="*/ 3137 h 5989966"/>
              <a:gd name="connsiteX1" fmla="*/ 2569162 w 2679344"/>
              <a:gd name="connsiteY1" fmla="*/ 90 h 5989966"/>
              <a:gd name="connsiteX2" fmla="*/ 2679344 w 2679344"/>
              <a:gd name="connsiteY2" fmla="*/ 74495 h 5989966"/>
              <a:gd name="connsiteX3" fmla="*/ 2674951 w 2679344"/>
              <a:gd name="connsiteY3" fmla="*/ 5989966 h 5989966"/>
              <a:gd name="connsiteX4" fmla="*/ 0 w 2679344"/>
              <a:gd name="connsiteY4" fmla="*/ 5989966 h 5989966"/>
              <a:gd name="connsiteX5" fmla="*/ 0 w 2679344"/>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0 h 5986829"/>
              <a:gd name="connsiteX1" fmla="*/ 2566780 w 2679350"/>
              <a:gd name="connsiteY1" fmla="*/ 94589 h 5986829"/>
              <a:gd name="connsiteX2" fmla="*/ 2679344 w 2679350"/>
              <a:gd name="connsiteY2" fmla="*/ 71358 h 5986829"/>
              <a:gd name="connsiteX3" fmla="*/ 2674951 w 2679350"/>
              <a:gd name="connsiteY3" fmla="*/ 5986829 h 5986829"/>
              <a:gd name="connsiteX4" fmla="*/ 0 w 2679350"/>
              <a:gd name="connsiteY4" fmla="*/ 5986829 h 5986829"/>
              <a:gd name="connsiteX5" fmla="*/ 0 w 2679350"/>
              <a:gd name="connsiteY5" fmla="*/ 0 h 5986829"/>
              <a:gd name="connsiteX0" fmla="*/ 0 w 2679350"/>
              <a:gd name="connsiteY0" fmla="*/ 761 h 5987590"/>
              <a:gd name="connsiteX1" fmla="*/ 2581068 w 2679350"/>
              <a:gd name="connsiteY1" fmla="*/ 96 h 5987590"/>
              <a:gd name="connsiteX2" fmla="*/ 2679344 w 2679350"/>
              <a:gd name="connsiteY2" fmla="*/ 72119 h 5987590"/>
              <a:gd name="connsiteX3" fmla="*/ 2674951 w 2679350"/>
              <a:gd name="connsiteY3" fmla="*/ 5987590 h 5987590"/>
              <a:gd name="connsiteX4" fmla="*/ 0 w 2679350"/>
              <a:gd name="connsiteY4" fmla="*/ 5987590 h 5987590"/>
              <a:gd name="connsiteX5" fmla="*/ 0 w 2679350"/>
              <a:gd name="connsiteY5" fmla="*/ 761 h 5987590"/>
              <a:gd name="connsiteX0" fmla="*/ 0 w 2679350"/>
              <a:gd name="connsiteY0" fmla="*/ 761 h 5987590"/>
              <a:gd name="connsiteX1" fmla="*/ 2581068 w 2679350"/>
              <a:gd name="connsiteY1" fmla="*/ 96 h 5987590"/>
              <a:gd name="connsiteX2" fmla="*/ 2679344 w 2679350"/>
              <a:gd name="connsiteY2" fmla="*/ 72119 h 5987590"/>
              <a:gd name="connsiteX3" fmla="*/ 2674951 w 2679350"/>
              <a:gd name="connsiteY3" fmla="*/ 5987590 h 5987590"/>
              <a:gd name="connsiteX4" fmla="*/ 0 w 2679350"/>
              <a:gd name="connsiteY4" fmla="*/ 5987590 h 5987590"/>
              <a:gd name="connsiteX5" fmla="*/ 0 w 2679350"/>
              <a:gd name="connsiteY5" fmla="*/ 761 h 5987590"/>
              <a:gd name="connsiteX0" fmla="*/ 0 w 2679350"/>
              <a:gd name="connsiteY0" fmla="*/ 761 h 5987590"/>
              <a:gd name="connsiteX1" fmla="*/ 2581068 w 2679350"/>
              <a:gd name="connsiteY1" fmla="*/ 96 h 5987590"/>
              <a:gd name="connsiteX2" fmla="*/ 2679344 w 2679350"/>
              <a:gd name="connsiteY2" fmla="*/ 72119 h 5987590"/>
              <a:gd name="connsiteX3" fmla="*/ 2674951 w 2679350"/>
              <a:gd name="connsiteY3" fmla="*/ 5987590 h 5987590"/>
              <a:gd name="connsiteX4" fmla="*/ 0 w 2679350"/>
              <a:gd name="connsiteY4" fmla="*/ 5987590 h 5987590"/>
              <a:gd name="connsiteX5" fmla="*/ 0 w 2679350"/>
              <a:gd name="connsiteY5" fmla="*/ 761 h 5987590"/>
              <a:gd name="connsiteX0" fmla="*/ 0 w 2679350"/>
              <a:gd name="connsiteY0" fmla="*/ 0 h 5986829"/>
              <a:gd name="connsiteX1" fmla="*/ 2585830 w 2679350"/>
              <a:gd name="connsiteY1" fmla="*/ 44581 h 5986829"/>
              <a:gd name="connsiteX2" fmla="*/ 2679344 w 2679350"/>
              <a:gd name="connsiteY2" fmla="*/ 71358 h 5986829"/>
              <a:gd name="connsiteX3" fmla="*/ 2674951 w 2679350"/>
              <a:gd name="connsiteY3" fmla="*/ 5986829 h 5986829"/>
              <a:gd name="connsiteX4" fmla="*/ 0 w 2679350"/>
              <a:gd name="connsiteY4" fmla="*/ 5986829 h 5986829"/>
              <a:gd name="connsiteX5" fmla="*/ 0 w 2679350"/>
              <a:gd name="connsiteY5" fmla="*/ 0 h 5986829"/>
              <a:gd name="connsiteX0" fmla="*/ 0 w 2679350"/>
              <a:gd name="connsiteY0" fmla="*/ 0 h 5986829"/>
              <a:gd name="connsiteX1" fmla="*/ 2588212 w 2679350"/>
              <a:gd name="connsiteY1" fmla="*/ 1716 h 5986829"/>
              <a:gd name="connsiteX2" fmla="*/ 2679344 w 2679350"/>
              <a:gd name="connsiteY2" fmla="*/ 71358 h 5986829"/>
              <a:gd name="connsiteX3" fmla="*/ 2674951 w 2679350"/>
              <a:gd name="connsiteY3" fmla="*/ 5986829 h 5986829"/>
              <a:gd name="connsiteX4" fmla="*/ 0 w 2679350"/>
              <a:gd name="connsiteY4" fmla="*/ 5986829 h 5986829"/>
              <a:gd name="connsiteX5" fmla="*/ 0 w 2679350"/>
              <a:gd name="connsiteY5" fmla="*/ 0 h 5986829"/>
              <a:gd name="connsiteX0" fmla="*/ 0 w 2674961"/>
              <a:gd name="connsiteY0" fmla="*/ 0 h 5986829"/>
              <a:gd name="connsiteX1" fmla="*/ 2588212 w 2674961"/>
              <a:gd name="connsiteY1" fmla="*/ 1716 h 5986829"/>
              <a:gd name="connsiteX2" fmla="*/ 2655531 w 2674961"/>
              <a:gd name="connsiteY2" fmla="*/ 78502 h 5986829"/>
              <a:gd name="connsiteX3" fmla="*/ 2674951 w 2674961"/>
              <a:gd name="connsiteY3" fmla="*/ 5986829 h 5986829"/>
              <a:gd name="connsiteX4" fmla="*/ 0 w 2674961"/>
              <a:gd name="connsiteY4" fmla="*/ 5986829 h 5986829"/>
              <a:gd name="connsiteX5" fmla="*/ 0 w 2674961"/>
              <a:gd name="connsiteY5" fmla="*/ 0 h 5986829"/>
              <a:gd name="connsiteX0" fmla="*/ 0 w 2675143"/>
              <a:gd name="connsiteY0" fmla="*/ 0 h 5986829"/>
              <a:gd name="connsiteX1" fmla="*/ 2588212 w 2675143"/>
              <a:gd name="connsiteY1" fmla="*/ 1716 h 5986829"/>
              <a:gd name="connsiteX2" fmla="*/ 2674581 w 2675143"/>
              <a:gd name="connsiteY2" fmla="*/ 80883 h 5986829"/>
              <a:gd name="connsiteX3" fmla="*/ 2674951 w 2675143"/>
              <a:gd name="connsiteY3" fmla="*/ 5986829 h 5986829"/>
              <a:gd name="connsiteX4" fmla="*/ 0 w 2675143"/>
              <a:gd name="connsiteY4" fmla="*/ 5986829 h 5986829"/>
              <a:gd name="connsiteX5" fmla="*/ 0 w 2675143"/>
              <a:gd name="connsiteY5" fmla="*/ 0 h 598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5143" h="5986829">
                <a:moveTo>
                  <a:pt x="0" y="0"/>
                </a:moveTo>
                <a:lnTo>
                  <a:pt x="2588212" y="1716"/>
                </a:lnTo>
                <a:cubicBezTo>
                  <a:pt x="2639095" y="-351"/>
                  <a:pt x="2671381" y="38070"/>
                  <a:pt x="2674581" y="80883"/>
                </a:cubicBezTo>
                <a:cubicBezTo>
                  <a:pt x="2674773" y="1264412"/>
                  <a:pt x="2675480" y="4002251"/>
                  <a:pt x="2674951" y="5986829"/>
                </a:cubicBezTo>
                <a:lnTo>
                  <a:pt x="0" y="5986829"/>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Tijdelijke aanduiding voor datum 3"/>
          <p:cNvSpPr>
            <a:spLocks noGrp="1"/>
          </p:cNvSpPr>
          <p:nvPr>
            <p:ph type="dt" sz="half" idx="10"/>
          </p:nvPr>
        </p:nvSpPr>
        <p:spPr>
          <a:xfrm>
            <a:off x="10676001" y="5401161"/>
            <a:ext cx="1434524" cy="365125"/>
          </a:xfrm>
        </p:spPr>
        <p:txBody>
          <a:bodyPr/>
          <a:lstStyle>
            <a:lvl1pPr>
              <a:defRPr>
                <a:solidFill>
                  <a:schemeClr val="tx2"/>
                </a:solidFill>
              </a:defRPr>
            </a:lvl1pPr>
          </a:lstStyle>
          <a:p>
            <a:fld id="{CA6F7E4C-B957-4EC4-89CA-09495A85D171}" type="datetime4">
              <a:rPr lang="en-GB" smtClean="0"/>
              <a:t>29 May 2020</a:t>
            </a:fld>
            <a:endParaRPr lang="en-GB" dirty="0"/>
          </a:p>
        </p:txBody>
      </p:sp>
      <p:sp>
        <p:nvSpPr>
          <p:cNvPr id="5" name="Tijdelijke aanduiding voor voettekst 4"/>
          <p:cNvSpPr>
            <a:spLocks noGrp="1"/>
          </p:cNvSpPr>
          <p:nvPr>
            <p:ph type="ftr" sz="quarter" idx="11"/>
          </p:nvPr>
        </p:nvSpPr>
        <p:spPr>
          <a:xfrm>
            <a:off x="9981386" y="5365065"/>
            <a:ext cx="814092" cy="365125"/>
          </a:xfrm>
        </p:spPr>
        <p:txBody>
          <a:bodyPr/>
          <a:lstStyle>
            <a:lvl1pPr>
              <a:defRPr>
                <a:solidFill>
                  <a:schemeClr val="tx2"/>
                </a:solidFill>
              </a:defRPr>
            </a:lvl1pPr>
          </a:lstStyle>
          <a:p>
            <a:r>
              <a:rPr lang="en-GB"/>
              <a:t>|</a:t>
            </a:r>
          </a:p>
        </p:txBody>
      </p:sp>
      <p:sp>
        <p:nvSpPr>
          <p:cNvPr id="6" name="Tijdelijke aanduiding voor dianummer 5"/>
          <p:cNvSpPr>
            <a:spLocks noGrp="1"/>
          </p:cNvSpPr>
          <p:nvPr>
            <p:ph type="sldNum" sz="quarter" idx="12"/>
          </p:nvPr>
        </p:nvSpPr>
        <p:spPr>
          <a:xfrm>
            <a:off x="9560279" y="5401161"/>
            <a:ext cx="540585" cy="365125"/>
          </a:xfrm>
        </p:spPr>
        <p:txBody>
          <a:bodyPr/>
          <a:lstStyle>
            <a:lvl1pPr>
              <a:defRPr>
                <a:solidFill>
                  <a:schemeClr val="tx2"/>
                </a:solidFill>
              </a:defRPr>
            </a:lvl1pPr>
          </a:lstStyle>
          <a:p>
            <a:fld id="{534B5F9C-CFE5-4EC6-9BBB-664E2F56B033}" type="slidenum">
              <a:rPr lang="en-GB" smtClean="0"/>
              <a:pPr/>
              <a:t>‹nr.›</a:t>
            </a:fld>
            <a:endParaRPr lang="en-GB" dirty="0"/>
          </a:p>
        </p:txBody>
      </p:sp>
      <p:sp>
        <p:nvSpPr>
          <p:cNvPr id="28" name="Tijdelijke aanduiding voor afbeelding 2">
            <a:extLst>
              <a:ext uri="{FF2B5EF4-FFF2-40B4-BE49-F238E27FC236}">
                <a16:creationId xmlns:a16="http://schemas.microsoft.com/office/drawing/2014/main" id="{16DBD923-A819-4FA3-8642-E1DC6B8509B0}"/>
              </a:ext>
            </a:extLst>
          </p:cNvPr>
          <p:cNvSpPr>
            <a:spLocks noGrp="1"/>
          </p:cNvSpPr>
          <p:nvPr>
            <p:ph type="pic" idx="13"/>
          </p:nvPr>
        </p:nvSpPr>
        <p:spPr>
          <a:xfrm>
            <a:off x="-2498" y="-2912"/>
            <a:ext cx="9522159" cy="6858478"/>
          </a:xfrm>
          <a:custGeom>
            <a:avLst/>
            <a:gdLst>
              <a:gd name="connsiteX0" fmla="*/ 79964 w 12195175"/>
              <a:gd name="connsiteY0" fmla="*/ 0 h 6858000"/>
              <a:gd name="connsiteX1" fmla="*/ 12115211 w 12195175"/>
              <a:gd name="connsiteY1" fmla="*/ 0 h 6858000"/>
              <a:gd name="connsiteX2" fmla="*/ 12195175 w 12195175"/>
              <a:gd name="connsiteY2" fmla="*/ 79964 h 6858000"/>
              <a:gd name="connsiteX3" fmla="*/ 12195175 w 12195175"/>
              <a:gd name="connsiteY3" fmla="*/ 6858000 h 6858000"/>
              <a:gd name="connsiteX4" fmla="*/ 12195175 w 12195175"/>
              <a:gd name="connsiteY4" fmla="*/ 6858000 h 6858000"/>
              <a:gd name="connsiteX5" fmla="*/ 0 w 12195175"/>
              <a:gd name="connsiteY5" fmla="*/ 6858000 h 6858000"/>
              <a:gd name="connsiteX6" fmla="*/ 0 w 12195175"/>
              <a:gd name="connsiteY6" fmla="*/ 6858000 h 6858000"/>
              <a:gd name="connsiteX7" fmla="*/ 0 w 12195175"/>
              <a:gd name="connsiteY7" fmla="*/ 79964 h 6858000"/>
              <a:gd name="connsiteX8" fmla="*/ 79964 w 12195175"/>
              <a:gd name="connsiteY8"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7673 w 12197673"/>
              <a:gd name="connsiteY3" fmla="*/ 6858000 h 6858000"/>
              <a:gd name="connsiteX4" fmla="*/ 12197673 w 12197673"/>
              <a:gd name="connsiteY4" fmla="*/ 6858000 h 6858000"/>
              <a:gd name="connsiteX5" fmla="*/ 2498 w 12197673"/>
              <a:gd name="connsiteY5" fmla="*/ 6858000 h 6858000"/>
              <a:gd name="connsiteX6" fmla="*/ 2498 w 12197673"/>
              <a:gd name="connsiteY6" fmla="*/ 6858000 h 6858000"/>
              <a:gd name="connsiteX7" fmla="*/ 0 w 12197673"/>
              <a:gd name="connsiteY7" fmla="*/ 6785548 h 6858000"/>
              <a:gd name="connsiteX8" fmla="*/ 2498 w 12197673"/>
              <a:gd name="connsiteY8" fmla="*/ 79964 h 6858000"/>
              <a:gd name="connsiteX9" fmla="*/ 82462 w 12197673"/>
              <a:gd name="connsiteY9"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7673 w 12197673"/>
              <a:gd name="connsiteY3" fmla="*/ 6858000 h 6858000"/>
              <a:gd name="connsiteX4" fmla="*/ 12197673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97673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97673 w 12197673"/>
              <a:gd name="connsiteY5" fmla="*/ 6858000 h 6858000"/>
              <a:gd name="connsiteX6" fmla="*/ 12112052 w 12197673"/>
              <a:gd name="connsiteY6" fmla="*/ 6858000 h 6858000"/>
              <a:gd name="connsiteX7" fmla="*/ 74950 w 12197673"/>
              <a:gd name="connsiteY7" fmla="*/ 6855502 h 6858000"/>
              <a:gd name="connsiteX8" fmla="*/ 2498 w 12197673"/>
              <a:gd name="connsiteY8" fmla="*/ 6858000 h 6858000"/>
              <a:gd name="connsiteX9" fmla="*/ 2498 w 12197673"/>
              <a:gd name="connsiteY9" fmla="*/ 6858000 h 6858000"/>
              <a:gd name="connsiteX10" fmla="*/ 0 w 12197673"/>
              <a:gd name="connsiteY10" fmla="*/ 6785548 h 6858000"/>
              <a:gd name="connsiteX11" fmla="*/ 2498 w 12197673"/>
              <a:gd name="connsiteY11" fmla="*/ 79964 h 6858000"/>
              <a:gd name="connsiteX12" fmla="*/ 82462 w 12197673"/>
              <a:gd name="connsiteY12"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2498 w 12197673"/>
              <a:gd name="connsiteY7" fmla="*/ 6858000 h 6858224"/>
              <a:gd name="connsiteX8" fmla="*/ 0 w 12197673"/>
              <a:gd name="connsiteY8" fmla="*/ 6785548 h 6858224"/>
              <a:gd name="connsiteX9" fmla="*/ 2498 w 12197673"/>
              <a:gd name="connsiteY9" fmla="*/ 79964 h 6858224"/>
              <a:gd name="connsiteX10" fmla="*/ 82462 w 12197673"/>
              <a:gd name="connsiteY10"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2498 w 12197673"/>
              <a:gd name="connsiteY7" fmla="*/ 6858000 h 6858224"/>
              <a:gd name="connsiteX8" fmla="*/ 0 w 12197673"/>
              <a:gd name="connsiteY8" fmla="*/ 6785548 h 6858224"/>
              <a:gd name="connsiteX9" fmla="*/ 2498 w 12197673"/>
              <a:gd name="connsiteY9" fmla="*/ 79964 h 6858224"/>
              <a:gd name="connsiteX10" fmla="*/ 82462 w 12197673"/>
              <a:gd name="connsiteY10"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0 w 12197673"/>
              <a:gd name="connsiteY7" fmla="*/ 6785548 h 6858224"/>
              <a:gd name="connsiteX8" fmla="*/ 2498 w 12197673"/>
              <a:gd name="connsiteY8" fmla="*/ 79964 h 6858224"/>
              <a:gd name="connsiteX9" fmla="*/ 82462 w 12197673"/>
              <a:gd name="connsiteY9"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 name="connsiteX0" fmla="*/ 82462 w 12197673"/>
              <a:gd name="connsiteY0" fmla="*/ 2912 h 6861136"/>
              <a:gd name="connsiteX1" fmla="*/ 9522159 w 12197673"/>
              <a:gd name="connsiteY1" fmla="*/ 0 h 6861136"/>
              <a:gd name="connsiteX2" fmla="*/ 12117709 w 12197673"/>
              <a:gd name="connsiteY2" fmla="*/ 2912 h 6861136"/>
              <a:gd name="connsiteX3" fmla="*/ 12197673 w 12197673"/>
              <a:gd name="connsiteY3" fmla="*/ 82876 h 6861136"/>
              <a:gd name="connsiteX4" fmla="*/ 12194498 w 12197673"/>
              <a:gd name="connsiteY4" fmla="*/ 6780964 h 6861136"/>
              <a:gd name="connsiteX5" fmla="*/ 12112052 w 12197673"/>
              <a:gd name="connsiteY5" fmla="*/ 6860912 h 6861136"/>
              <a:gd name="connsiteX6" fmla="*/ 74950 w 12197673"/>
              <a:gd name="connsiteY6" fmla="*/ 6858414 h 6861136"/>
              <a:gd name="connsiteX7" fmla="*/ 0 w 12197673"/>
              <a:gd name="connsiteY7" fmla="*/ 6788460 h 6861136"/>
              <a:gd name="connsiteX8" fmla="*/ 2498 w 12197673"/>
              <a:gd name="connsiteY8" fmla="*/ 82876 h 6861136"/>
              <a:gd name="connsiteX9" fmla="*/ 82462 w 12197673"/>
              <a:gd name="connsiteY9" fmla="*/ 2912 h 6861136"/>
              <a:gd name="connsiteX0" fmla="*/ 82462 w 12197673"/>
              <a:gd name="connsiteY0" fmla="*/ 2912 h 6861136"/>
              <a:gd name="connsiteX1" fmla="*/ 9522159 w 12197673"/>
              <a:gd name="connsiteY1" fmla="*/ 0 h 6861136"/>
              <a:gd name="connsiteX2" fmla="*/ 12117709 w 12197673"/>
              <a:gd name="connsiteY2" fmla="*/ 2912 h 6861136"/>
              <a:gd name="connsiteX3" fmla="*/ 12197673 w 12197673"/>
              <a:gd name="connsiteY3" fmla="*/ 82876 h 6861136"/>
              <a:gd name="connsiteX4" fmla="*/ 12194498 w 12197673"/>
              <a:gd name="connsiteY4" fmla="*/ 6780964 h 6861136"/>
              <a:gd name="connsiteX5" fmla="*/ 12112052 w 12197673"/>
              <a:gd name="connsiteY5" fmla="*/ 6860912 h 6861136"/>
              <a:gd name="connsiteX6" fmla="*/ 9522159 w 12197673"/>
              <a:gd name="connsiteY6" fmla="*/ 6858000 h 6861136"/>
              <a:gd name="connsiteX7" fmla="*/ 74950 w 12197673"/>
              <a:gd name="connsiteY7" fmla="*/ 6858414 h 6861136"/>
              <a:gd name="connsiteX8" fmla="*/ 0 w 12197673"/>
              <a:gd name="connsiteY8" fmla="*/ 6788460 h 6861136"/>
              <a:gd name="connsiteX9" fmla="*/ 2498 w 12197673"/>
              <a:gd name="connsiteY9" fmla="*/ 82876 h 6861136"/>
              <a:gd name="connsiteX10" fmla="*/ 82462 w 12197673"/>
              <a:gd name="connsiteY10" fmla="*/ 2912 h 6861136"/>
              <a:gd name="connsiteX0" fmla="*/ 82462 w 12334905"/>
              <a:gd name="connsiteY0" fmla="*/ 2912 h 6860912"/>
              <a:gd name="connsiteX1" fmla="*/ 9522159 w 12334905"/>
              <a:gd name="connsiteY1" fmla="*/ 0 h 6860912"/>
              <a:gd name="connsiteX2" fmla="*/ 12117709 w 12334905"/>
              <a:gd name="connsiteY2" fmla="*/ 2912 h 6860912"/>
              <a:gd name="connsiteX3" fmla="*/ 12197673 w 12334905"/>
              <a:gd name="connsiteY3" fmla="*/ 82876 h 6860912"/>
              <a:gd name="connsiteX4" fmla="*/ 12112052 w 12334905"/>
              <a:gd name="connsiteY4" fmla="*/ 6860912 h 6860912"/>
              <a:gd name="connsiteX5" fmla="*/ 9522159 w 12334905"/>
              <a:gd name="connsiteY5" fmla="*/ 6858000 h 6860912"/>
              <a:gd name="connsiteX6" fmla="*/ 74950 w 12334905"/>
              <a:gd name="connsiteY6" fmla="*/ 6858414 h 6860912"/>
              <a:gd name="connsiteX7" fmla="*/ 0 w 12334905"/>
              <a:gd name="connsiteY7" fmla="*/ 6788460 h 6860912"/>
              <a:gd name="connsiteX8" fmla="*/ 2498 w 12334905"/>
              <a:gd name="connsiteY8" fmla="*/ 82876 h 6860912"/>
              <a:gd name="connsiteX9" fmla="*/ 82462 w 12334905"/>
              <a:gd name="connsiteY9" fmla="*/ 2912 h 6860912"/>
              <a:gd name="connsiteX0" fmla="*/ 82462 w 12197673"/>
              <a:gd name="connsiteY0" fmla="*/ 2912 h 6858478"/>
              <a:gd name="connsiteX1" fmla="*/ 9522159 w 12197673"/>
              <a:gd name="connsiteY1" fmla="*/ 0 h 6858478"/>
              <a:gd name="connsiteX2" fmla="*/ 12117709 w 12197673"/>
              <a:gd name="connsiteY2" fmla="*/ 2912 h 6858478"/>
              <a:gd name="connsiteX3" fmla="*/ 12197673 w 12197673"/>
              <a:gd name="connsiteY3" fmla="*/ 82876 h 6858478"/>
              <a:gd name="connsiteX4" fmla="*/ 9522159 w 12197673"/>
              <a:gd name="connsiteY4" fmla="*/ 6858000 h 6858478"/>
              <a:gd name="connsiteX5" fmla="*/ 74950 w 12197673"/>
              <a:gd name="connsiteY5" fmla="*/ 6858414 h 6858478"/>
              <a:gd name="connsiteX6" fmla="*/ 0 w 12197673"/>
              <a:gd name="connsiteY6" fmla="*/ 6788460 h 6858478"/>
              <a:gd name="connsiteX7" fmla="*/ 2498 w 12197673"/>
              <a:gd name="connsiteY7" fmla="*/ 82876 h 6858478"/>
              <a:gd name="connsiteX8" fmla="*/ 82462 w 12197673"/>
              <a:gd name="connsiteY8" fmla="*/ 2912 h 6858478"/>
              <a:gd name="connsiteX0" fmla="*/ 82462 w 12117709"/>
              <a:gd name="connsiteY0" fmla="*/ 2912 h 6858478"/>
              <a:gd name="connsiteX1" fmla="*/ 9522159 w 12117709"/>
              <a:gd name="connsiteY1" fmla="*/ 0 h 6858478"/>
              <a:gd name="connsiteX2" fmla="*/ 12117709 w 12117709"/>
              <a:gd name="connsiteY2" fmla="*/ 2912 h 6858478"/>
              <a:gd name="connsiteX3" fmla="*/ 9522159 w 12117709"/>
              <a:gd name="connsiteY3" fmla="*/ 6858000 h 6858478"/>
              <a:gd name="connsiteX4" fmla="*/ 74950 w 12117709"/>
              <a:gd name="connsiteY4" fmla="*/ 6858414 h 6858478"/>
              <a:gd name="connsiteX5" fmla="*/ 0 w 12117709"/>
              <a:gd name="connsiteY5" fmla="*/ 6788460 h 6858478"/>
              <a:gd name="connsiteX6" fmla="*/ 2498 w 12117709"/>
              <a:gd name="connsiteY6" fmla="*/ 82876 h 6858478"/>
              <a:gd name="connsiteX7" fmla="*/ 82462 w 12117709"/>
              <a:gd name="connsiteY7" fmla="*/ 2912 h 6858478"/>
              <a:gd name="connsiteX0" fmla="*/ 82462 w 12117709"/>
              <a:gd name="connsiteY0" fmla="*/ 2912 h 6858478"/>
              <a:gd name="connsiteX1" fmla="*/ 9522159 w 12117709"/>
              <a:gd name="connsiteY1" fmla="*/ 0 h 6858478"/>
              <a:gd name="connsiteX2" fmla="*/ 12117709 w 12117709"/>
              <a:gd name="connsiteY2" fmla="*/ 2912 h 6858478"/>
              <a:gd name="connsiteX3" fmla="*/ 9522159 w 12117709"/>
              <a:gd name="connsiteY3" fmla="*/ 6858000 h 6858478"/>
              <a:gd name="connsiteX4" fmla="*/ 74950 w 12117709"/>
              <a:gd name="connsiteY4" fmla="*/ 6858414 h 6858478"/>
              <a:gd name="connsiteX5" fmla="*/ 0 w 12117709"/>
              <a:gd name="connsiteY5" fmla="*/ 6788460 h 6858478"/>
              <a:gd name="connsiteX6" fmla="*/ 2498 w 12117709"/>
              <a:gd name="connsiteY6" fmla="*/ 82876 h 6858478"/>
              <a:gd name="connsiteX7" fmla="*/ 82462 w 12117709"/>
              <a:gd name="connsiteY7" fmla="*/ 2912 h 6858478"/>
              <a:gd name="connsiteX0" fmla="*/ 82462 w 9522159"/>
              <a:gd name="connsiteY0" fmla="*/ 2912 h 6858478"/>
              <a:gd name="connsiteX1" fmla="*/ 9522159 w 9522159"/>
              <a:gd name="connsiteY1" fmla="*/ 0 h 6858478"/>
              <a:gd name="connsiteX2" fmla="*/ 9522159 w 9522159"/>
              <a:gd name="connsiteY2" fmla="*/ 6858000 h 6858478"/>
              <a:gd name="connsiteX3" fmla="*/ 74950 w 9522159"/>
              <a:gd name="connsiteY3" fmla="*/ 6858414 h 6858478"/>
              <a:gd name="connsiteX4" fmla="*/ 0 w 9522159"/>
              <a:gd name="connsiteY4" fmla="*/ 6788460 h 6858478"/>
              <a:gd name="connsiteX5" fmla="*/ 2498 w 9522159"/>
              <a:gd name="connsiteY5" fmla="*/ 82876 h 6858478"/>
              <a:gd name="connsiteX6" fmla="*/ 82462 w 9522159"/>
              <a:gd name="connsiteY6" fmla="*/ 2912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2159" h="6858478">
                <a:moveTo>
                  <a:pt x="82462" y="2912"/>
                </a:moveTo>
                <a:lnTo>
                  <a:pt x="9522159" y="0"/>
                </a:lnTo>
                <a:lnTo>
                  <a:pt x="9522159" y="6858000"/>
                </a:lnTo>
                <a:lnTo>
                  <a:pt x="74950" y="6858414"/>
                </a:lnTo>
                <a:cubicBezTo>
                  <a:pt x="37476" y="6860079"/>
                  <a:pt x="-1" y="6829266"/>
                  <a:pt x="0" y="6788460"/>
                </a:cubicBezTo>
                <a:cubicBezTo>
                  <a:pt x="833" y="4553265"/>
                  <a:pt x="1665" y="2318071"/>
                  <a:pt x="2498" y="82876"/>
                </a:cubicBezTo>
                <a:cubicBezTo>
                  <a:pt x="2498" y="38713"/>
                  <a:pt x="38299" y="2912"/>
                  <a:pt x="82462" y="2912"/>
                </a:cubicBezTo>
                <a:close/>
              </a:path>
            </a:pathLst>
          </a:custGeo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8" name="Tijdelijke aanduiding voor tekst 7">
            <a:extLst>
              <a:ext uri="{FF2B5EF4-FFF2-40B4-BE49-F238E27FC236}">
                <a16:creationId xmlns:a16="http://schemas.microsoft.com/office/drawing/2014/main" id="{39BD6526-75E5-4652-A0F9-4ACC8AA0F6C3}"/>
              </a:ext>
            </a:extLst>
          </p:cNvPr>
          <p:cNvSpPr>
            <a:spLocks noGrp="1"/>
          </p:cNvSpPr>
          <p:nvPr>
            <p:ph type="body" sz="quarter" idx="14"/>
          </p:nvPr>
        </p:nvSpPr>
        <p:spPr>
          <a:xfrm>
            <a:off x="9865628" y="358984"/>
            <a:ext cx="2003987" cy="4754909"/>
          </a:xfrm>
        </p:spPr>
        <p:txBody>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1636478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996"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fbeelding (4:3) (grijs)">
    <p:spTree>
      <p:nvGrpSpPr>
        <p:cNvPr id="1" name=""/>
        <p:cNvGrpSpPr/>
        <p:nvPr/>
      </p:nvGrpSpPr>
      <p:grpSpPr>
        <a:xfrm>
          <a:off x="0" y="0"/>
          <a:ext cx="0" cy="0"/>
          <a:chOff x="0" y="0"/>
          <a:chExt cx="0" cy="0"/>
        </a:xfrm>
      </p:grpSpPr>
      <p:sp>
        <p:nvSpPr>
          <p:cNvPr id="23" name="Afgeronde rechthoek 7">
            <a:extLst>
              <a:ext uri="{FF2B5EF4-FFF2-40B4-BE49-F238E27FC236}">
                <a16:creationId xmlns:a16="http://schemas.microsoft.com/office/drawing/2014/main" id="{9E686FF5-BE1E-475E-BC37-372393A83A53}"/>
              </a:ext>
            </a:extLst>
          </p:cNvPr>
          <p:cNvSpPr/>
          <p:nvPr userDrawn="1"/>
        </p:nvSpPr>
        <p:spPr>
          <a:xfrm>
            <a:off x="-1538" y="-1824"/>
            <a:ext cx="9529768" cy="6859823"/>
          </a:xfrm>
          <a:custGeom>
            <a:avLst/>
            <a:gdLst>
              <a:gd name="connsiteX0" fmla="*/ 0 w 12195175"/>
              <a:gd name="connsiteY0" fmla="*/ 95258 h 6858000"/>
              <a:gd name="connsiteX1" fmla="*/ 95258 w 12195175"/>
              <a:gd name="connsiteY1" fmla="*/ 0 h 6858000"/>
              <a:gd name="connsiteX2" fmla="*/ 12099917 w 12195175"/>
              <a:gd name="connsiteY2" fmla="*/ 0 h 6858000"/>
              <a:gd name="connsiteX3" fmla="*/ 12195175 w 12195175"/>
              <a:gd name="connsiteY3" fmla="*/ 95258 h 6858000"/>
              <a:gd name="connsiteX4" fmla="*/ 12195175 w 12195175"/>
              <a:gd name="connsiteY4" fmla="*/ 6762742 h 6858000"/>
              <a:gd name="connsiteX5" fmla="*/ 12099917 w 12195175"/>
              <a:gd name="connsiteY5" fmla="*/ 6858000 h 6858000"/>
              <a:gd name="connsiteX6" fmla="*/ 95258 w 12195175"/>
              <a:gd name="connsiteY6" fmla="*/ 6858000 h 6858000"/>
              <a:gd name="connsiteX7" fmla="*/ 0 w 12195175"/>
              <a:gd name="connsiteY7" fmla="*/ 6762742 h 6858000"/>
              <a:gd name="connsiteX8" fmla="*/ 0 w 12195175"/>
              <a:gd name="connsiteY8" fmla="*/ 95258 h 6858000"/>
              <a:gd name="connsiteX0" fmla="*/ 0 w 12195175"/>
              <a:gd name="connsiteY0" fmla="*/ 118634 h 6881376"/>
              <a:gd name="connsiteX1" fmla="*/ 95258 w 12195175"/>
              <a:gd name="connsiteY1" fmla="*/ 23376 h 6881376"/>
              <a:gd name="connsiteX2" fmla="*/ 12099917 w 12195175"/>
              <a:gd name="connsiteY2" fmla="*/ 23376 h 6881376"/>
              <a:gd name="connsiteX3" fmla="*/ 12195175 w 12195175"/>
              <a:gd name="connsiteY3" fmla="*/ 23384 h 6881376"/>
              <a:gd name="connsiteX4" fmla="*/ 12195175 w 12195175"/>
              <a:gd name="connsiteY4" fmla="*/ 6786118 h 6881376"/>
              <a:gd name="connsiteX5" fmla="*/ 12099917 w 12195175"/>
              <a:gd name="connsiteY5" fmla="*/ 6881376 h 6881376"/>
              <a:gd name="connsiteX6" fmla="*/ 95258 w 12195175"/>
              <a:gd name="connsiteY6" fmla="*/ 6881376 h 6881376"/>
              <a:gd name="connsiteX7" fmla="*/ 0 w 12195175"/>
              <a:gd name="connsiteY7" fmla="*/ 6786118 h 6881376"/>
              <a:gd name="connsiteX8" fmla="*/ 0 w 12195175"/>
              <a:gd name="connsiteY8" fmla="*/ 118634 h 6881376"/>
              <a:gd name="connsiteX0" fmla="*/ 0 w 13021588"/>
              <a:gd name="connsiteY0" fmla="*/ 596245 h 7358987"/>
              <a:gd name="connsiteX1" fmla="*/ 95258 w 13021588"/>
              <a:gd name="connsiteY1" fmla="*/ 500987 h 7358987"/>
              <a:gd name="connsiteX2" fmla="*/ 12099917 w 13021588"/>
              <a:gd name="connsiteY2" fmla="*/ 500987 h 7358987"/>
              <a:gd name="connsiteX3" fmla="*/ 12195175 w 13021588"/>
              <a:gd name="connsiteY3" fmla="*/ 500995 h 7358987"/>
              <a:gd name="connsiteX4" fmla="*/ 12195175 w 13021588"/>
              <a:gd name="connsiteY4" fmla="*/ 7263729 h 7358987"/>
              <a:gd name="connsiteX5" fmla="*/ 12099917 w 13021588"/>
              <a:gd name="connsiteY5" fmla="*/ 7358987 h 7358987"/>
              <a:gd name="connsiteX6" fmla="*/ 95258 w 13021588"/>
              <a:gd name="connsiteY6" fmla="*/ 7358987 h 7358987"/>
              <a:gd name="connsiteX7" fmla="*/ 0 w 13021588"/>
              <a:gd name="connsiteY7" fmla="*/ 7263729 h 7358987"/>
              <a:gd name="connsiteX8" fmla="*/ 0 w 13021588"/>
              <a:gd name="connsiteY8" fmla="*/ 596245 h 7358987"/>
              <a:gd name="connsiteX0" fmla="*/ 0 w 12195175"/>
              <a:gd name="connsiteY0" fmla="*/ 95258 h 6858000"/>
              <a:gd name="connsiteX1" fmla="*/ 95258 w 12195175"/>
              <a:gd name="connsiteY1" fmla="*/ 0 h 6858000"/>
              <a:gd name="connsiteX2" fmla="*/ 12195175 w 12195175"/>
              <a:gd name="connsiteY2" fmla="*/ 8 h 6858000"/>
              <a:gd name="connsiteX3" fmla="*/ 12195175 w 12195175"/>
              <a:gd name="connsiteY3" fmla="*/ 6762742 h 6858000"/>
              <a:gd name="connsiteX4" fmla="*/ 12099917 w 12195175"/>
              <a:gd name="connsiteY4" fmla="*/ 6858000 h 6858000"/>
              <a:gd name="connsiteX5" fmla="*/ 95258 w 12195175"/>
              <a:gd name="connsiteY5" fmla="*/ 6858000 h 6858000"/>
              <a:gd name="connsiteX6" fmla="*/ 0 w 12195175"/>
              <a:gd name="connsiteY6" fmla="*/ 6762742 h 6858000"/>
              <a:gd name="connsiteX7" fmla="*/ 0 w 12195175"/>
              <a:gd name="connsiteY7" fmla="*/ 95258 h 6858000"/>
              <a:gd name="connsiteX0" fmla="*/ 0 w 12213415"/>
              <a:gd name="connsiteY0" fmla="*/ 95258 h 6858000"/>
              <a:gd name="connsiteX1" fmla="*/ 95258 w 12213415"/>
              <a:gd name="connsiteY1" fmla="*/ 0 h 6858000"/>
              <a:gd name="connsiteX2" fmla="*/ 12195175 w 12213415"/>
              <a:gd name="connsiteY2" fmla="*/ 8 h 6858000"/>
              <a:gd name="connsiteX3" fmla="*/ 12195175 w 12213415"/>
              <a:gd name="connsiteY3" fmla="*/ 6762742 h 6858000"/>
              <a:gd name="connsiteX4" fmla="*/ 12188023 w 12213415"/>
              <a:gd name="connsiteY4" fmla="*/ 6858000 h 6858000"/>
              <a:gd name="connsiteX5" fmla="*/ 95258 w 12213415"/>
              <a:gd name="connsiteY5" fmla="*/ 6858000 h 6858000"/>
              <a:gd name="connsiteX6" fmla="*/ 0 w 12213415"/>
              <a:gd name="connsiteY6" fmla="*/ 6762742 h 6858000"/>
              <a:gd name="connsiteX7" fmla="*/ 0 w 12213415"/>
              <a:gd name="connsiteY7" fmla="*/ 95258 h 6858000"/>
              <a:gd name="connsiteX0" fmla="*/ 0 w 13085932"/>
              <a:gd name="connsiteY0" fmla="*/ 95258 h 7296671"/>
              <a:gd name="connsiteX1" fmla="*/ 95258 w 13085932"/>
              <a:gd name="connsiteY1" fmla="*/ 0 h 7296671"/>
              <a:gd name="connsiteX2" fmla="*/ 12195175 w 13085932"/>
              <a:gd name="connsiteY2" fmla="*/ 8 h 7296671"/>
              <a:gd name="connsiteX3" fmla="*/ 12195175 w 13085932"/>
              <a:gd name="connsiteY3" fmla="*/ 6762742 h 7296671"/>
              <a:gd name="connsiteX4" fmla="*/ 12188023 w 13085932"/>
              <a:gd name="connsiteY4" fmla="*/ 6858000 h 7296671"/>
              <a:gd name="connsiteX5" fmla="*/ 95258 w 13085932"/>
              <a:gd name="connsiteY5" fmla="*/ 6858000 h 7296671"/>
              <a:gd name="connsiteX6" fmla="*/ 0 w 13085932"/>
              <a:gd name="connsiteY6" fmla="*/ 6762742 h 7296671"/>
              <a:gd name="connsiteX7" fmla="*/ 0 w 13085932"/>
              <a:gd name="connsiteY7" fmla="*/ 95258 h 7296671"/>
              <a:gd name="connsiteX0" fmla="*/ 0 w 12195175"/>
              <a:gd name="connsiteY0" fmla="*/ 95258 h 6858000"/>
              <a:gd name="connsiteX1" fmla="*/ 95258 w 12195175"/>
              <a:gd name="connsiteY1" fmla="*/ 0 h 6858000"/>
              <a:gd name="connsiteX2" fmla="*/ 12195175 w 12195175"/>
              <a:gd name="connsiteY2" fmla="*/ 8 h 6858000"/>
              <a:gd name="connsiteX3" fmla="*/ 12188023 w 12195175"/>
              <a:gd name="connsiteY3" fmla="*/ 6858000 h 6858000"/>
              <a:gd name="connsiteX4" fmla="*/ 95258 w 12195175"/>
              <a:gd name="connsiteY4" fmla="*/ 6858000 h 6858000"/>
              <a:gd name="connsiteX5" fmla="*/ 0 w 12195175"/>
              <a:gd name="connsiteY5" fmla="*/ 6762742 h 6858000"/>
              <a:gd name="connsiteX6" fmla="*/ 0 w 12195175"/>
              <a:gd name="connsiteY6" fmla="*/ 95258 h 6858000"/>
              <a:gd name="connsiteX0" fmla="*/ 0 w 13092080"/>
              <a:gd name="connsiteY0" fmla="*/ 602898 h 7365640"/>
              <a:gd name="connsiteX1" fmla="*/ 95258 w 13092080"/>
              <a:gd name="connsiteY1" fmla="*/ 507640 h 7365640"/>
              <a:gd name="connsiteX2" fmla="*/ 12195175 w 13092080"/>
              <a:gd name="connsiteY2" fmla="*/ 507648 h 7365640"/>
              <a:gd name="connsiteX3" fmla="*/ 12197548 w 13092080"/>
              <a:gd name="connsiteY3" fmla="*/ 7360878 h 7365640"/>
              <a:gd name="connsiteX4" fmla="*/ 95258 w 13092080"/>
              <a:gd name="connsiteY4" fmla="*/ 7365640 h 7365640"/>
              <a:gd name="connsiteX5" fmla="*/ 0 w 13092080"/>
              <a:gd name="connsiteY5" fmla="*/ 7270382 h 7365640"/>
              <a:gd name="connsiteX6" fmla="*/ 0 w 13092080"/>
              <a:gd name="connsiteY6" fmla="*/ 602898 h 7365640"/>
              <a:gd name="connsiteX0" fmla="*/ 0 w 13091286"/>
              <a:gd name="connsiteY0" fmla="*/ 603074 h 7365816"/>
              <a:gd name="connsiteX1" fmla="*/ 95258 w 13091286"/>
              <a:gd name="connsiteY1" fmla="*/ 507816 h 7365816"/>
              <a:gd name="connsiteX2" fmla="*/ 12195175 w 13091286"/>
              <a:gd name="connsiteY2" fmla="*/ 507824 h 7365816"/>
              <a:gd name="connsiteX3" fmla="*/ 12195167 w 13091286"/>
              <a:gd name="connsiteY3" fmla="*/ 7363435 h 7365816"/>
              <a:gd name="connsiteX4" fmla="*/ 95258 w 13091286"/>
              <a:gd name="connsiteY4" fmla="*/ 7365816 h 7365816"/>
              <a:gd name="connsiteX5" fmla="*/ 0 w 13091286"/>
              <a:gd name="connsiteY5" fmla="*/ 7270558 h 7365816"/>
              <a:gd name="connsiteX6" fmla="*/ 0 w 13091286"/>
              <a:gd name="connsiteY6" fmla="*/ 603074 h 7365816"/>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2202311"/>
              <a:gd name="connsiteY0" fmla="*/ 489460 h 7252202"/>
              <a:gd name="connsiteX1" fmla="*/ 95258 w 12202311"/>
              <a:gd name="connsiteY1" fmla="*/ 394202 h 7252202"/>
              <a:gd name="connsiteX2" fmla="*/ 12195175 w 12202311"/>
              <a:gd name="connsiteY2" fmla="*/ 394210 h 7252202"/>
              <a:gd name="connsiteX3" fmla="*/ 12202311 w 12202311"/>
              <a:gd name="connsiteY3" fmla="*/ 7252202 h 7252202"/>
              <a:gd name="connsiteX4" fmla="*/ 95258 w 12202311"/>
              <a:gd name="connsiteY4" fmla="*/ 7252202 h 7252202"/>
              <a:gd name="connsiteX5" fmla="*/ 0 w 12202311"/>
              <a:gd name="connsiteY5" fmla="*/ 7156944 h 7252202"/>
              <a:gd name="connsiteX6" fmla="*/ 0 w 12202311"/>
              <a:gd name="connsiteY6" fmla="*/ 489460 h 7252202"/>
              <a:gd name="connsiteX0" fmla="*/ 0 w 12202311"/>
              <a:gd name="connsiteY0" fmla="*/ 489460 h 7252202"/>
              <a:gd name="connsiteX1" fmla="*/ 95258 w 12202311"/>
              <a:gd name="connsiteY1" fmla="*/ 394202 h 7252202"/>
              <a:gd name="connsiteX2" fmla="*/ 12195175 w 12202311"/>
              <a:gd name="connsiteY2" fmla="*/ 394210 h 7252202"/>
              <a:gd name="connsiteX3" fmla="*/ 12202311 w 12202311"/>
              <a:gd name="connsiteY3" fmla="*/ 7252202 h 7252202"/>
              <a:gd name="connsiteX4" fmla="*/ 95258 w 12202311"/>
              <a:gd name="connsiteY4" fmla="*/ 7252202 h 7252202"/>
              <a:gd name="connsiteX5" fmla="*/ 0 w 12202311"/>
              <a:gd name="connsiteY5" fmla="*/ 7156944 h 7252202"/>
              <a:gd name="connsiteX6" fmla="*/ 0 w 12202311"/>
              <a:gd name="connsiteY6" fmla="*/ 489460 h 7252202"/>
              <a:gd name="connsiteX0" fmla="*/ 0 w 12202311"/>
              <a:gd name="connsiteY0" fmla="*/ 95258 h 6858000"/>
              <a:gd name="connsiteX1" fmla="*/ 95258 w 12202311"/>
              <a:gd name="connsiteY1" fmla="*/ 0 h 6858000"/>
              <a:gd name="connsiteX2" fmla="*/ 12195175 w 12202311"/>
              <a:gd name="connsiteY2" fmla="*/ 8 h 6858000"/>
              <a:gd name="connsiteX3" fmla="*/ 12202311 w 12202311"/>
              <a:gd name="connsiteY3" fmla="*/ 6858000 h 6858000"/>
              <a:gd name="connsiteX4" fmla="*/ 95258 w 12202311"/>
              <a:gd name="connsiteY4" fmla="*/ 6858000 h 6858000"/>
              <a:gd name="connsiteX5" fmla="*/ 0 w 12202311"/>
              <a:gd name="connsiteY5" fmla="*/ 6762742 h 6858000"/>
              <a:gd name="connsiteX6" fmla="*/ 0 w 12202311"/>
              <a:gd name="connsiteY6" fmla="*/ 95258 h 6858000"/>
              <a:gd name="connsiteX0" fmla="*/ 0 w 12205862"/>
              <a:gd name="connsiteY0" fmla="*/ 789969 h 7552711"/>
              <a:gd name="connsiteX1" fmla="*/ 95258 w 12205862"/>
              <a:gd name="connsiteY1" fmla="*/ 694711 h 7552711"/>
              <a:gd name="connsiteX2" fmla="*/ 12195175 w 12205862"/>
              <a:gd name="connsiteY2" fmla="*/ 694719 h 7552711"/>
              <a:gd name="connsiteX3" fmla="*/ 12202311 w 12205862"/>
              <a:gd name="connsiteY3" fmla="*/ 7552711 h 7552711"/>
              <a:gd name="connsiteX4" fmla="*/ 95258 w 12205862"/>
              <a:gd name="connsiteY4" fmla="*/ 7552711 h 7552711"/>
              <a:gd name="connsiteX5" fmla="*/ 0 w 12205862"/>
              <a:gd name="connsiteY5" fmla="*/ 7457453 h 7552711"/>
              <a:gd name="connsiteX6" fmla="*/ 0 w 12205862"/>
              <a:gd name="connsiteY6" fmla="*/ 789969 h 7552711"/>
              <a:gd name="connsiteX0" fmla="*/ 0 w 12205862"/>
              <a:gd name="connsiteY0" fmla="*/ 789969 h 7552711"/>
              <a:gd name="connsiteX1" fmla="*/ 95258 w 12205862"/>
              <a:gd name="connsiteY1" fmla="*/ 694711 h 7552711"/>
              <a:gd name="connsiteX2" fmla="*/ 12195175 w 12205862"/>
              <a:gd name="connsiteY2" fmla="*/ 694719 h 7552711"/>
              <a:gd name="connsiteX3" fmla="*/ 12202311 w 12205862"/>
              <a:gd name="connsiteY3" fmla="*/ 7552711 h 7552711"/>
              <a:gd name="connsiteX4" fmla="*/ 95258 w 12205862"/>
              <a:gd name="connsiteY4" fmla="*/ 7552711 h 7552711"/>
              <a:gd name="connsiteX5" fmla="*/ 0 w 12205862"/>
              <a:gd name="connsiteY5" fmla="*/ 7457453 h 7552711"/>
              <a:gd name="connsiteX6" fmla="*/ 0 w 12205862"/>
              <a:gd name="connsiteY6" fmla="*/ 789969 h 7552711"/>
              <a:gd name="connsiteX0" fmla="*/ 0 w 12639103"/>
              <a:gd name="connsiteY0" fmla="*/ 620131 h 7382873"/>
              <a:gd name="connsiteX1" fmla="*/ 95258 w 12639103"/>
              <a:gd name="connsiteY1" fmla="*/ 524873 h 7382873"/>
              <a:gd name="connsiteX2" fmla="*/ 12195175 w 12639103"/>
              <a:gd name="connsiteY2" fmla="*/ 524881 h 7382873"/>
              <a:gd name="connsiteX3" fmla="*/ 12202311 w 12639103"/>
              <a:gd name="connsiteY3" fmla="*/ 7382873 h 7382873"/>
              <a:gd name="connsiteX4" fmla="*/ 95258 w 12639103"/>
              <a:gd name="connsiteY4" fmla="*/ 7382873 h 7382873"/>
              <a:gd name="connsiteX5" fmla="*/ 0 w 12639103"/>
              <a:gd name="connsiteY5" fmla="*/ 7287615 h 7382873"/>
              <a:gd name="connsiteX6" fmla="*/ 0 w 12639103"/>
              <a:gd name="connsiteY6" fmla="*/ 620131 h 7382873"/>
              <a:gd name="connsiteX0" fmla="*/ 0 w 12639103"/>
              <a:gd name="connsiteY0" fmla="*/ 620131 h 7382873"/>
              <a:gd name="connsiteX1" fmla="*/ 95258 w 12639103"/>
              <a:gd name="connsiteY1" fmla="*/ 524873 h 7382873"/>
              <a:gd name="connsiteX2" fmla="*/ 12195175 w 12639103"/>
              <a:gd name="connsiteY2" fmla="*/ 524881 h 7382873"/>
              <a:gd name="connsiteX3" fmla="*/ 12202311 w 12639103"/>
              <a:gd name="connsiteY3" fmla="*/ 7382873 h 7382873"/>
              <a:gd name="connsiteX4" fmla="*/ 95258 w 12639103"/>
              <a:gd name="connsiteY4" fmla="*/ 7382873 h 7382873"/>
              <a:gd name="connsiteX5" fmla="*/ 0 w 12639103"/>
              <a:gd name="connsiteY5" fmla="*/ 7287615 h 7382873"/>
              <a:gd name="connsiteX6" fmla="*/ 0 w 12639103"/>
              <a:gd name="connsiteY6" fmla="*/ 620131 h 7382873"/>
              <a:gd name="connsiteX0" fmla="*/ 0 w 12837278"/>
              <a:gd name="connsiteY0" fmla="*/ 165206 h 6927948"/>
              <a:gd name="connsiteX1" fmla="*/ 95258 w 12837278"/>
              <a:gd name="connsiteY1" fmla="*/ 69948 h 6927948"/>
              <a:gd name="connsiteX2" fmla="*/ 12195175 w 12837278"/>
              <a:gd name="connsiteY2" fmla="*/ 69956 h 6927948"/>
              <a:gd name="connsiteX3" fmla="*/ 12202311 w 12837278"/>
              <a:gd name="connsiteY3" fmla="*/ 6927948 h 6927948"/>
              <a:gd name="connsiteX4" fmla="*/ 95258 w 12837278"/>
              <a:gd name="connsiteY4" fmla="*/ 6927948 h 6927948"/>
              <a:gd name="connsiteX5" fmla="*/ 0 w 12837278"/>
              <a:gd name="connsiteY5" fmla="*/ 6832690 h 6927948"/>
              <a:gd name="connsiteX6" fmla="*/ 0 w 12837278"/>
              <a:gd name="connsiteY6" fmla="*/ 165206 h 6927948"/>
              <a:gd name="connsiteX0" fmla="*/ 0 w 12837278"/>
              <a:gd name="connsiteY0" fmla="*/ 165206 h 6927948"/>
              <a:gd name="connsiteX1" fmla="*/ 95258 w 12837278"/>
              <a:gd name="connsiteY1" fmla="*/ 69948 h 6927948"/>
              <a:gd name="connsiteX2" fmla="*/ 12195175 w 12837278"/>
              <a:gd name="connsiteY2" fmla="*/ 69956 h 6927948"/>
              <a:gd name="connsiteX3" fmla="*/ 12202311 w 12837278"/>
              <a:gd name="connsiteY3" fmla="*/ 6927948 h 6927948"/>
              <a:gd name="connsiteX4" fmla="*/ 95258 w 12837278"/>
              <a:gd name="connsiteY4" fmla="*/ 6927948 h 6927948"/>
              <a:gd name="connsiteX5" fmla="*/ 0 w 12837278"/>
              <a:gd name="connsiteY5" fmla="*/ 6832690 h 6927948"/>
              <a:gd name="connsiteX6" fmla="*/ 0 w 12837278"/>
              <a:gd name="connsiteY6" fmla="*/ 165206 h 6927948"/>
              <a:gd name="connsiteX0" fmla="*/ 0 w 12837278"/>
              <a:gd name="connsiteY0" fmla="*/ 165206 h 6927948"/>
              <a:gd name="connsiteX1" fmla="*/ 95258 w 12837278"/>
              <a:gd name="connsiteY1" fmla="*/ 69948 h 6927948"/>
              <a:gd name="connsiteX2" fmla="*/ 12195175 w 12837278"/>
              <a:gd name="connsiteY2" fmla="*/ 69956 h 6927948"/>
              <a:gd name="connsiteX3" fmla="*/ 12202311 w 12837278"/>
              <a:gd name="connsiteY3" fmla="*/ 6927948 h 6927948"/>
              <a:gd name="connsiteX4" fmla="*/ 95258 w 12837278"/>
              <a:gd name="connsiteY4" fmla="*/ 6927948 h 6927948"/>
              <a:gd name="connsiteX5" fmla="*/ 0 w 12837278"/>
              <a:gd name="connsiteY5" fmla="*/ 6832690 h 6927948"/>
              <a:gd name="connsiteX6" fmla="*/ 0 w 12837278"/>
              <a:gd name="connsiteY6" fmla="*/ 165206 h 6927948"/>
              <a:gd name="connsiteX0" fmla="*/ 0 w 12202311"/>
              <a:gd name="connsiteY0" fmla="*/ 165206 h 6927948"/>
              <a:gd name="connsiteX1" fmla="*/ 95258 w 12202311"/>
              <a:gd name="connsiteY1" fmla="*/ 69948 h 6927948"/>
              <a:gd name="connsiteX2" fmla="*/ 12195175 w 12202311"/>
              <a:gd name="connsiteY2" fmla="*/ 69956 h 6927948"/>
              <a:gd name="connsiteX3" fmla="*/ 12202311 w 12202311"/>
              <a:gd name="connsiteY3" fmla="*/ 6927948 h 6927948"/>
              <a:gd name="connsiteX4" fmla="*/ 95258 w 12202311"/>
              <a:gd name="connsiteY4" fmla="*/ 6927948 h 6927948"/>
              <a:gd name="connsiteX5" fmla="*/ 0 w 12202311"/>
              <a:gd name="connsiteY5" fmla="*/ 6832690 h 6927948"/>
              <a:gd name="connsiteX6" fmla="*/ 0 w 12202311"/>
              <a:gd name="connsiteY6" fmla="*/ 165206 h 6927948"/>
              <a:gd name="connsiteX0" fmla="*/ 0 w 12202311"/>
              <a:gd name="connsiteY0" fmla="*/ 95258 h 6858000"/>
              <a:gd name="connsiteX1" fmla="*/ 95258 w 12202311"/>
              <a:gd name="connsiteY1" fmla="*/ 0 h 6858000"/>
              <a:gd name="connsiteX2" fmla="*/ 12195175 w 12202311"/>
              <a:gd name="connsiteY2" fmla="*/ 8 h 6858000"/>
              <a:gd name="connsiteX3" fmla="*/ 12202311 w 12202311"/>
              <a:gd name="connsiteY3" fmla="*/ 6858000 h 6858000"/>
              <a:gd name="connsiteX4" fmla="*/ 95258 w 12202311"/>
              <a:gd name="connsiteY4" fmla="*/ 6858000 h 6858000"/>
              <a:gd name="connsiteX5" fmla="*/ 0 w 12202311"/>
              <a:gd name="connsiteY5" fmla="*/ 6762742 h 6858000"/>
              <a:gd name="connsiteX6" fmla="*/ 0 w 12202311"/>
              <a:gd name="connsiteY6" fmla="*/ 95258 h 6858000"/>
              <a:gd name="connsiteX0" fmla="*/ 0 w 12202311"/>
              <a:gd name="connsiteY0" fmla="*/ 95258 h 6858000"/>
              <a:gd name="connsiteX1" fmla="*/ 95258 w 12202311"/>
              <a:gd name="connsiteY1" fmla="*/ 0 h 6858000"/>
              <a:gd name="connsiteX2" fmla="*/ 12195175 w 12202311"/>
              <a:gd name="connsiteY2" fmla="*/ 8 h 6858000"/>
              <a:gd name="connsiteX3" fmla="*/ 12202311 w 12202311"/>
              <a:gd name="connsiteY3" fmla="*/ 6858000 h 6858000"/>
              <a:gd name="connsiteX4" fmla="*/ 95258 w 12202311"/>
              <a:gd name="connsiteY4" fmla="*/ 6858000 h 6858000"/>
              <a:gd name="connsiteX5" fmla="*/ 0 w 12202311"/>
              <a:gd name="connsiteY5" fmla="*/ 6762742 h 6858000"/>
              <a:gd name="connsiteX6" fmla="*/ 0 w 12202311"/>
              <a:gd name="connsiteY6" fmla="*/ 95258 h 6858000"/>
              <a:gd name="connsiteX0" fmla="*/ 0 w 12202311"/>
              <a:gd name="connsiteY0" fmla="*/ 95258 h 6858000"/>
              <a:gd name="connsiteX1" fmla="*/ 95258 w 12202311"/>
              <a:gd name="connsiteY1" fmla="*/ 0 h 6858000"/>
              <a:gd name="connsiteX2" fmla="*/ 12195175 w 12202311"/>
              <a:gd name="connsiteY2" fmla="*/ 8 h 6858000"/>
              <a:gd name="connsiteX3" fmla="*/ 12202311 w 12202311"/>
              <a:gd name="connsiteY3" fmla="*/ 6858000 h 6858000"/>
              <a:gd name="connsiteX4" fmla="*/ 95258 w 12202311"/>
              <a:gd name="connsiteY4" fmla="*/ 6858000 h 6858000"/>
              <a:gd name="connsiteX5" fmla="*/ 0 w 12202311"/>
              <a:gd name="connsiteY5" fmla="*/ 6762742 h 6858000"/>
              <a:gd name="connsiteX6" fmla="*/ 0 w 12202311"/>
              <a:gd name="connsiteY6" fmla="*/ 95258 h 6858000"/>
              <a:gd name="connsiteX0" fmla="*/ 0 w 13012739"/>
              <a:gd name="connsiteY0" fmla="*/ 95258 h 7364588"/>
              <a:gd name="connsiteX1" fmla="*/ 95258 w 13012739"/>
              <a:gd name="connsiteY1" fmla="*/ 0 h 7364588"/>
              <a:gd name="connsiteX2" fmla="*/ 11922125 w 13012739"/>
              <a:gd name="connsiteY2" fmla="*/ 19058 h 7364588"/>
              <a:gd name="connsiteX3" fmla="*/ 12202311 w 13012739"/>
              <a:gd name="connsiteY3" fmla="*/ 6858000 h 7364588"/>
              <a:gd name="connsiteX4" fmla="*/ 95258 w 13012739"/>
              <a:gd name="connsiteY4" fmla="*/ 6858000 h 7364588"/>
              <a:gd name="connsiteX5" fmla="*/ 0 w 13012739"/>
              <a:gd name="connsiteY5" fmla="*/ 6762742 h 7364588"/>
              <a:gd name="connsiteX6" fmla="*/ 0 w 13012739"/>
              <a:gd name="connsiteY6" fmla="*/ 95258 h 7364588"/>
              <a:gd name="connsiteX0" fmla="*/ 0 w 13169364"/>
              <a:gd name="connsiteY0" fmla="*/ 228600 h 7509219"/>
              <a:gd name="connsiteX1" fmla="*/ 95258 w 13169364"/>
              <a:gd name="connsiteY1" fmla="*/ 133342 h 7509219"/>
              <a:gd name="connsiteX2" fmla="*/ 12398375 w 13169364"/>
              <a:gd name="connsiteY2" fmla="*/ 0 h 7509219"/>
              <a:gd name="connsiteX3" fmla="*/ 12202311 w 13169364"/>
              <a:gd name="connsiteY3" fmla="*/ 6991342 h 7509219"/>
              <a:gd name="connsiteX4" fmla="*/ 95258 w 13169364"/>
              <a:gd name="connsiteY4" fmla="*/ 6991342 h 7509219"/>
              <a:gd name="connsiteX5" fmla="*/ 0 w 13169364"/>
              <a:gd name="connsiteY5" fmla="*/ 6896084 h 7509219"/>
              <a:gd name="connsiteX6" fmla="*/ 0 w 13169364"/>
              <a:gd name="connsiteY6" fmla="*/ 228600 h 7509219"/>
              <a:gd name="connsiteX0" fmla="*/ 0 w 12911670"/>
              <a:gd name="connsiteY0" fmla="*/ 95258 h 7325547"/>
              <a:gd name="connsiteX1" fmla="*/ 95258 w 12911670"/>
              <a:gd name="connsiteY1" fmla="*/ 0 h 7325547"/>
              <a:gd name="connsiteX2" fmla="*/ 11553825 w 12911670"/>
              <a:gd name="connsiteY2" fmla="*/ 546108 h 7325547"/>
              <a:gd name="connsiteX3" fmla="*/ 12202311 w 12911670"/>
              <a:gd name="connsiteY3" fmla="*/ 6858000 h 7325547"/>
              <a:gd name="connsiteX4" fmla="*/ 95258 w 12911670"/>
              <a:gd name="connsiteY4" fmla="*/ 6858000 h 7325547"/>
              <a:gd name="connsiteX5" fmla="*/ 0 w 12911670"/>
              <a:gd name="connsiteY5" fmla="*/ 6762742 h 7325547"/>
              <a:gd name="connsiteX6" fmla="*/ 0 w 12911670"/>
              <a:gd name="connsiteY6" fmla="*/ 95258 h 7325547"/>
              <a:gd name="connsiteX0" fmla="*/ 0 w 13100634"/>
              <a:gd name="connsiteY0" fmla="*/ 95258 h 7365999"/>
              <a:gd name="connsiteX1" fmla="*/ 95258 w 13100634"/>
              <a:gd name="connsiteY1" fmla="*/ 0 h 7365999"/>
              <a:gd name="connsiteX2" fmla="*/ 12201525 w 13100634"/>
              <a:gd name="connsiteY2" fmla="*/ 8 h 7365999"/>
              <a:gd name="connsiteX3" fmla="*/ 12202311 w 13100634"/>
              <a:gd name="connsiteY3" fmla="*/ 6858000 h 7365999"/>
              <a:gd name="connsiteX4" fmla="*/ 95258 w 13100634"/>
              <a:gd name="connsiteY4" fmla="*/ 6858000 h 7365999"/>
              <a:gd name="connsiteX5" fmla="*/ 0 w 13100634"/>
              <a:gd name="connsiteY5" fmla="*/ 6762742 h 7365999"/>
              <a:gd name="connsiteX6" fmla="*/ 0 w 13100634"/>
              <a:gd name="connsiteY6" fmla="*/ 95258 h 7365999"/>
              <a:gd name="connsiteX0" fmla="*/ 0 w 12205175"/>
              <a:gd name="connsiteY0" fmla="*/ 95258 h 7365999"/>
              <a:gd name="connsiteX1" fmla="*/ 95258 w 12205175"/>
              <a:gd name="connsiteY1" fmla="*/ 0 h 7365999"/>
              <a:gd name="connsiteX2" fmla="*/ 12201525 w 12205175"/>
              <a:gd name="connsiteY2" fmla="*/ 8 h 7365999"/>
              <a:gd name="connsiteX3" fmla="*/ 12202311 w 12205175"/>
              <a:gd name="connsiteY3" fmla="*/ 6858000 h 7365999"/>
              <a:gd name="connsiteX4" fmla="*/ 95258 w 12205175"/>
              <a:gd name="connsiteY4" fmla="*/ 6858000 h 7365999"/>
              <a:gd name="connsiteX5" fmla="*/ 0 w 12205175"/>
              <a:gd name="connsiteY5" fmla="*/ 6762742 h 7365999"/>
              <a:gd name="connsiteX6" fmla="*/ 0 w 12205175"/>
              <a:gd name="connsiteY6" fmla="*/ 95258 h 7365999"/>
              <a:gd name="connsiteX0" fmla="*/ 0 w 12205175"/>
              <a:gd name="connsiteY0" fmla="*/ 95258 h 6858000"/>
              <a:gd name="connsiteX1" fmla="*/ 95258 w 12205175"/>
              <a:gd name="connsiteY1" fmla="*/ 0 h 6858000"/>
              <a:gd name="connsiteX2" fmla="*/ 12201525 w 12205175"/>
              <a:gd name="connsiteY2" fmla="*/ 8 h 6858000"/>
              <a:gd name="connsiteX3" fmla="*/ 12202311 w 12205175"/>
              <a:gd name="connsiteY3" fmla="*/ 6858000 h 6858000"/>
              <a:gd name="connsiteX4" fmla="*/ 95258 w 12205175"/>
              <a:gd name="connsiteY4" fmla="*/ 6858000 h 6858000"/>
              <a:gd name="connsiteX5" fmla="*/ 0 w 12205175"/>
              <a:gd name="connsiteY5" fmla="*/ 6762742 h 6858000"/>
              <a:gd name="connsiteX6" fmla="*/ 0 w 12205175"/>
              <a:gd name="connsiteY6" fmla="*/ 95258 h 6858000"/>
              <a:gd name="connsiteX0" fmla="*/ 0 w 12205175"/>
              <a:gd name="connsiteY0" fmla="*/ 95258 h 6858000"/>
              <a:gd name="connsiteX1" fmla="*/ 95258 w 12205175"/>
              <a:gd name="connsiteY1" fmla="*/ 0 h 6858000"/>
              <a:gd name="connsiteX2" fmla="*/ 12201525 w 12205175"/>
              <a:gd name="connsiteY2" fmla="*/ 8 h 6858000"/>
              <a:gd name="connsiteX3" fmla="*/ 12202311 w 12205175"/>
              <a:gd name="connsiteY3" fmla="*/ 6858000 h 6858000"/>
              <a:gd name="connsiteX4" fmla="*/ 95258 w 12205175"/>
              <a:gd name="connsiteY4" fmla="*/ 6858000 h 6858000"/>
              <a:gd name="connsiteX5" fmla="*/ 0 w 12205175"/>
              <a:gd name="connsiteY5" fmla="*/ 6762742 h 6858000"/>
              <a:gd name="connsiteX6" fmla="*/ 0 w 12205175"/>
              <a:gd name="connsiteY6" fmla="*/ 95258 h 6858000"/>
              <a:gd name="connsiteX0" fmla="*/ 0 w 12201542"/>
              <a:gd name="connsiteY0" fmla="*/ 95258 h 6858000"/>
              <a:gd name="connsiteX1" fmla="*/ 95258 w 12201542"/>
              <a:gd name="connsiteY1" fmla="*/ 0 h 6858000"/>
              <a:gd name="connsiteX2" fmla="*/ 12201525 w 12201542"/>
              <a:gd name="connsiteY2" fmla="*/ 8 h 6858000"/>
              <a:gd name="connsiteX3" fmla="*/ 9527477 w 12201542"/>
              <a:gd name="connsiteY3" fmla="*/ 6858000 h 6858000"/>
              <a:gd name="connsiteX4" fmla="*/ 95258 w 12201542"/>
              <a:gd name="connsiteY4" fmla="*/ 6858000 h 6858000"/>
              <a:gd name="connsiteX5" fmla="*/ 0 w 12201542"/>
              <a:gd name="connsiteY5" fmla="*/ 6762742 h 6858000"/>
              <a:gd name="connsiteX6" fmla="*/ 0 w 12201542"/>
              <a:gd name="connsiteY6" fmla="*/ 95258 h 6858000"/>
              <a:gd name="connsiteX0" fmla="*/ 0 w 9527477"/>
              <a:gd name="connsiteY0" fmla="*/ 103795 h 6866537"/>
              <a:gd name="connsiteX1" fmla="*/ 95258 w 9527477"/>
              <a:gd name="connsiteY1" fmla="*/ 8537 h 6866537"/>
              <a:gd name="connsiteX2" fmla="*/ 9518146 w 9527477"/>
              <a:gd name="connsiteY2" fmla="*/ 0 h 6866537"/>
              <a:gd name="connsiteX3" fmla="*/ 9527477 w 9527477"/>
              <a:gd name="connsiteY3" fmla="*/ 6866537 h 6866537"/>
              <a:gd name="connsiteX4" fmla="*/ 95258 w 9527477"/>
              <a:gd name="connsiteY4" fmla="*/ 6866537 h 6866537"/>
              <a:gd name="connsiteX5" fmla="*/ 0 w 9527477"/>
              <a:gd name="connsiteY5" fmla="*/ 6771279 h 6866537"/>
              <a:gd name="connsiteX6" fmla="*/ 0 w 9527477"/>
              <a:gd name="connsiteY6" fmla="*/ 103795 h 6866537"/>
              <a:gd name="connsiteX0" fmla="*/ 0 w 9527477"/>
              <a:gd name="connsiteY0" fmla="*/ 95258 h 6858000"/>
              <a:gd name="connsiteX1" fmla="*/ 95258 w 9527477"/>
              <a:gd name="connsiteY1" fmla="*/ 0 h 6858000"/>
              <a:gd name="connsiteX2" fmla="*/ 9236459 w 9527477"/>
              <a:gd name="connsiteY2" fmla="*/ 99804 h 6858000"/>
              <a:gd name="connsiteX3" fmla="*/ 9527477 w 9527477"/>
              <a:gd name="connsiteY3" fmla="*/ 6858000 h 6858000"/>
              <a:gd name="connsiteX4" fmla="*/ 95258 w 9527477"/>
              <a:gd name="connsiteY4" fmla="*/ 6858000 h 6858000"/>
              <a:gd name="connsiteX5" fmla="*/ 0 w 9527477"/>
              <a:gd name="connsiteY5" fmla="*/ 6762742 h 6858000"/>
              <a:gd name="connsiteX6" fmla="*/ 0 w 9527477"/>
              <a:gd name="connsiteY6" fmla="*/ 95258 h 6858000"/>
              <a:gd name="connsiteX0" fmla="*/ 0 w 9527477"/>
              <a:gd name="connsiteY0" fmla="*/ 95258 h 6858000"/>
              <a:gd name="connsiteX1" fmla="*/ 95258 w 9527477"/>
              <a:gd name="connsiteY1" fmla="*/ 0 h 6858000"/>
              <a:gd name="connsiteX2" fmla="*/ 9440140 w 9527477"/>
              <a:gd name="connsiteY2" fmla="*/ 39133 h 6858000"/>
              <a:gd name="connsiteX3" fmla="*/ 9527477 w 9527477"/>
              <a:gd name="connsiteY3" fmla="*/ 6858000 h 6858000"/>
              <a:gd name="connsiteX4" fmla="*/ 95258 w 9527477"/>
              <a:gd name="connsiteY4" fmla="*/ 6858000 h 6858000"/>
              <a:gd name="connsiteX5" fmla="*/ 0 w 9527477"/>
              <a:gd name="connsiteY5" fmla="*/ 6762742 h 6858000"/>
              <a:gd name="connsiteX6" fmla="*/ 0 w 9527477"/>
              <a:gd name="connsiteY6" fmla="*/ 95258 h 6858000"/>
              <a:gd name="connsiteX0" fmla="*/ 0 w 9527477"/>
              <a:gd name="connsiteY0" fmla="*/ 99461 h 6862203"/>
              <a:gd name="connsiteX1" fmla="*/ 95258 w 9527477"/>
              <a:gd name="connsiteY1" fmla="*/ 4203 h 6862203"/>
              <a:gd name="connsiteX2" fmla="*/ 9518146 w 9527477"/>
              <a:gd name="connsiteY2" fmla="*/ 0 h 6862203"/>
              <a:gd name="connsiteX3" fmla="*/ 9527477 w 9527477"/>
              <a:gd name="connsiteY3" fmla="*/ 6862203 h 6862203"/>
              <a:gd name="connsiteX4" fmla="*/ 95258 w 9527477"/>
              <a:gd name="connsiteY4" fmla="*/ 6862203 h 6862203"/>
              <a:gd name="connsiteX5" fmla="*/ 0 w 9527477"/>
              <a:gd name="connsiteY5" fmla="*/ 6766945 h 6862203"/>
              <a:gd name="connsiteX6" fmla="*/ 0 w 9527477"/>
              <a:gd name="connsiteY6" fmla="*/ 99461 h 6862203"/>
              <a:gd name="connsiteX0" fmla="*/ 0 w 9518600"/>
              <a:gd name="connsiteY0" fmla="*/ 99461 h 6862203"/>
              <a:gd name="connsiteX1" fmla="*/ 95258 w 9518600"/>
              <a:gd name="connsiteY1" fmla="*/ 4203 h 6862203"/>
              <a:gd name="connsiteX2" fmla="*/ 9518146 w 9518600"/>
              <a:gd name="connsiteY2" fmla="*/ 0 h 6862203"/>
              <a:gd name="connsiteX3" fmla="*/ 9427804 w 9518600"/>
              <a:gd name="connsiteY3" fmla="*/ 6862203 h 6862203"/>
              <a:gd name="connsiteX4" fmla="*/ 95258 w 9518600"/>
              <a:gd name="connsiteY4" fmla="*/ 6862203 h 6862203"/>
              <a:gd name="connsiteX5" fmla="*/ 0 w 9518600"/>
              <a:gd name="connsiteY5" fmla="*/ 6766945 h 6862203"/>
              <a:gd name="connsiteX6" fmla="*/ 0 w 9518600"/>
              <a:gd name="connsiteY6" fmla="*/ 99461 h 6862203"/>
              <a:gd name="connsiteX0" fmla="*/ 0 w 9521762"/>
              <a:gd name="connsiteY0" fmla="*/ 99461 h 6862203"/>
              <a:gd name="connsiteX1" fmla="*/ 95258 w 9521762"/>
              <a:gd name="connsiteY1" fmla="*/ 4203 h 6862203"/>
              <a:gd name="connsiteX2" fmla="*/ 9518146 w 9521762"/>
              <a:gd name="connsiteY2" fmla="*/ 0 h 6862203"/>
              <a:gd name="connsiteX3" fmla="*/ 9518810 w 9521762"/>
              <a:gd name="connsiteY3" fmla="*/ 6862203 h 6862203"/>
              <a:gd name="connsiteX4" fmla="*/ 95258 w 9521762"/>
              <a:gd name="connsiteY4" fmla="*/ 6862203 h 6862203"/>
              <a:gd name="connsiteX5" fmla="*/ 0 w 9521762"/>
              <a:gd name="connsiteY5" fmla="*/ 6766945 h 6862203"/>
              <a:gd name="connsiteX6" fmla="*/ 0 w 9521762"/>
              <a:gd name="connsiteY6" fmla="*/ 99461 h 6862203"/>
              <a:gd name="connsiteX0" fmla="*/ 0 w 9531950"/>
              <a:gd name="connsiteY0" fmla="*/ 199474 h 6962216"/>
              <a:gd name="connsiteX1" fmla="*/ 95258 w 9531950"/>
              <a:gd name="connsiteY1" fmla="*/ 104216 h 6962216"/>
              <a:gd name="connsiteX2" fmla="*/ 9530053 w 9531950"/>
              <a:gd name="connsiteY2" fmla="*/ 0 h 6962216"/>
              <a:gd name="connsiteX3" fmla="*/ 9518810 w 9531950"/>
              <a:gd name="connsiteY3" fmla="*/ 6962216 h 6962216"/>
              <a:gd name="connsiteX4" fmla="*/ 95258 w 9531950"/>
              <a:gd name="connsiteY4" fmla="*/ 6962216 h 6962216"/>
              <a:gd name="connsiteX5" fmla="*/ 0 w 9531950"/>
              <a:gd name="connsiteY5" fmla="*/ 6866958 h 6962216"/>
              <a:gd name="connsiteX6" fmla="*/ 0 w 9531950"/>
              <a:gd name="connsiteY6" fmla="*/ 199474 h 6962216"/>
              <a:gd name="connsiteX0" fmla="*/ 0 w 9518810"/>
              <a:gd name="connsiteY0" fmla="*/ 95258 h 6858000"/>
              <a:gd name="connsiteX1" fmla="*/ 95258 w 9518810"/>
              <a:gd name="connsiteY1" fmla="*/ 0 h 6858000"/>
              <a:gd name="connsiteX2" fmla="*/ 9470521 w 9518810"/>
              <a:gd name="connsiteY2" fmla="*/ 126766 h 6858000"/>
              <a:gd name="connsiteX3" fmla="*/ 9518810 w 9518810"/>
              <a:gd name="connsiteY3" fmla="*/ 6858000 h 6858000"/>
              <a:gd name="connsiteX4" fmla="*/ 95258 w 9518810"/>
              <a:gd name="connsiteY4" fmla="*/ 6858000 h 6858000"/>
              <a:gd name="connsiteX5" fmla="*/ 0 w 9518810"/>
              <a:gd name="connsiteY5" fmla="*/ 6762742 h 6858000"/>
              <a:gd name="connsiteX6" fmla="*/ 0 w 9518810"/>
              <a:gd name="connsiteY6" fmla="*/ 95258 h 6858000"/>
              <a:gd name="connsiteX0" fmla="*/ 0 w 9529768"/>
              <a:gd name="connsiteY0" fmla="*/ 97080 h 6859822"/>
              <a:gd name="connsiteX1" fmla="*/ 95258 w 9529768"/>
              <a:gd name="connsiteY1" fmla="*/ 1822 h 6859822"/>
              <a:gd name="connsiteX2" fmla="*/ 9527671 w 9529768"/>
              <a:gd name="connsiteY2" fmla="*/ 0 h 6859822"/>
              <a:gd name="connsiteX3" fmla="*/ 9518810 w 9529768"/>
              <a:gd name="connsiteY3" fmla="*/ 6859822 h 6859822"/>
              <a:gd name="connsiteX4" fmla="*/ 95258 w 9529768"/>
              <a:gd name="connsiteY4" fmla="*/ 6859822 h 6859822"/>
              <a:gd name="connsiteX5" fmla="*/ 0 w 9529768"/>
              <a:gd name="connsiteY5" fmla="*/ 6764564 h 6859822"/>
              <a:gd name="connsiteX6" fmla="*/ 0 w 9529768"/>
              <a:gd name="connsiteY6" fmla="*/ 97080 h 6859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9768" h="6859822">
                <a:moveTo>
                  <a:pt x="0" y="97080"/>
                </a:moveTo>
                <a:cubicBezTo>
                  <a:pt x="0" y="44470"/>
                  <a:pt x="42648" y="1822"/>
                  <a:pt x="95258" y="1822"/>
                </a:cubicBezTo>
                <a:lnTo>
                  <a:pt x="9527671" y="0"/>
                </a:lnTo>
                <a:cubicBezTo>
                  <a:pt x="9535612" y="2407049"/>
                  <a:pt x="9518417" y="3430826"/>
                  <a:pt x="9518810" y="6859822"/>
                </a:cubicBezTo>
                <a:lnTo>
                  <a:pt x="95258" y="6859822"/>
                </a:lnTo>
                <a:cubicBezTo>
                  <a:pt x="42648" y="6859822"/>
                  <a:pt x="0" y="6817174"/>
                  <a:pt x="0" y="6764564"/>
                </a:cubicBezTo>
                <a:lnTo>
                  <a:pt x="0" y="97080"/>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tel 1"/>
          <p:cNvSpPr>
            <a:spLocks noGrp="1"/>
          </p:cNvSpPr>
          <p:nvPr>
            <p:ph type="title"/>
          </p:nvPr>
        </p:nvSpPr>
        <p:spPr>
          <a:xfrm>
            <a:off x="2863515" y="-710349"/>
            <a:ext cx="8859071" cy="648000"/>
          </a:xfrm>
        </p:spPr>
        <p:txBody>
          <a:bodyPr anchor="b"/>
          <a:lstStyle>
            <a:lvl1pPr algn="r">
              <a:defRPr/>
            </a:lvl1pPr>
          </a:lstStyle>
          <a:p>
            <a:r>
              <a:rPr lang="nl-NL"/>
              <a:t>Klik om stijl te bewerken</a:t>
            </a:r>
            <a:endParaRPr lang="en-GB" dirty="0"/>
          </a:p>
        </p:txBody>
      </p:sp>
      <p:sp>
        <p:nvSpPr>
          <p:cNvPr id="10" name="Tekstvak 9"/>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Afbeelding (XXL)</a:t>
            </a:r>
          </a:p>
        </p:txBody>
      </p:sp>
      <p:grpSp>
        <p:nvGrpSpPr>
          <p:cNvPr id="49" name="Groep 48">
            <a:extLst>
              <a:ext uri="{FF2B5EF4-FFF2-40B4-BE49-F238E27FC236}">
                <a16:creationId xmlns:a16="http://schemas.microsoft.com/office/drawing/2014/main" id="{1CB86391-C3A1-48A9-83A9-CDA9762F1594}"/>
              </a:ext>
            </a:extLst>
          </p:cNvPr>
          <p:cNvGrpSpPr/>
          <p:nvPr userDrawn="1"/>
        </p:nvGrpSpPr>
        <p:grpSpPr>
          <a:xfrm>
            <a:off x="12363871" y="-26002"/>
            <a:ext cx="3064812" cy="4530930"/>
            <a:chOff x="15419739" y="-26002"/>
            <a:chExt cx="3064812" cy="4530930"/>
          </a:xfrm>
        </p:grpSpPr>
        <p:sp>
          <p:nvSpPr>
            <p:cNvPr id="50" name="Tekstvak 33">
              <a:extLst>
                <a:ext uri="{FF2B5EF4-FFF2-40B4-BE49-F238E27FC236}">
                  <a16:creationId xmlns:a16="http://schemas.microsoft.com/office/drawing/2014/main" id="{2ADCA6F7-250E-4B72-B0DE-999BA8D650E9}"/>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51" name="Tekstvak 33">
              <a:extLst>
                <a:ext uri="{FF2B5EF4-FFF2-40B4-BE49-F238E27FC236}">
                  <a16:creationId xmlns:a16="http://schemas.microsoft.com/office/drawing/2014/main" id="{3D453C5E-479D-4F1D-9BFA-30110A165968}"/>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52" name="Ovaal 51">
              <a:extLst>
                <a:ext uri="{FF2B5EF4-FFF2-40B4-BE49-F238E27FC236}">
                  <a16:creationId xmlns:a16="http://schemas.microsoft.com/office/drawing/2014/main" id="{59F34422-D145-4BF6-A5D7-5A45F15882CF}"/>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53" name="Ovaal 52">
              <a:extLst>
                <a:ext uri="{FF2B5EF4-FFF2-40B4-BE49-F238E27FC236}">
                  <a16:creationId xmlns:a16="http://schemas.microsoft.com/office/drawing/2014/main" id="{4ADA4B64-59B4-479B-9F6E-5DE33E2E0DCC}"/>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54" name="Picture 3">
              <a:extLst>
                <a:ext uri="{FF2B5EF4-FFF2-40B4-BE49-F238E27FC236}">
                  <a16:creationId xmlns:a16="http://schemas.microsoft.com/office/drawing/2014/main" id="{10A71998-BA22-4DB3-B07F-8262582350FC}"/>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55" name="Picture 3">
              <a:extLst>
                <a:ext uri="{FF2B5EF4-FFF2-40B4-BE49-F238E27FC236}">
                  <a16:creationId xmlns:a16="http://schemas.microsoft.com/office/drawing/2014/main" id="{1267A3F0-F5E6-42C8-8255-B54664104A90}"/>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56" name="Tekstvak 55">
              <a:extLst>
                <a:ext uri="{FF2B5EF4-FFF2-40B4-BE49-F238E27FC236}">
                  <a16:creationId xmlns:a16="http://schemas.microsoft.com/office/drawing/2014/main" id="{5D1F6466-7E88-4C40-A76B-97C83D60BF13}"/>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57" name="Rechthoek 56">
              <a:extLst>
                <a:ext uri="{FF2B5EF4-FFF2-40B4-BE49-F238E27FC236}">
                  <a16:creationId xmlns:a16="http://schemas.microsoft.com/office/drawing/2014/main" id="{10BCE57B-8314-47AB-A6BE-574598C816CC}"/>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58" name="Groep 57">
              <a:extLst>
                <a:ext uri="{FF2B5EF4-FFF2-40B4-BE49-F238E27FC236}">
                  <a16:creationId xmlns:a16="http://schemas.microsoft.com/office/drawing/2014/main" id="{BB7B2A28-7AEE-40D5-9733-8D3A2C919095}"/>
                </a:ext>
              </a:extLst>
            </p:cNvPr>
            <p:cNvGrpSpPr/>
            <p:nvPr userDrawn="1"/>
          </p:nvGrpSpPr>
          <p:grpSpPr>
            <a:xfrm>
              <a:off x="15563079" y="358984"/>
              <a:ext cx="2489424" cy="4145944"/>
              <a:chOff x="15563079" y="358984"/>
              <a:chExt cx="2315772" cy="4145944"/>
            </a:xfrm>
          </p:grpSpPr>
          <p:cxnSp>
            <p:nvCxnSpPr>
              <p:cNvPr id="60" name="Rechte verbindingslijn 59">
                <a:extLst>
                  <a:ext uri="{FF2B5EF4-FFF2-40B4-BE49-F238E27FC236}">
                    <a16:creationId xmlns:a16="http://schemas.microsoft.com/office/drawing/2014/main" id="{01932068-E8F3-44CA-AA82-2D843012EC09}"/>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86E371A4-53F6-4D69-A675-664419DD843B}"/>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03719C9B-17A2-4360-8F5A-F299E9B3973B}"/>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59" name="Afbeelding 58">
              <a:extLst>
                <a:ext uri="{FF2B5EF4-FFF2-40B4-BE49-F238E27FC236}">
                  <a16:creationId xmlns:a16="http://schemas.microsoft.com/office/drawing/2014/main" id="{10AA9EE2-B9F0-4E48-B247-7B2A80B4D54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pic>
        <p:nvPicPr>
          <p:cNvPr id="12" name="Afbeelding 11">
            <a:extLst>
              <a:ext uri="{FF2B5EF4-FFF2-40B4-BE49-F238E27FC236}">
                <a16:creationId xmlns:a16="http://schemas.microsoft.com/office/drawing/2014/main" id="{B4D2D389-F56E-47FE-9C6D-2A7B53EF501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892888" y="5274334"/>
            <a:ext cx="1778595" cy="578317"/>
          </a:xfrm>
          <a:prstGeom prst="rect">
            <a:avLst/>
          </a:prstGeom>
        </p:spPr>
      </p:pic>
      <p:pic>
        <p:nvPicPr>
          <p:cNvPr id="14" name="Afbeelding 13">
            <a:extLst>
              <a:ext uri="{FF2B5EF4-FFF2-40B4-BE49-F238E27FC236}">
                <a16:creationId xmlns:a16="http://schemas.microsoft.com/office/drawing/2014/main" id="{3FC69205-9594-477F-BFFF-D9C3D9F4F27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34467" y="6147270"/>
            <a:ext cx="1778599" cy="578317"/>
          </a:xfrm>
          <a:prstGeom prst="rect">
            <a:avLst/>
          </a:prstGeom>
        </p:spPr>
      </p:pic>
      <p:pic>
        <p:nvPicPr>
          <p:cNvPr id="16" name="Afbeelding 15">
            <a:extLst>
              <a:ext uri="{FF2B5EF4-FFF2-40B4-BE49-F238E27FC236}">
                <a16:creationId xmlns:a16="http://schemas.microsoft.com/office/drawing/2014/main" id="{3CD5E66E-7135-4756-8E3E-FF84E48FD52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936848" y="3363418"/>
            <a:ext cx="1778595" cy="578316"/>
          </a:xfrm>
          <a:prstGeom prst="rect">
            <a:avLst/>
          </a:prstGeom>
        </p:spPr>
      </p:pic>
      <p:pic>
        <p:nvPicPr>
          <p:cNvPr id="9" name="Afbeelding 8">
            <a:extLst>
              <a:ext uri="{FF2B5EF4-FFF2-40B4-BE49-F238E27FC236}">
                <a16:creationId xmlns:a16="http://schemas.microsoft.com/office/drawing/2014/main" id="{221A9D0A-4E28-46E7-9C8A-15FF9CFEACE8}"/>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934467" y="4697933"/>
            <a:ext cx="1778595" cy="578316"/>
          </a:xfrm>
          <a:prstGeom prst="rect">
            <a:avLst/>
          </a:prstGeom>
        </p:spPr>
      </p:pic>
      <p:sp>
        <p:nvSpPr>
          <p:cNvPr id="7" name="Rechthoek 6">
            <a:extLst>
              <a:ext uri="{FF2B5EF4-FFF2-40B4-BE49-F238E27FC236}">
                <a16:creationId xmlns:a16="http://schemas.microsoft.com/office/drawing/2014/main" id="{96572EB2-87AA-47A6-9156-C3275FEA7BBC}"/>
              </a:ext>
            </a:extLst>
          </p:cNvPr>
          <p:cNvSpPr/>
          <p:nvPr userDrawn="1"/>
        </p:nvSpPr>
        <p:spPr>
          <a:xfrm>
            <a:off x="9520032" y="0"/>
            <a:ext cx="2675143" cy="5986830"/>
          </a:xfrm>
          <a:custGeom>
            <a:avLst/>
            <a:gdLst>
              <a:gd name="connsiteX0" fmla="*/ 0 w 2674951"/>
              <a:gd name="connsiteY0" fmla="*/ 0 h 5986829"/>
              <a:gd name="connsiteX1" fmla="*/ 2674951 w 2674951"/>
              <a:gd name="connsiteY1" fmla="*/ 0 h 5986829"/>
              <a:gd name="connsiteX2" fmla="*/ 2674951 w 2674951"/>
              <a:gd name="connsiteY2" fmla="*/ 5986829 h 5986829"/>
              <a:gd name="connsiteX3" fmla="*/ 0 w 2674951"/>
              <a:gd name="connsiteY3" fmla="*/ 5986829 h 5986829"/>
              <a:gd name="connsiteX4" fmla="*/ 0 w 2674951"/>
              <a:gd name="connsiteY4" fmla="*/ 0 h 5986829"/>
              <a:gd name="connsiteX0" fmla="*/ 0 w 2676539"/>
              <a:gd name="connsiteY0" fmla="*/ 0 h 5986829"/>
              <a:gd name="connsiteX1" fmla="*/ 2674951 w 2676539"/>
              <a:gd name="connsiteY1" fmla="*/ 0 h 5986829"/>
              <a:gd name="connsiteX2" fmla="*/ 2676539 w 2676539"/>
              <a:gd name="connsiteY2" fmla="*/ 33096 h 5986829"/>
              <a:gd name="connsiteX3" fmla="*/ 2674951 w 2676539"/>
              <a:gd name="connsiteY3" fmla="*/ 5986829 h 5986829"/>
              <a:gd name="connsiteX4" fmla="*/ 0 w 2676539"/>
              <a:gd name="connsiteY4" fmla="*/ 5986829 h 5986829"/>
              <a:gd name="connsiteX5" fmla="*/ 0 w 2676539"/>
              <a:gd name="connsiteY5" fmla="*/ 0 h 5986829"/>
              <a:gd name="connsiteX0" fmla="*/ 0 w 2676539"/>
              <a:gd name="connsiteY0" fmla="*/ 242 h 5987071"/>
              <a:gd name="connsiteX1" fmla="*/ 2640820 w 2676539"/>
              <a:gd name="connsiteY1" fmla="*/ 0 h 5987071"/>
              <a:gd name="connsiteX2" fmla="*/ 2674951 w 2676539"/>
              <a:gd name="connsiteY2" fmla="*/ 242 h 5987071"/>
              <a:gd name="connsiteX3" fmla="*/ 2676539 w 2676539"/>
              <a:gd name="connsiteY3" fmla="*/ 33338 h 5987071"/>
              <a:gd name="connsiteX4" fmla="*/ 2674951 w 2676539"/>
              <a:gd name="connsiteY4" fmla="*/ 5987071 h 5987071"/>
              <a:gd name="connsiteX5" fmla="*/ 0 w 2676539"/>
              <a:gd name="connsiteY5" fmla="*/ 5987071 h 5987071"/>
              <a:gd name="connsiteX6" fmla="*/ 0 w 2676539"/>
              <a:gd name="connsiteY6" fmla="*/ 242 h 5987071"/>
              <a:gd name="connsiteX0" fmla="*/ 0 w 2676539"/>
              <a:gd name="connsiteY0" fmla="*/ 242 h 5987071"/>
              <a:gd name="connsiteX1" fmla="*/ 2640820 w 2676539"/>
              <a:gd name="connsiteY1" fmla="*/ 0 h 5987071"/>
              <a:gd name="connsiteX2" fmla="*/ 2676539 w 2676539"/>
              <a:gd name="connsiteY2" fmla="*/ 33338 h 5987071"/>
              <a:gd name="connsiteX3" fmla="*/ 2674951 w 2676539"/>
              <a:gd name="connsiteY3" fmla="*/ 5987071 h 5987071"/>
              <a:gd name="connsiteX4" fmla="*/ 0 w 2676539"/>
              <a:gd name="connsiteY4" fmla="*/ 5987071 h 5987071"/>
              <a:gd name="connsiteX5" fmla="*/ 0 w 2676539"/>
              <a:gd name="connsiteY5" fmla="*/ 242 h 5987071"/>
              <a:gd name="connsiteX0" fmla="*/ 0 w 2847421"/>
              <a:gd name="connsiteY0" fmla="*/ 444778 h 6431607"/>
              <a:gd name="connsiteX1" fmla="*/ 2640820 w 2847421"/>
              <a:gd name="connsiteY1" fmla="*/ 444536 h 6431607"/>
              <a:gd name="connsiteX2" fmla="*/ 2676539 w 2847421"/>
              <a:gd name="connsiteY2" fmla="*/ 477874 h 6431607"/>
              <a:gd name="connsiteX3" fmla="*/ 2674951 w 2847421"/>
              <a:gd name="connsiteY3" fmla="*/ 6431607 h 6431607"/>
              <a:gd name="connsiteX4" fmla="*/ 0 w 2847421"/>
              <a:gd name="connsiteY4" fmla="*/ 6431607 h 6431607"/>
              <a:gd name="connsiteX5" fmla="*/ 0 w 2847421"/>
              <a:gd name="connsiteY5" fmla="*/ 444778 h 6431607"/>
              <a:gd name="connsiteX0" fmla="*/ 0 w 2847421"/>
              <a:gd name="connsiteY0" fmla="*/ 444778 h 6431607"/>
              <a:gd name="connsiteX1" fmla="*/ 2640820 w 2847421"/>
              <a:gd name="connsiteY1" fmla="*/ 444536 h 6431607"/>
              <a:gd name="connsiteX2" fmla="*/ 2676539 w 2847421"/>
              <a:gd name="connsiteY2" fmla="*/ 477874 h 6431607"/>
              <a:gd name="connsiteX3" fmla="*/ 2674951 w 2847421"/>
              <a:gd name="connsiteY3" fmla="*/ 6431607 h 6431607"/>
              <a:gd name="connsiteX4" fmla="*/ 0 w 2847421"/>
              <a:gd name="connsiteY4" fmla="*/ 6431607 h 6431607"/>
              <a:gd name="connsiteX5" fmla="*/ 0 w 2847421"/>
              <a:gd name="connsiteY5" fmla="*/ 444778 h 6431607"/>
              <a:gd name="connsiteX0" fmla="*/ 0 w 2847421"/>
              <a:gd name="connsiteY0" fmla="*/ 441603 h 6428432"/>
              <a:gd name="connsiteX1" fmla="*/ 2640820 w 2847421"/>
              <a:gd name="connsiteY1" fmla="*/ 441361 h 6428432"/>
              <a:gd name="connsiteX2" fmla="*/ 2676539 w 2847421"/>
              <a:gd name="connsiteY2" fmla="*/ 474699 h 6428432"/>
              <a:gd name="connsiteX3" fmla="*/ 2674951 w 2847421"/>
              <a:gd name="connsiteY3" fmla="*/ 6428432 h 6428432"/>
              <a:gd name="connsiteX4" fmla="*/ 0 w 2847421"/>
              <a:gd name="connsiteY4" fmla="*/ 6428432 h 6428432"/>
              <a:gd name="connsiteX5" fmla="*/ 0 w 2847421"/>
              <a:gd name="connsiteY5" fmla="*/ 441603 h 6428432"/>
              <a:gd name="connsiteX0" fmla="*/ 0 w 2847421"/>
              <a:gd name="connsiteY0" fmla="*/ 441603 h 6428432"/>
              <a:gd name="connsiteX1" fmla="*/ 2640820 w 2847421"/>
              <a:gd name="connsiteY1" fmla="*/ 441361 h 6428432"/>
              <a:gd name="connsiteX2" fmla="*/ 2676539 w 2847421"/>
              <a:gd name="connsiteY2" fmla="*/ 474699 h 6428432"/>
              <a:gd name="connsiteX3" fmla="*/ 2674951 w 2847421"/>
              <a:gd name="connsiteY3" fmla="*/ 6428432 h 6428432"/>
              <a:gd name="connsiteX4" fmla="*/ 0 w 2847421"/>
              <a:gd name="connsiteY4" fmla="*/ 6428432 h 6428432"/>
              <a:gd name="connsiteX5" fmla="*/ 0 w 2847421"/>
              <a:gd name="connsiteY5" fmla="*/ 441603 h 6428432"/>
              <a:gd name="connsiteX0" fmla="*/ 0 w 2847421"/>
              <a:gd name="connsiteY0" fmla="*/ 441603 h 6428432"/>
              <a:gd name="connsiteX1" fmla="*/ 2640820 w 2847421"/>
              <a:gd name="connsiteY1" fmla="*/ 441361 h 6428432"/>
              <a:gd name="connsiteX2" fmla="*/ 2676539 w 2847421"/>
              <a:gd name="connsiteY2" fmla="*/ 474699 h 6428432"/>
              <a:gd name="connsiteX3" fmla="*/ 2674951 w 2847421"/>
              <a:gd name="connsiteY3" fmla="*/ 6428432 h 6428432"/>
              <a:gd name="connsiteX4" fmla="*/ 0 w 2847421"/>
              <a:gd name="connsiteY4" fmla="*/ 6428432 h 6428432"/>
              <a:gd name="connsiteX5" fmla="*/ 0 w 2847421"/>
              <a:gd name="connsiteY5" fmla="*/ 441603 h 6428432"/>
              <a:gd name="connsiteX0" fmla="*/ 0 w 2847421"/>
              <a:gd name="connsiteY0" fmla="*/ 441603 h 6428432"/>
              <a:gd name="connsiteX1" fmla="*/ 2640820 w 2847421"/>
              <a:gd name="connsiteY1" fmla="*/ 441361 h 6428432"/>
              <a:gd name="connsiteX2" fmla="*/ 2676539 w 2847421"/>
              <a:gd name="connsiteY2" fmla="*/ 474699 h 6428432"/>
              <a:gd name="connsiteX3" fmla="*/ 2674951 w 2847421"/>
              <a:gd name="connsiteY3" fmla="*/ 6428432 h 6428432"/>
              <a:gd name="connsiteX4" fmla="*/ 0 w 2847421"/>
              <a:gd name="connsiteY4" fmla="*/ 6428432 h 6428432"/>
              <a:gd name="connsiteX5" fmla="*/ 0 w 2847421"/>
              <a:gd name="connsiteY5" fmla="*/ 441603 h 6428432"/>
              <a:gd name="connsiteX0" fmla="*/ 0 w 2847421"/>
              <a:gd name="connsiteY0" fmla="*/ 417937 h 6404766"/>
              <a:gd name="connsiteX1" fmla="*/ 2640820 w 2847421"/>
              <a:gd name="connsiteY1" fmla="*/ 417695 h 6404766"/>
              <a:gd name="connsiteX2" fmla="*/ 2676539 w 2847421"/>
              <a:gd name="connsiteY2" fmla="*/ 451033 h 6404766"/>
              <a:gd name="connsiteX3" fmla="*/ 2674951 w 2847421"/>
              <a:gd name="connsiteY3" fmla="*/ 6404766 h 6404766"/>
              <a:gd name="connsiteX4" fmla="*/ 0 w 2847421"/>
              <a:gd name="connsiteY4" fmla="*/ 6404766 h 6404766"/>
              <a:gd name="connsiteX5" fmla="*/ 0 w 2847421"/>
              <a:gd name="connsiteY5" fmla="*/ 417937 h 6404766"/>
              <a:gd name="connsiteX0" fmla="*/ 0 w 2676539"/>
              <a:gd name="connsiteY0" fmla="*/ 419028 h 6405857"/>
              <a:gd name="connsiteX1" fmla="*/ 2640820 w 2676539"/>
              <a:gd name="connsiteY1" fmla="*/ 418786 h 6405857"/>
              <a:gd name="connsiteX2" fmla="*/ 2676539 w 2676539"/>
              <a:gd name="connsiteY2" fmla="*/ 452124 h 6405857"/>
              <a:gd name="connsiteX3" fmla="*/ 2674951 w 2676539"/>
              <a:gd name="connsiteY3" fmla="*/ 6405857 h 6405857"/>
              <a:gd name="connsiteX4" fmla="*/ 0 w 2676539"/>
              <a:gd name="connsiteY4" fmla="*/ 6405857 h 6405857"/>
              <a:gd name="connsiteX5" fmla="*/ 0 w 2676539"/>
              <a:gd name="connsiteY5" fmla="*/ 419028 h 6405857"/>
              <a:gd name="connsiteX0" fmla="*/ 0 w 2847421"/>
              <a:gd name="connsiteY0" fmla="*/ 417937 h 6404766"/>
              <a:gd name="connsiteX1" fmla="*/ 2640820 w 2847421"/>
              <a:gd name="connsiteY1" fmla="*/ 417695 h 6404766"/>
              <a:gd name="connsiteX2" fmla="*/ 2676539 w 2847421"/>
              <a:gd name="connsiteY2" fmla="*/ 451033 h 6404766"/>
              <a:gd name="connsiteX3" fmla="*/ 2674951 w 2847421"/>
              <a:gd name="connsiteY3" fmla="*/ 6404766 h 6404766"/>
              <a:gd name="connsiteX4" fmla="*/ 0 w 2847421"/>
              <a:gd name="connsiteY4" fmla="*/ 6404766 h 6404766"/>
              <a:gd name="connsiteX5" fmla="*/ 0 w 2847421"/>
              <a:gd name="connsiteY5" fmla="*/ 417937 h 6404766"/>
              <a:gd name="connsiteX0" fmla="*/ 0 w 2849713"/>
              <a:gd name="connsiteY0" fmla="*/ 242 h 5987071"/>
              <a:gd name="connsiteX1" fmla="*/ 2640820 w 2849713"/>
              <a:gd name="connsiteY1" fmla="*/ 0 h 5987071"/>
              <a:gd name="connsiteX2" fmla="*/ 2676539 w 2849713"/>
              <a:gd name="connsiteY2" fmla="*/ 33338 h 5987071"/>
              <a:gd name="connsiteX3" fmla="*/ 2674951 w 2849713"/>
              <a:gd name="connsiteY3" fmla="*/ 5987071 h 5987071"/>
              <a:gd name="connsiteX4" fmla="*/ 0 w 2849713"/>
              <a:gd name="connsiteY4" fmla="*/ 5987071 h 5987071"/>
              <a:gd name="connsiteX5" fmla="*/ 0 w 2849713"/>
              <a:gd name="connsiteY5" fmla="*/ 242 h 5987071"/>
              <a:gd name="connsiteX0" fmla="*/ 0 w 2677073"/>
              <a:gd name="connsiteY0" fmla="*/ 242 h 5987071"/>
              <a:gd name="connsiteX1" fmla="*/ 2640820 w 2677073"/>
              <a:gd name="connsiteY1" fmla="*/ 0 h 5987071"/>
              <a:gd name="connsiteX2" fmla="*/ 2676539 w 2677073"/>
              <a:gd name="connsiteY2" fmla="*/ 33338 h 5987071"/>
              <a:gd name="connsiteX3" fmla="*/ 2674951 w 2677073"/>
              <a:gd name="connsiteY3" fmla="*/ 5987071 h 5987071"/>
              <a:gd name="connsiteX4" fmla="*/ 0 w 2677073"/>
              <a:gd name="connsiteY4" fmla="*/ 5987071 h 5987071"/>
              <a:gd name="connsiteX5" fmla="*/ 0 w 2677073"/>
              <a:gd name="connsiteY5" fmla="*/ 242 h 5987071"/>
              <a:gd name="connsiteX0" fmla="*/ 0 w 2676539"/>
              <a:gd name="connsiteY0" fmla="*/ 242 h 5987071"/>
              <a:gd name="connsiteX1" fmla="*/ 2640820 w 2676539"/>
              <a:gd name="connsiteY1" fmla="*/ 0 h 5987071"/>
              <a:gd name="connsiteX2" fmla="*/ 2676539 w 2676539"/>
              <a:gd name="connsiteY2" fmla="*/ 33338 h 5987071"/>
              <a:gd name="connsiteX3" fmla="*/ 2674951 w 2676539"/>
              <a:gd name="connsiteY3" fmla="*/ 5987071 h 5987071"/>
              <a:gd name="connsiteX4" fmla="*/ 0 w 2676539"/>
              <a:gd name="connsiteY4" fmla="*/ 5987071 h 5987071"/>
              <a:gd name="connsiteX5" fmla="*/ 0 w 2676539"/>
              <a:gd name="connsiteY5" fmla="*/ 242 h 5987071"/>
              <a:gd name="connsiteX0" fmla="*/ 0 w 2676539"/>
              <a:gd name="connsiteY0" fmla="*/ 242 h 5987071"/>
              <a:gd name="connsiteX1" fmla="*/ 2640820 w 2676539"/>
              <a:gd name="connsiteY1" fmla="*/ 0 h 5987071"/>
              <a:gd name="connsiteX2" fmla="*/ 2676539 w 2676539"/>
              <a:gd name="connsiteY2" fmla="*/ 33338 h 5987071"/>
              <a:gd name="connsiteX3" fmla="*/ 2674951 w 2676539"/>
              <a:gd name="connsiteY3" fmla="*/ 5987071 h 5987071"/>
              <a:gd name="connsiteX4" fmla="*/ 0 w 2676539"/>
              <a:gd name="connsiteY4" fmla="*/ 5987071 h 5987071"/>
              <a:gd name="connsiteX5" fmla="*/ 0 w 2676539"/>
              <a:gd name="connsiteY5" fmla="*/ 242 h 5987071"/>
              <a:gd name="connsiteX0" fmla="*/ 0 w 2676539"/>
              <a:gd name="connsiteY0" fmla="*/ 242 h 5987071"/>
              <a:gd name="connsiteX1" fmla="*/ 2633676 w 2676539"/>
              <a:gd name="connsiteY1" fmla="*/ 0 h 5987071"/>
              <a:gd name="connsiteX2" fmla="*/ 2676539 w 2676539"/>
              <a:gd name="connsiteY2" fmla="*/ 33338 h 5987071"/>
              <a:gd name="connsiteX3" fmla="*/ 2674951 w 2676539"/>
              <a:gd name="connsiteY3" fmla="*/ 5987071 h 5987071"/>
              <a:gd name="connsiteX4" fmla="*/ 0 w 2676539"/>
              <a:gd name="connsiteY4" fmla="*/ 5987071 h 5987071"/>
              <a:gd name="connsiteX5" fmla="*/ 0 w 2676539"/>
              <a:gd name="connsiteY5" fmla="*/ 242 h 5987071"/>
              <a:gd name="connsiteX0" fmla="*/ 0 w 2843351"/>
              <a:gd name="connsiteY0" fmla="*/ 242 h 5987071"/>
              <a:gd name="connsiteX1" fmla="*/ 2633676 w 2843351"/>
              <a:gd name="connsiteY1" fmla="*/ 0 h 5987071"/>
              <a:gd name="connsiteX2" fmla="*/ 2676539 w 2843351"/>
              <a:gd name="connsiteY2" fmla="*/ 54770 h 5987071"/>
              <a:gd name="connsiteX3" fmla="*/ 2674951 w 2843351"/>
              <a:gd name="connsiteY3" fmla="*/ 5987071 h 5987071"/>
              <a:gd name="connsiteX4" fmla="*/ 0 w 2843351"/>
              <a:gd name="connsiteY4" fmla="*/ 5987071 h 5987071"/>
              <a:gd name="connsiteX5" fmla="*/ 0 w 2843351"/>
              <a:gd name="connsiteY5" fmla="*/ 242 h 5987071"/>
              <a:gd name="connsiteX0" fmla="*/ 0 w 2676539"/>
              <a:gd name="connsiteY0" fmla="*/ 242 h 5987071"/>
              <a:gd name="connsiteX1" fmla="*/ 2633676 w 2676539"/>
              <a:gd name="connsiteY1" fmla="*/ 0 h 5987071"/>
              <a:gd name="connsiteX2" fmla="*/ 2676539 w 2676539"/>
              <a:gd name="connsiteY2" fmla="*/ 54770 h 5987071"/>
              <a:gd name="connsiteX3" fmla="*/ 2674951 w 2676539"/>
              <a:gd name="connsiteY3" fmla="*/ 5987071 h 5987071"/>
              <a:gd name="connsiteX4" fmla="*/ 0 w 2676539"/>
              <a:gd name="connsiteY4" fmla="*/ 5987071 h 5987071"/>
              <a:gd name="connsiteX5" fmla="*/ 0 w 2676539"/>
              <a:gd name="connsiteY5" fmla="*/ 242 h 5987071"/>
              <a:gd name="connsiteX0" fmla="*/ 0 w 2676539"/>
              <a:gd name="connsiteY0" fmla="*/ 242 h 5987071"/>
              <a:gd name="connsiteX1" fmla="*/ 2633676 w 2676539"/>
              <a:gd name="connsiteY1" fmla="*/ 0 h 5987071"/>
              <a:gd name="connsiteX2" fmla="*/ 2676539 w 2676539"/>
              <a:gd name="connsiteY2" fmla="*/ 54770 h 5987071"/>
              <a:gd name="connsiteX3" fmla="*/ 2674951 w 2676539"/>
              <a:gd name="connsiteY3" fmla="*/ 5987071 h 5987071"/>
              <a:gd name="connsiteX4" fmla="*/ 0 w 2676539"/>
              <a:gd name="connsiteY4" fmla="*/ 5987071 h 5987071"/>
              <a:gd name="connsiteX5" fmla="*/ 0 w 2676539"/>
              <a:gd name="connsiteY5" fmla="*/ 242 h 5987071"/>
              <a:gd name="connsiteX0" fmla="*/ 0 w 2676569"/>
              <a:gd name="connsiteY0" fmla="*/ 242 h 5987071"/>
              <a:gd name="connsiteX1" fmla="*/ 2633676 w 2676569"/>
              <a:gd name="connsiteY1" fmla="*/ 0 h 5987071"/>
              <a:gd name="connsiteX2" fmla="*/ 2676539 w 2676569"/>
              <a:gd name="connsiteY2" fmla="*/ 54770 h 5987071"/>
              <a:gd name="connsiteX3" fmla="*/ 2674951 w 2676569"/>
              <a:gd name="connsiteY3" fmla="*/ 5987071 h 5987071"/>
              <a:gd name="connsiteX4" fmla="*/ 0 w 2676569"/>
              <a:gd name="connsiteY4" fmla="*/ 5987071 h 5987071"/>
              <a:gd name="connsiteX5" fmla="*/ 0 w 2676569"/>
              <a:gd name="connsiteY5" fmla="*/ 242 h 5987071"/>
              <a:gd name="connsiteX0" fmla="*/ 0 w 2679329"/>
              <a:gd name="connsiteY0" fmla="*/ 397251 h 6384080"/>
              <a:gd name="connsiteX1" fmla="*/ 2633676 w 2679329"/>
              <a:gd name="connsiteY1" fmla="*/ 397009 h 6384080"/>
              <a:gd name="connsiteX2" fmla="*/ 2676539 w 2679329"/>
              <a:gd name="connsiteY2" fmla="*/ 451779 h 6384080"/>
              <a:gd name="connsiteX3" fmla="*/ 2674951 w 2679329"/>
              <a:gd name="connsiteY3" fmla="*/ 6384080 h 6384080"/>
              <a:gd name="connsiteX4" fmla="*/ 0 w 2679329"/>
              <a:gd name="connsiteY4" fmla="*/ 6384080 h 6384080"/>
              <a:gd name="connsiteX5" fmla="*/ 0 w 2679329"/>
              <a:gd name="connsiteY5" fmla="*/ 397251 h 6384080"/>
              <a:gd name="connsiteX0" fmla="*/ 0 w 2679329"/>
              <a:gd name="connsiteY0" fmla="*/ 403897 h 6390726"/>
              <a:gd name="connsiteX1" fmla="*/ 2633676 w 2679329"/>
              <a:gd name="connsiteY1" fmla="*/ 403655 h 6390726"/>
              <a:gd name="connsiteX2" fmla="*/ 2676539 w 2679329"/>
              <a:gd name="connsiteY2" fmla="*/ 458425 h 6390726"/>
              <a:gd name="connsiteX3" fmla="*/ 2674951 w 2679329"/>
              <a:gd name="connsiteY3" fmla="*/ 6390726 h 6390726"/>
              <a:gd name="connsiteX4" fmla="*/ 0 w 2679329"/>
              <a:gd name="connsiteY4" fmla="*/ 6390726 h 6390726"/>
              <a:gd name="connsiteX5" fmla="*/ 0 w 2679329"/>
              <a:gd name="connsiteY5" fmla="*/ 403897 h 6390726"/>
              <a:gd name="connsiteX0" fmla="*/ 0 w 2842019"/>
              <a:gd name="connsiteY0" fmla="*/ 401491 h 6388320"/>
              <a:gd name="connsiteX1" fmla="*/ 2633676 w 2842019"/>
              <a:gd name="connsiteY1" fmla="*/ 401249 h 6388320"/>
              <a:gd name="connsiteX2" fmla="*/ 2676539 w 2842019"/>
              <a:gd name="connsiteY2" fmla="*/ 456019 h 6388320"/>
              <a:gd name="connsiteX3" fmla="*/ 2674951 w 2842019"/>
              <a:gd name="connsiteY3" fmla="*/ 6388320 h 6388320"/>
              <a:gd name="connsiteX4" fmla="*/ 0 w 2842019"/>
              <a:gd name="connsiteY4" fmla="*/ 6388320 h 6388320"/>
              <a:gd name="connsiteX5" fmla="*/ 0 w 2842019"/>
              <a:gd name="connsiteY5" fmla="*/ 401491 h 6388320"/>
              <a:gd name="connsiteX0" fmla="*/ 0 w 2843760"/>
              <a:gd name="connsiteY0" fmla="*/ 242 h 5987071"/>
              <a:gd name="connsiteX1" fmla="*/ 2633676 w 2843760"/>
              <a:gd name="connsiteY1" fmla="*/ 0 h 5987071"/>
              <a:gd name="connsiteX2" fmla="*/ 2676539 w 2843760"/>
              <a:gd name="connsiteY2" fmla="*/ 54770 h 5987071"/>
              <a:gd name="connsiteX3" fmla="*/ 2674951 w 2843760"/>
              <a:gd name="connsiteY3" fmla="*/ 5987071 h 5987071"/>
              <a:gd name="connsiteX4" fmla="*/ 0 w 2843760"/>
              <a:gd name="connsiteY4" fmla="*/ 5987071 h 5987071"/>
              <a:gd name="connsiteX5" fmla="*/ 0 w 2843760"/>
              <a:gd name="connsiteY5" fmla="*/ 242 h 5987071"/>
              <a:gd name="connsiteX0" fmla="*/ 0 w 2676543"/>
              <a:gd name="connsiteY0" fmla="*/ 242 h 5987071"/>
              <a:gd name="connsiteX1" fmla="*/ 2633676 w 2676543"/>
              <a:gd name="connsiteY1" fmla="*/ 0 h 5987071"/>
              <a:gd name="connsiteX2" fmla="*/ 2676539 w 2676543"/>
              <a:gd name="connsiteY2" fmla="*/ 54770 h 5987071"/>
              <a:gd name="connsiteX3" fmla="*/ 2674951 w 2676543"/>
              <a:gd name="connsiteY3" fmla="*/ 5987071 h 5987071"/>
              <a:gd name="connsiteX4" fmla="*/ 0 w 2676543"/>
              <a:gd name="connsiteY4" fmla="*/ 5987071 h 5987071"/>
              <a:gd name="connsiteX5" fmla="*/ 0 w 2676543"/>
              <a:gd name="connsiteY5" fmla="*/ 242 h 5987071"/>
              <a:gd name="connsiteX0" fmla="*/ 0 w 2681396"/>
              <a:gd name="connsiteY0" fmla="*/ 403161 h 6389990"/>
              <a:gd name="connsiteX1" fmla="*/ 2605627 w 2681396"/>
              <a:gd name="connsiteY1" fmla="*/ 402919 h 6389990"/>
              <a:gd name="connsiteX2" fmla="*/ 2676539 w 2681396"/>
              <a:gd name="connsiteY2" fmla="*/ 457689 h 6389990"/>
              <a:gd name="connsiteX3" fmla="*/ 2674951 w 2681396"/>
              <a:gd name="connsiteY3" fmla="*/ 6389990 h 6389990"/>
              <a:gd name="connsiteX4" fmla="*/ 0 w 2681396"/>
              <a:gd name="connsiteY4" fmla="*/ 6389990 h 6389990"/>
              <a:gd name="connsiteX5" fmla="*/ 0 w 2681396"/>
              <a:gd name="connsiteY5" fmla="*/ 403161 h 6389990"/>
              <a:gd name="connsiteX0" fmla="*/ 0 w 2818993"/>
              <a:gd name="connsiteY0" fmla="*/ 369538 h 6356367"/>
              <a:gd name="connsiteX1" fmla="*/ 2605627 w 2818993"/>
              <a:gd name="connsiteY1" fmla="*/ 369296 h 6356367"/>
              <a:gd name="connsiteX2" fmla="*/ 2670929 w 2818993"/>
              <a:gd name="connsiteY2" fmla="*/ 466142 h 6356367"/>
              <a:gd name="connsiteX3" fmla="*/ 2674951 w 2818993"/>
              <a:gd name="connsiteY3" fmla="*/ 6356367 h 6356367"/>
              <a:gd name="connsiteX4" fmla="*/ 0 w 2818993"/>
              <a:gd name="connsiteY4" fmla="*/ 6356367 h 6356367"/>
              <a:gd name="connsiteX5" fmla="*/ 0 w 2818993"/>
              <a:gd name="connsiteY5" fmla="*/ 369538 h 6356367"/>
              <a:gd name="connsiteX0" fmla="*/ 0 w 2819705"/>
              <a:gd name="connsiteY0" fmla="*/ 369538 h 6356367"/>
              <a:gd name="connsiteX1" fmla="*/ 2605627 w 2819705"/>
              <a:gd name="connsiteY1" fmla="*/ 369296 h 6356367"/>
              <a:gd name="connsiteX2" fmla="*/ 2670929 w 2819705"/>
              <a:gd name="connsiteY2" fmla="*/ 466142 h 6356367"/>
              <a:gd name="connsiteX3" fmla="*/ 2674951 w 2819705"/>
              <a:gd name="connsiteY3" fmla="*/ 6356367 h 6356367"/>
              <a:gd name="connsiteX4" fmla="*/ 0 w 2819705"/>
              <a:gd name="connsiteY4" fmla="*/ 6356367 h 6356367"/>
              <a:gd name="connsiteX5" fmla="*/ 0 w 2819705"/>
              <a:gd name="connsiteY5" fmla="*/ 369538 h 6356367"/>
              <a:gd name="connsiteX0" fmla="*/ 0 w 2821139"/>
              <a:gd name="connsiteY0" fmla="*/ 242 h 5987071"/>
              <a:gd name="connsiteX1" fmla="*/ 2605627 w 2821139"/>
              <a:gd name="connsiteY1" fmla="*/ 0 h 5987071"/>
              <a:gd name="connsiteX2" fmla="*/ 2670929 w 2821139"/>
              <a:gd name="connsiteY2" fmla="*/ 96846 h 5987071"/>
              <a:gd name="connsiteX3" fmla="*/ 2674951 w 2821139"/>
              <a:gd name="connsiteY3" fmla="*/ 5987071 h 5987071"/>
              <a:gd name="connsiteX4" fmla="*/ 0 w 2821139"/>
              <a:gd name="connsiteY4" fmla="*/ 5987071 h 5987071"/>
              <a:gd name="connsiteX5" fmla="*/ 0 w 2821139"/>
              <a:gd name="connsiteY5" fmla="*/ 242 h 5987071"/>
              <a:gd name="connsiteX0" fmla="*/ 0 w 2742690"/>
              <a:gd name="connsiteY0" fmla="*/ 367521 h 6354350"/>
              <a:gd name="connsiteX1" fmla="*/ 1722081 w 2742690"/>
              <a:gd name="connsiteY1" fmla="*/ 372889 h 6354350"/>
              <a:gd name="connsiteX2" fmla="*/ 2670929 w 2742690"/>
              <a:gd name="connsiteY2" fmla="*/ 464125 h 6354350"/>
              <a:gd name="connsiteX3" fmla="*/ 2674951 w 2742690"/>
              <a:gd name="connsiteY3" fmla="*/ 6354350 h 6354350"/>
              <a:gd name="connsiteX4" fmla="*/ 0 w 2742690"/>
              <a:gd name="connsiteY4" fmla="*/ 6354350 h 6354350"/>
              <a:gd name="connsiteX5" fmla="*/ 0 w 2742690"/>
              <a:gd name="connsiteY5" fmla="*/ 367521 h 6354350"/>
              <a:gd name="connsiteX0" fmla="*/ 0 w 2742690"/>
              <a:gd name="connsiteY0" fmla="*/ 360489 h 6347318"/>
              <a:gd name="connsiteX1" fmla="*/ 1722081 w 2742690"/>
              <a:gd name="connsiteY1" fmla="*/ 365857 h 6347318"/>
              <a:gd name="connsiteX2" fmla="*/ 2670929 w 2742690"/>
              <a:gd name="connsiteY2" fmla="*/ 457093 h 6347318"/>
              <a:gd name="connsiteX3" fmla="*/ 2674951 w 2742690"/>
              <a:gd name="connsiteY3" fmla="*/ 6347318 h 6347318"/>
              <a:gd name="connsiteX4" fmla="*/ 0 w 2742690"/>
              <a:gd name="connsiteY4" fmla="*/ 6347318 h 6347318"/>
              <a:gd name="connsiteX5" fmla="*/ 0 w 2742690"/>
              <a:gd name="connsiteY5" fmla="*/ 360489 h 6347318"/>
              <a:gd name="connsiteX0" fmla="*/ 0 w 2742690"/>
              <a:gd name="connsiteY0" fmla="*/ 371928 h 6358757"/>
              <a:gd name="connsiteX1" fmla="*/ 1722081 w 2742690"/>
              <a:gd name="connsiteY1" fmla="*/ 377296 h 6358757"/>
              <a:gd name="connsiteX2" fmla="*/ 2670929 w 2742690"/>
              <a:gd name="connsiteY2" fmla="*/ 468532 h 6358757"/>
              <a:gd name="connsiteX3" fmla="*/ 2674951 w 2742690"/>
              <a:gd name="connsiteY3" fmla="*/ 6358757 h 6358757"/>
              <a:gd name="connsiteX4" fmla="*/ 0 w 2742690"/>
              <a:gd name="connsiteY4" fmla="*/ 6358757 h 6358757"/>
              <a:gd name="connsiteX5" fmla="*/ 0 w 2742690"/>
              <a:gd name="connsiteY5" fmla="*/ 371928 h 6358757"/>
              <a:gd name="connsiteX0" fmla="*/ 0 w 2742690"/>
              <a:gd name="connsiteY0" fmla="*/ 0 h 5986829"/>
              <a:gd name="connsiteX1" fmla="*/ 1722081 w 2742690"/>
              <a:gd name="connsiteY1" fmla="*/ 5368 h 5986829"/>
              <a:gd name="connsiteX2" fmla="*/ 2670929 w 2742690"/>
              <a:gd name="connsiteY2" fmla="*/ 96604 h 5986829"/>
              <a:gd name="connsiteX3" fmla="*/ 2674951 w 2742690"/>
              <a:gd name="connsiteY3" fmla="*/ 5986829 h 5986829"/>
              <a:gd name="connsiteX4" fmla="*/ 0 w 2742690"/>
              <a:gd name="connsiteY4" fmla="*/ 5986829 h 5986829"/>
              <a:gd name="connsiteX5" fmla="*/ 0 w 2742690"/>
              <a:gd name="connsiteY5" fmla="*/ 0 h 5986829"/>
              <a:gd name="connsiteX0" fmla="*/ 0 w 2751025"/>
              <a:gd name="connsiteY0" fmla="*/ 0 h 5986829"/>
              <a:gd name="connsiteX1" fmla="*/ 1722081 w 2751025"/>
              <a:gd name="connsiteY1" fmla="*/ 5368 h 5986829"/>
              <a:gd name="connsiteX2" fmla="*/ 2682149 w 2751025"/>
              <a:gd name="connsiteY2" fmla="*/ 74163 h 5986829"/>
              <a:gd name="connsiteX3" fmla="*/ 2674951 w 2751025"/>
              <a:gd name="connsiteY3" fmla="*/ 5986829 h 5986829"/>
              <a:gd name="connsiteX4" fmla="*/ 0 w 2751025"/>
              <a:gd name="connsiteY4" fmla="*/ 5986829 h 5986829"/>
              <a:gd name="connsiteX5" fmla="*/ 0 w 2751025"/>
              <a:gd name="connsiteY5" fmla="*/ 0 h 5986829"/>
              <a:gd name="connsiteX0" fmla="*/ 0 w 2697688"/>
              <a:gd name="connsiteY0" fmla="*/ 0 h 5986829"/>
              <a:gd name="connsiteX1" fmla="*/ 1722081 w 2697688"/>
              <a:gd name="connsiteY1" fmla="*/ 5368 h 5986829"/>
              <a:gd name="connsiteX2" fmla="*/ 2600806 w 2697688"/>
              <a:gd name="connsiteY2" fmla="*/ 155509 h 5986829"/>
              <a:gd name="connsiteX3" fmla="*/ 2674951 w 2697688"/>
              <a:gd name="connsiteY3" fmla="*/ 5986829 h 5986829"/>
              <a:gd name="connsiteX4" fmla="*/ 0 w 2697688"/>
              <a:gd name="connsiteY4" fmla="*/ 5986829 h 5986829"/>
              <a:gd name="connsiteX5" fmla="*/ 0 w 2697688"/>
              <a:gd name="connsiteY5" fmla="*/ 0 h 5986829"/>
              <a:gd name="connsiteX0" fmla="*/ 0 w 2748920"/>
              <a:gd name="connsiteY0" fmla="*/ 0 h 5986829"/>
              <a:gd name="connsiteX1" fmla="*/ 1722081 w 2748920"/>
              <a:gd name="connsiteY1" fmla="*/ 5368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71968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29894 w 2748920"/>
              <a:gd name="connsiteY1" fmla="*/ 586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428917 w 2748920"/>
              <a:gd name="connsiteY1" fmla="*/ 69884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428917 w 2748920"/>
              <a:gd name="connsiteY1" fmla="*/ 69884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3137 h 5989966"/>
              <a:gd name="connsiteX1" fmla="*/ 2569162 w 2748920"/>
              <a:gd name="connsiteY1" fmla="*/ 90 h 5989966"/>
              <a:gd name="connsiteX2" fmla="*/ 2679344 w 2748920"/>
              <a:gd name="connsiteY2" fmla="*/ 74495 h 5989966"/>
              <a:gd name="connsiteX3" fmla="*/ 2674951 w 2748920"/>
              <a:gd name="connsiteY3" fmla="*/ 5989966 h 5989966"/>
              <a:gd name="connsiteX4" fmla="*/ 0 w 2748920"/>
              <a:gd name="connsiteY4" fmla="*/ 5989966 h 5989966"/>
              <a:gd name="connsiteX5" fmla="*/ 0 w 2748920"/>
              <a:gd name="connsiteY5" fmla="*/ 3137 h 5989966"/>
              <a:gd name="connsiteX0" fmla="*/ 0 w 2748920"/>
              <a:gd name="connsiteY0" fmla="*/ 3137 h 5989966"/>
              <a:gd name="connsiteX1" fmla="*/ 2569162 w 2748920"/>
              <a:gd name="connsiteY1" fmla="*/ 90 h 5989966"/>
              <a:gd name="connsiteX2" fmla="*/ 2679344 w 2748920"/>
              <a:gd name="connsiteY2" fmla="*/ 74495 h 5989966"/>
              <a:gd name="connsiteX3" fmla="*/ 2674951 w 2748920"/>
              <a:gd name="connsiteY3" fmla="*/ 5989966 h 5989966"/>
              <a:gd name="connsiteX4" fmla="*/ 0 w 2748920"/>
              <a:gd name="connsiteY4" fmla="*/ 5989966 h 5989966"/>
              <a:gd name="connsiteX5" fmla="*/ 0 w 2748920"/>
              <a:gd name="connsiteY5" fmla="*/ 3137 h 5989966"/>
              <a:gd name="connsiteX0" fmla="*/ 0 w 2748920"/>
              <a:gd name="connsiteY0" fmla="*/ 3137 h 5989966"/>
              <a:gd name="connsiteX1" fmla="*/ 2569162 w 2748920"/>
              <a:gd name="connsiteY1" fmla="*/ 90 h 5989966"/>
              <a:gd name="connsiteX2" fmla="*/ 2679344 w 2748920"/>
              <a:gd name="connsiteY2" fmla="*/ 74495 h 5989966"/>
              <a:gd name="connsiteX3" fmla="*/ 2674951 w 2748920"/>
              <a:gd name="connsiteY3" fmla="*/ 5989966 h 5989966"/>
              <a:gd name="connsiteX4" fmla="*/ 0 w 2748920"/>
              <a:gd name="connsiteY4" fmla="*/ 5989966 h 5989966"/>
              <a:gd name="connsiteX5" fmla="*/ 0 w 2748920"/>
              <a:gd name="connsiteY5" fmla="*/ 3137 h 5989966"/>
              <a:gd name="connsiteX0" fmla="*/ 0 w 2679344"/>
              <a:gd name="connsiteY0" fmla="*/ 3137 h 5989966"/>
              <a:gd name="connsiteX1" fmla="*/ 2569162 w 2679344"/>
              <a:gd name="connsiteY1" fmla="*/ 90 h 5989966"/>
              <a:gd name="connsiteX2" fmla="*/ 2679344 w 2679344"/>
              <a:gd name="connsiteY2" fmla="*/ 74495 h 5989966"/>
              <a:gd name="connsiteX3" fmla="*/ 2674951 w 2679344"/>
              <a:gd name="connsiteY3" fmla="*/ 5989966 h 5989966"/>
              <a:gd name="connsiteX4" fmla="*/ 0 w 2679344"/>
              <a:gd name="connsiteY4" fmla="*/ 5989966 h 5989966"/>
              <a:gd name="connsiteX5" fmla="*/ 0 w 2679344"/>
              <a:gd name="connsiteY5" fmla="*/ 3137 h 5989966"/>
              <a:gd name="connsiteX0" fmla="*/ 0 w 2679344"/>
              <a:gd name="connsiteY0" fmla="*/ 3137 h 5989966"/>
              <a:gd name="connsiteX1" fmla="*/ 2569162 w 2679344"/>
              <a:gd name="connsiteY1" fmla="*/ 90 h 5989966"/>
              <a:gd name="connsiteX2" fmla="*/ 2679344 w 2679344"/>
              <a:gd name="connsiteY2" fmla="*/ 74495 h 5989966"/>
              <a:gd name="connsiteX3" fmla="*/ 2674951 w 2679344"/>
              <a:gd name="connsiteY3" fmla="*/ 5989966 h 5989966"/>
              <a:gd name="connsiteX4" fmla="*/ 0 w 2679344"/>
              <a:gd name="connsiteY4" fmla="*/ 5989966 h 5989966"/>
              <a:gd name="connsiteX5" fmla="*/ 0 w 2679344"/>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0 h 5986829"/>
              <a:gd name="connsiteX1" fmla="*/ 2566780 w 2679350"/>
              <a:gd name="connsiteY1" fmla="*/ 94589 h 5986829"/>
              <a:gd name="connsiteX2" fmla="*/ 2679344 w 2679350"/>
              <a:gd name="connsiteY2" fmla="*/ 71358 h 5986829"/>
              <a:gd name="connsiteX3" fmla="*/ 2674951 w 2679350"/>
              <a:gd name="connsiteY3" fmla="*/ 5986829 h 5986829"/>
              <a:gd name="connsiteX4" fmla="*/ 0 w 2679350"/>
              <a:gd name="connsiteY4" fmla="*/ 5986829 h 5986829"/>
              <a:gd name="connsiteX5" fmla="*/ 0 w 2679350"/>
              <a:gd name="connsiteY5" fmla="*/ 0 h 5986829"/>
              <a:gd name="connsiteX0" fmla="*/ 0 w 2679350"/>
              <a:gd name="connsiteY0" fmla="*/ 761 h 5987590"/>
              <a:gd name="connsiteX1" fmla="*/ 2581068 w 2679350"/>
              <a:gd name="connsiteY1" fmla="*/ 96 h 5987590"/>
              <a:gd name="connsiteX2" fmla="*/ 2679344 w 2679350"/>
              <a:gd name="connsiteY2" fmla="*/ 72119 h 5987590"/>
              <a:gd name="connsiteX3" fmla="*/ 2674951 w 2679350"/>
              <a:gd name="connsiteY3" fmla="*/ 5987590 h 5987590"/>
              <a:gd name="connsiteX4" fmla="*/ 0 w 2679350"/>
              <a:gd name="connsiteY4" fmla="*/ 5987590 h 5987590"/>
              <a:gd name="connsiteX5" fmla="*/ 0 w 2679350"/>
              <a:gd name="connsiteY5" fmla="*/ 761 h 5987590"/>
              <a:gd name="connsiteX0" fmla="*/ 0 w 2679350"/>
              <a:gd name="connsiteY0" fmla="*/ 761 h 5987590"/>
              <a:gd name="connsiteX1" fmla="*/ 2581068 w 2679350"/>
              <a:gd name="connsiteY1" fmla="*/ 96 h 5987590"/>
              <a:gd name="connsiteX2" fmla="*/ 2679344 w 2679350"/>
              <a:gd name="connsiteY2" fmla="*/ 72119 h 5987590"/>
              <a:gd name="connsiteX3" fmla="*/ 2674951 w 2679350"/>
              <a:gd name="connsiteY3" fmla="*/ 5987590 h 5987590"/>
              <a:gd name="connsiteX4" fmla="*/ 0 w 2679350"/>
              <a:gd name="connsiteY4" fmla="*/ 5987590 h 5987590"/>
              <a:gd name="connsiteX5" fmla="*/ 0 w 2679350"/>
              <a:gd name="connsiteY5" fmla="*/ 761 h 5987590"/>
              <a:gd name="connsiteX0" fmla="*/ 0 w 2679350"/>
              <a:gd name="connsiteY0" fmla="*/ 761 h 5987590"/>
              <a:gd name="connsiteX1" fmla="*/ 2581068 w 2679350"/>
              <a:gd name="connsiteY1" fmla="*/ 96 h 5987590"/>
              <a:gd name="connsiteX2" fmla="*/ 2679344 w 2679350"/>
              <a:gd name="connsiteY2" fmla="*/ 72119 h 5987590"/>
              <a:gd name="connsiteX3" fmla="*/ 2674951 w 2679350"/>
              <a:gd name="connsiteY3" fmla="*/ 5987590 h 5987590"/>
              <a:gd name="connsiteX4" fmla="*/ 0 w 2679350"/>
              <a:gd name="connsiteY4" fmla="*/ 5987590 h 5987590"/>
              <a:gd name="connsiteX5" fmla="*/ 0 w 2679350"/>
              <a:gd name="connsiteY5" fmla="*/ 761 h 5987590"/>
              <a:gd name="connsiteX0" fmla="*/ 0 w 2679350"/>
              <a:gd name="connsiteY0" fmla="*/ 0 h 5986829"/>
              <a:gd name="connsiteX1" fmla="*/ 2585830 w 2679350"/>
              <a:gd name="connsiteY1" fmla="*/ 44581 h 5986829"/>
              <a:gd name="connsiteX2" fmla="*/ 2679344 w 2679350"/>
              <a:gd name="connsiteY2" fmla="*/ 71358 h 5986829"/>
              <a:gd name="connsiteX3" fmla="*/ 2674951 w 2679350"/>
              <a:gd name="connsiteY3" fmla="*/ 5986829 h 5986829"/>
              <a:gd name="connsiteX4" fmla="*/ 0 w 2679350"/>
              <a:gd name="connsiteY4" fmla="*/ 5986829 h 5986829"/>
              <a:gd name="connsiteX5" fmla="*/ 0 w 2679350"/>
              <a:gd name="connsiteY5" fmla="*/ 0 h 5986829"/>
              <a:gd name="connsiteX0" fmla="*/ 0 w 2679350"/>
              <a:gd name="connsiteY0" fmla="*/ 0 h 5986829"/>
              <a:gd name="connsiteX1" fmla="*/ 2588212 w 2679350"/>
              <a:gd name="connsiteY1" fmla="*/ 1716 h 5986829"/>
              <a:gd name="connsiteX2" fmla="*/ 2679344 w 2679350"/>
              <a:gd name="connsiteY2" fmla="*/ 71358 h 5986829"/>
              <a:gd name="connsiteX3" fmla="*/ 2674951 w 2679350"/>
              <a:gd name="connsiteY3" fmla="*/ 5986829 h 5986829"/>
              <a:gd name="connsiteX4" fmla="*/ 0 w 2679350"/>
              <a:gd name="connsiteY4" fmla="*/ 5986829 h 5986829"/>
              <a:gd name="connsiteX5" fmla="*/ 0 w 2679350"/>
              <a:gd name="connsiteY5" fmla="*/ 0 h 5986829"/>
              <a:gd name="connsiteX0" fmla="*/ 0 w 2674961"/>
              <a:gd name="connsiteY0" fmla="*/ 0 h 5986829"/>
              <a:gd name="connsiteX1" fmla="*/ 2588212 w 2674961"/>
              <a:gd name="connsiteY1" fmla="*/ 1716 h 5986829"/>
              <a:gd name="connsiteX2" fmla="*/ 2655531 w 2674961"/>
              <a:gd name="connsiteY2" fmla="*/ 78502 h 5986829"/>
              <a:gd name="connsiteX3" fmla="*/ 2674951 w 2674961"/>
              <a:gd name="connsiteY3" fmla="*/ 5986829 h 5986829"/>
              <a:gd name="connsiteX4" fmla="*/ 0 w 2674961"/>
              <a:gd name="connsiteY4" fmla="*/ 5986829 h 5986829"/>
              <a:gd name="connsiteX5" fmla="*/ 0 w 2674961"/>
              <a:gd name="connsiteY5" fmla="*/ 0 h 5986829"/>
              <a:gd name="connsiteX0" fmla="*/ 0 w 2675143"/>
              <a:gd name="connsiteY0" fmla="*/ 0 h 5986829"/>
              <a:gd name="connsiteX1" fmla="*/ 2588212 w 2675143"/>
              <a:gd name="connsiteY1" fmla="*/ 1716 h 5986829"/>
              <a:gd name="connsiteX2" fmla="*/ 2674581 w 2675143"/>
              <a:gd name="connsiteY2" fmla="*/ 80883 h 5986829"/>
              <a:gd name="connsiteX3" fmla="*/ 2674951 w 2675143"/>
              <a:gd name="connsiteY3" fmla="*/ 5986829 h 5986829"/>
              <a:gd name="connsiteX4" fmla="*/ 0 w 2675143"/>
              <a:gd name="connsiteY4" fmla="*/ 5986829 h 5986829"/>
              <a:gd name="connsiteX5" fmla="*/ 0 w 2675143"/>
              <a:gd name="connsiteY5" fmla="*/ 0 h 598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5143" h="5986829">
                <a:moveTo>
                  <a:pt x="0" y="0"/>
                </a:moveTo>
                <a:lnTo>
                  <a:pt x="2588212" y="1716"/>
                </a:lnTo>
                <a:cubicBezTo>
                  <a:pt x="2639095" y="-351"/>
                  <a:pt x="2671381" y="38070"/>
                  <a:pt x="2674581" y="80883"/>
                </a:cubicBezTo>
                <a:cubicBezTo>
                  <a:pt x="2674773" y="1264412"/>
                  <a:pt x="2675480" y="4002251"/>
                  <a:pt x="2674951" y="5986829"/>
                </a:cubicBezTo>
                <a:lnTo>
                  <a:pt x="0" y="598682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Tijdelijke aanduiding voor datum 3"/>
          <p:cNvSpPr>
            <a:spLocks noGrp="1"/>
          </p:cNvSpPr>
          <p:nvPr>
            <p:ph type="dt" sz="half" idx="10"/>
          </p:nvPr>
        </p:nvSpPr>
        <p:spPr>
          <a:xfrm>
            <a:off x="10676001" y="5401161"/>
            <a:ext cx="1434524" cy="365125"/>
          </a:xfrm>
        </p:spPr>
        <p:txBody>
          <a:bodyPr/>
          <a:lstStyle>
            <a:lvl1pPr>
              <a:defRPr>
                <a:solidFill>
                  <a:schemeClr val="tx2"/>
                </a:solidFill>
              </a:defRPr>
            </a:lvl1pPr>
          </a:lstStyle>
          <a:p>
            <a:fld id="{12B8A910-5652-4408-9C3E-D1DC045D2B50}" type="datetime4">
              <a:rPr lang="en-GB" smtClean="0"/>
              <a:t>29 May 2020</a:t>
            </a:fld>
            <a:endParaRPr lang="en-GB" dirty="0"/>
          </a:p>
        </p:txBody>
      </p:sp>
      <p:sp>
        <p:nvSpPr>
          <p:cNvPr id="5" name="Tijdelijke aanduiding voor voettekst 4"/>
          <p:cNvSpPr>
            <a:spLocks noGrp="1"/>
          </p:cNvSpPr>
          <p:nvPr>
            <p:ph type="ftr" sz="quarter" idx="11"/>
          </p:nvPr>
        </p:nvSpPr>
        <p:spPr>
          <a:xfrm>
            <a:off x="9981386" y="5365065"/>
            <a:ext cx="814092" cy="365125"/>
          </a:xfrm>
        </p:spPr>
        <p:txBody>
          <a:bodyPr/>
          <a:lstStyle>
            <a:lvl1pPr>
              <a:defRPr>
                <a:solidFill>
                  <a:schemeClr val="tx2"/>
                </a:solidFill>
              </a:defRPr>
            </a:lvl1pPr>
          </a:lstStyle>
          <a:p>
            <a:r>
              <a:rPr lang="en-GB"/>
              <a:t>|</a:t>
            </a:r>
          </a:p>
        </p:txBody>
      </p:sp>
      <p:sp>
        <p:nvSpPr>
          <p:cNvPr id="6" name="Tijdelijke aanduiding voor dianummer 5"/>
          <p:cNvSpPr>
            <a:spLocks noGrp="1"/>
          </p:cNvSpPr>
          <p:nvPr>
            <p:ph type="sldNum" sz="quarter" idx="12"/>
          </p:nvPr>
        </p:nvSpPr>
        <p:spPr>
          <a:xfrm>
            <a:off x="9560279" y="5401161"/>
            <a:ext cx="540585" cy="365125"/>
          </a:xfrm>
        </p:spPr>
        <p:txBody>
          <a:bodyPr/>
          <a:lstStyle>
            <a:lvl1pPr>
              <a:defRPr>
                <a:solidFill>
                  <a:schemeClr val="tx2"/>
                </a:solidFill>
              </a:defRPr>
            </a:lvl1pPr>
          </a:lstStyle>
          <a:p>
            <a:fld id="{534B5F9C-CFE5-4EC6-9BBB-664E2F56B033}" type="slidenum">
              <a:rPr lang="en-GB" smtClean="0"/>
              <a:pPr/>
              <a:t>‹nr.›</a:t>
            </a:fld>
            <a:endParaRPr lang="en-GB" dirty="0"/>
          </a:p>
        </p:txBody>
      </p:sp>
      <p:sp>
        <p:nvSpPr>
          <p:cNvPr id="28" name="Tijdelijke aanduiding voor afbeelding 2">
            <a:extLst>
              <a:ext uri="{FF2B5EF4-FFF2-40B4-BE49-F238E27FC236}">
                <a16:creationId xmlns:a16="http://schemas.microsoft.com/office/drawing/2014/main" id="{16DBD923-A819-4FA3-8642-E1DC6B8509B0}"/>
              </a:ext>
            </a:extLst>
          </p:cNvPr>
          <p:cNvSpPr>
            <a:spLocks noGrp="1"/>
          </p:cNvSpPr>
          <p:nvPr>
            <p:ph type="pic" idx="13"/>
          </p:nvPr>
        </p:nvSpPr>
        <p:spPr>
          <a:xfrm>
            <a:off x="-2498" y="-2912"/>
            <a:ext cx="9522159" cy="6858478"/>
          </a:xfrm>
          <a:custGeom>
            <a:avLst/>
            <a:gdLst>
              <a:gd name="connsiteX0" fmla="*/ 79964 w 12195175"/>
              <a:gd name="connsiteY0" fmla="*/ 0 h 6858000"/>
              <a:gd name="connsiteX1" fmla="*/ 12115211 w 12195175"/>
              <a:gd name="connsiteY1" fmla="*/ 0 h 6858000"/>
              <a:gd name="connsiteX2" fmla="*/ 12195175 w 12195175"/>
              <a:gd name="connsiteY2" fmla="*/ 79964 h 6858000"/>
              <a:gd name="connsiteX3" fmla="*/ 12195175 w 12195175"/>
              <a:gd name="connsiteY3" fmla="*/ 6858000 h 6858000"/>
              <a:gd name="connsiteX4" fmla="*/ 12195175 w 12195175"/>
              <a:gd name="connsiteY4" fmla="*/ 6858000 h 6858000"/>
              <a:gd name="connsiteX5" fmla="*/ 0 w 12195175"/>
              <a:gd name="connsiteY5" fmla="*/ 6858000 h 6858000"/>
              <a:gd name="connsiteX6" fmla="*/ 0 w 12195175"/>
              <a:gd name="connsiteY6" fmla="*/ 6858000 h 6858000"/>
              <a:gd name="connsiteX7" fmla="*/ 0 w 12195175"/>
              <a:gd name="connsiteY7" fmla="*/ 79964 h 6858000"/>
              <a:gd name="connsiteX8" fmla="*/ 79964 w 12195175"/>
              <a:gd name="connsiteY8"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7673 w 12197673"/>
              <a:gd name="connsiteY3" fmla="*/ 6858000 h 6858000"/>
              <a:gd name="connsiteX4" fmla="*/ 12197673 w 12197673"/>
              <a:gd name="connsiteY4" fmla="*/ 6858000 h 6858000"/>
              <a:gd name="connsiteX5" fmla="*/ 2498 w 12197673"/>
              <a:gd name="connsiteY5" fmla="*/ 6858000 h 6858000"/>
              <a:gd name="connsiteX6" fmla="*/ 2498 w 12197673"/>
              <a:gd name="connsiteY6" fmla="*/ 6858000 h 6858000"/>
              <a:gd name="connsiteX7" fmla="*/ 0 w 12197673"/>
              <a:gd name="connsiteY7" fmla="*/ 6785548 h 6858000"/>
              <a:gd name="connsiteX8" fmla="*/ 2498 w 12197673"/>
              <a:gd name="connsiteY8" fmla="*/ 79964 h 6858000"/>
              <a:gd name="connsiteX9" fmla="*/ 82462 w 12197673"/>
              <a:gd name="connsiteY9"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7673 w 12197673"/>
              <a:gd name="connsiteY3" fmla="*/ 6858000 h 6858000"/>
              <a:gd name="connsiteX4" fmla="*/ 12197673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97673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97673 w 12197673"/>
              <a:gd name="connsiteY5" fmla="*/ 6858000 h 6858000"/>
              <a:gd name="connsiteX6" fmla="*/ 12112052 w 12197673"/>
              <a:gd name="connsiteY6" fmla="*/ 6858000 h 6858000"/>
              <a:gd name="connsiteX7" fmla="*/ 74950 w 12197673"/>
              <a:gd name="connsiteY7" fmla="*/ 6855502 h 6858000"/>
              <a:gd name="connsiteX8" fmla="*/ 2498 w 12197673"/>
              <a:gd name="connsiteY8" fmla="*/ 6858000 h 6858000"/>
              <a:gd name="connsiteX9" fmla="*/ 2498 w 12197673"/>
              <a:gd name="connsiteY9" fmla="*/ 6858000 h 6858000"/>
              <a:gd name="connsiteX10" fmla="*/ 0 w 12197673"/>
              <a:gd name="connsiteY10" fmla="*/ 6785548 h 6858000"/>
              <a:gd name="connsiteX11" fmla="*/ 2498 w 12197673"/>
              <a:gd name="connsiteY11" fmla="*/ 79964 h 6858000"/>
              <a:gd name="connsiteX12" fmla="*/ 82462 w 12197673"/>
              <a:gd name="connsiteY12"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2498 w 12197673"/>
              <a:gd name="connsiteY7" fmla="*/ 6858000 h 6858224"/>
              <a:gd name="connsiteX8" fmla="*/ 0 w 12197673"/>
              <a:gd name="connsiteY8" fmla="*/ 6785548 h 6858224"/>
              <a:gd name="connsiteX9" fmla="*/ 2498 w 12197673"/>
              <a:gd name="connsiteY9" fmla="*/ 79964 h 6858224"/>
              <a:gd name="connsiteX10" fmla="*/ 82462 w 12197673"/>
              <a:gd name="connsiteY10"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2498 w 12197673"/>
              <a:gd name="connsiteY7" fmla="*/ 6858000 h 6858224"/>
              <a:gd name="connsiteX8" fmla="*/ 0 w 12197673"/>
              <a:gd name="connsiteY8" fmla="*/ 6785548 h 6858224"/>
              <a:gd name="connsiteX9" fmla="*/ 2498 w 12197673"/>
              <a:gd name="connsiteY9" fmla="*/ 79964 h 6858224"/>
              <a:gd name="connsiteX10" fmla="*/ 82462 w 12197673"/>
              <a:gd name="connsiteY10"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0 w 12197673"/>
              <a:gd name="connsiteY7" fmla="*/ 6785548 h 6858224"/>
              <a:gd name="connsiteX8" fmla="*/ 2498 w 12197673"/>
              <a:gd name="connsiteY8" fmla="*/ 79964 h 6858224"/>
              <a:gd name="connsiteX9" fmla="*/ 82462 w 12197673"/>
              <a:gd name="connsiteY9"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 name="connsiteX0" fmla="*/ 82462 w 12197673"/>
              <a:gd name="connsiteY0" fmla="*/ 2912 h 6861136"/>
              <a:gd name="connsiteX1" fmla="*/ 9522159 w 12197673"/>
              <a:gd name="connsiteY1" fmla="*/ 0 h 6861136"/>
              <a:gd name="connsiteX2" fmla="*/ 12117709 w 12197673"/>
              <a:gd name="connsiteY2" fmla="*/ 2912 h 6861136"/>
              <a:gd name="connsiteX3" fmla="*/ 12197673 w 12197673"/>
              <a:gd name="connsiteY3" fmla="*/ 82876 h 6861136"/>
              <a:gd name="connsiteX4" fmla="*/ 12194498 w 12197673"/>
              <a:gd name="connsiteY4" fmla="*/ 6780964 h 6861136"/>
              <a:gd name="connsiteX5" fmla="*/ 12112052 w 12197673"/>
              <a:gd name="connsiteY5" fmla="*/ 6860912 h 6861136"/>
              <a:gd name="connsiteX6" fmla="*/ 74950 w 12197673"/>
              <a:gd name="connsiteY6" fmla="*/ 6858414 h 6861136"/>
              <a:gd name="connsiteX7" fmla="*/ 0 w 12197673"/>
              <a:gd name="connsiteY7" fmla="*/ 6788460 h 6861136"/>
              <a:gd name="connsiteX8" fmla="*/ 2498 w 12197673"/>
              <a:gd name="connsiteY8" fmla="*/ 82876 h 6861136"/>
              <a:gd name="connsiteX9" fmla="*/ 82462 w 12197673"/>
              <a:gd name="connsiteY9" fmla="*/ 2912 h 6861136"/>
              <a:gd name="connsiteX0" fmla="*/ 82462 w 12197673"/>
              <a:gd name="connsiteY0" fmla="*/ 2912 h 6861136"/>
              <a:gd name="connsiteX1" fmla="*/ 9522159 w 12197673"/>
              <a:gd name="connsiteY1" fmla="*/ 0 h 6861136"/>
              <a:gd name="connsiteX2" fmla="*/ 12117709 w 12197673"/>
              <a:gd name="connsiteY2" fmla="*/ 2912 h 6861136"/>
              <a:gd name="connsiteX3" fmla="*/ 12197673 w 12197673"/>
              <a:gd name="connsiteY3" fmla="*/ 82876 h 6861136"/>
              <a:gd name="connsiteX4" fmla="*/ 12194498 w 12197673"/>
              <a:gd name="connsiteY4" fmla="*/ 6780964 h 6861136"/>
              <a:gd name="connsiteX5" fmla="*/ 12112052 w 12197673"/>
              <a:gd name="connsiteY5" fmla="*/ 6860912 h 6861136"/>
              <a:gd name="connsiteX6" fmla="*/ 9522159 w 12197673"/>
              <a:gd name="connsiteY6" fmla="*/ 6858000 h 6861136"/>
              <a:gd name="connsiteX7" fmla="*/ 74950 w 12197673"/>
              <a:gd name="connsiteY7" fmla="*/ 6858414 h 6861136"/>
              <a:gd name="connsiteX8" fmla="*/ 0 w 12197673"/>
              <a:gd name="connsiteY8" fmla="*/ 6788460 h 6861136"/>
              <a:gd name="connsiteX9" fmla="*/ 2498 w 12197673"/>
              <a:gd name="connsiteY9" fmla="*/ 82876 h 6861136"/>
              <a:gd name="connsiteX10" fmla="*/ 82462 w 12197673"/>
              <a:gd name="connsiteY10" fmla="*/ 2912 h 6861136"/>
              <a:gd name="connsiteX0" fmla="*/ 82462 w 12334905"/>
              <a:gd name="connsiteY0" fmla="*/ 2912 h 6860912"/>
              <a:gd name="connsiteX1" fmla="*/ 9522159 w 12334905"/>
              <a:gd name="connsiteY1" fmla="*/ 0 h 6860912"/>
              <a:gd name="connsiteX2" fmla="*/ 12117709 w 12334905"/>
              <a:gd name="connsiteY2" fmla="*/ 2912 h 6860912"/>
              <a:gd name="connsiteX3" fmla="*/ 12197673 w 12334905"/>
              <a:gd name="connsiteY3" fmla="*/ 82876 h 6860912"/>
              <a:gd name="connsiteX4" fmla="*/ 12112052 w 12334905"/>
              <a:gd name="connsiteY4" fmla="*/ 6860912 h 6860912"/>
              <a:gd name="connsiteX5" fmla="*/ 9522159 w 12334905"/>
              <a:gd name="connsiteY5" fmla="*/ 6858000 h 6860912"/>
              <a:gd name="connsiteX6" fmla="*/ 74950 w 12334905"/>
              <a:gd name="connsiteY6" fmla="*/ 6858414 h 6860912"/>
              <a:gd name="connsiteX7" fmla="*/ 0 w 12334905"/>
              <a:gd name="connsiteY7" fmla="*/ 6788460 h 6860912"/>
              <a:gd name="connsiteX8" fmla="*/ 2498 w 12334905"/>
              <a:gd name="connsiteY8" fmla="*/ 82876 h 6860912"/>
              <a:gd name="connsiteX9" fmla="*/ 82462 w 12334905"/>
              <a:gd name="connsiteY9" fmla="*/ 2912 h 6860912"/>
              <a:gd name="connsiteX0" fmla="*/ 82462 w 12197673"/>
              <a:gd name="connsiteY0" fmla="*/ 2912 h 6858478"/>
              <a:gd name="connsiteX1" fmla="*/ 9522159 w 12197673"/>
              <a:gd name="connsiteY1" fmla="*/ 0 h 6858478"/>
              <a:gd name="connsiteX2" fmla="*/ 12117709 w 12197673"/>
              <a:gd name="connsiteY2" fmla="*/ 2912 h 6858478"/>
              <a:gd name="connsiteX3" fmla="*/ 12197673 w 12197673"/>
              <a:gd name="connsiteY3" fmla="*/ 82876 h 6858478"/>
              <a:gd name="connsiteX4" fmla="*/ 9522159 w 12197673"/>
              <a:gd name="connsiteY4" fmla="*/ 6858000 h 6858478"/>
              <a:gd name="connsiteX5" fmla="*/ 74950 w 12197673"/>
              <a:gd name="connsiteY5" fmla="*/ 6858414 h 6858478"/>
              <a:gd name="connsiteX6" fmla="*/ 0 w 12197673"/>
              <a:gd name="connsiteY6" fmla="*/ 6788460 h 6858478"/>
              <a:gd name="connsiteX7" fmla="*/ 2498 w 12197673"/>
              <a:gd name="connsiteY7" fmla="*/ 82876 h 6858478"/>
              <a:gd name="connsiteX8" fmla="*/ 82462 w 12197673"/>
              <a:gd name="connsiteY8" fmla="*/ 2912 h 6858478"/>
              <a:gd name="connsiteX0" fmla="*/ 82462 w 12117709"/>
              <a:gd name="connsiteY0" fmla="*/ 2912 h 6858478"/>
              <a:gd name="connsiteX1" fmla="*/ 9522159 w 12117709"/>
              <a:gd name="connsiteY1" fmla="*/ 0 h 6858478"/>
              <a:gd name="connsiteX2" fmla="*/ 12117709 w 12117709"/>
              <a:gd name="connsiteY2" fmla="*/ 2912 h 6858478"/>
              <a:gd name="connsiteX3" fmla="*/ 9522159 w 12117709"/>
              <a:gd name="connsiteY3" fmla="*/ 6858000 h 6858478"/>
              <a:gd name="connsiteX4" fmla="*/ 74950 w 12117709"/>
              <a:gd name="connsiteY4" fmla="*/ 6858414 h 6858478"/>
              <a:gd name="connsiteX5" fmla="*/ 0 w 12117709"/>
              <a:gd name="connsiteY5" fmla="*/ 6788460 h 6858478"/>
              <a:gd name="connsiteX6" fmla="*/ 2498 w 12117709"/>
              <a:gd name="connsiteY6" fmla="*/ 82876 h 6858478"/>
              <a:gd name="connsiteX7" fmla="*/ 82462 w 12117709"/>
              <a:gd name="connsiteY7" fmla="*/ 2912 h 6858478"/>
              <a:gd name="connsiteX0" fmla="*/ 82462 w 12117709"/>
              <a:gd name="connsiteY0" fmla="*/ 2912 h 6858478"/>
              <a:gd name="connsiteX1" fmla="*/ 9522159 w 12117709"/>
              <a:gd name="connsiteY1" fmla="*/ 0 h 6858478"/>
              <a:gd name="connsiteX2" fmla="*/ 12117709 w 12117709"/>
              <a:gd name="connsiteY2" fmla="*/ 2912 h 6858478"/>
              <a:gd name="connsiteX3" fmla="*/ 9522159 w 12117709"/>
              <a:gd name="connsiteY3" fmla="*/ 6858000 h 6858478"/>
              <a:gd name="connsiteX4" fmla="*/ 74950 w 12117709"/>
              <a:gd name="connsiteY4" fmla="*/ 6858414 h 6858478"/>
              <a:gd name="connsiteX5" fmla="*/ 0 w 12117709"/>
              <a:gd name="connsiteY5" fmla="*/ 6788460 h 6858478"/>
              <a:gd name="connsiteX6" fmla="*/ 2498 w 12117709"/>
              <a:gd name="connsiteY6" fmla="*/ 82876 h 6858478"/>
              <a:gd name="connsiteX7" fmla="*/ 82462 w 12117709"/>
              <a:gd name="connsiteY7" fmla="*/ 2912 h 6858478"/>
              <a:gd name="connsiteX0" fmla="*/ 82462 w 9522159"/>
              <a:gd name="connsiteY0" fmla="*/ 2912 h 6858478"/>
              <a:gd name="connsiteX1" fmla="*/ 9522159 w 9522159"/>
              <a:gd name="connsiteY1" fmla="*/ 0 h 6858478"/>
              <a:gd name="connsiteX2" fmla="*/ 9522159 w 9522159"/>
              <a:gd name="connsiteY2" fmla="*/ 6858000 h 6858478"/>
              <a:gd name="connsiteX3" fmla="*/ 74950 w 9522159"/>
              <a:gd name="connsiteY3" fmla="*/ 6858414 h 6858478"/>
              <a:gd name="connsiteX4" fmla="*/ 0 w 9522159"/>
              <a:gd name="connsiteY4" fmla="*/ 6788460 h 6858478"/>
              <a:gd name="connsiteX5" fmla="*/ 2498 w 9522159"/>
              <a:gd name="connsiteY5" fmla="*/ 82876 h 6858478"/>
              <a:gd name="connsiteX6" fmla="*/ 82462 w 9522159"/>
              <a:gd name="connsiteY6" fmla="*/ 2912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2159" h="6858478">
                <a:moveTo>
                  <a:pt x="82462" y="2912"/>
                </a:moveTo>
                <a:lnTo>
                  <a:pt x="9522159" y="0"/>
                </a:lnTo>
                <a:lnTo>
                  <a:pt x="9522159" y="6858000"/>
                </a:lnTo>
                <a:lnTo>
                  <a:pt x="74950" y="6858414"/>
                </a:lnTo>
                <a:cubicBezTo>
                  <a:pt x="37476" y="6860079"/>
                  <a:pt x="-1" y="6829266"/>
                  <a:pt x="0" y="6788460"/>
                </a:cubicBezTo>
                <a:cubicBezTo>
                  <a:pt x="833" y="4553265"/>
                  <a:pt x="1665" y="2318071"/>
                  <a:pt x="2498" y="82876"/>
                </a:cubicBezTo>
                <a:cubicBezTo>
                  <a:pt x="2498" y="38713"/>
                  <a:pt x="38299" y="2912"/>
                  <a:pt x="82462" y="2912"/>
                </a:cubicBezTo>
                <a:close/>
              </a:path>
            </a:pathLst>
          </a:custGeo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8" name="Tijdelijke aanduiding voor tekst 7">
            <a:extLst>
              <a:ext uri="{FF2B5EF4-FFF2-40B4-BE49-F238E27FC236}">
                <a16:creationId xmlns:a16="http://schemas.microsoft.com/office/drawing/2014/main" id="{39BD6526-75E5-4652-A0F9-4ACC8AA0F6C3}"/>
              </a:ext>
            </a:extLst>
          </p:cNvPr>
          <p:cNvSpPr>
            <a:spLocks noGrp="1"/>
          </p:cNvSpPr>
          <p:nvPr>
            <p:ph type="body" sz="quarter" idx="14"/>
          </p:nvPr>
        </p:nvSpPr>
        <p:spPr>
          <a:xfrm>
            <a:off x="9865628" y="358984"/>
            <a:ext cx="2003987" cy="4754909"/>
          </a:xfrm>
        </p:spPr>
        <p:txBody>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514906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99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 Rechts + afbeelding (S)">
    <p:spTree>
      <p:nvGrpSpPr>
        <p:cNvPr id="1" name=""/>
        <p:cNvGrpSpPr/>
        <p:nvPr/>
      </p:nvGrpSpPr>
      <p:grpSpPr>
        <a:xfrm>
          <a:off x="0" y="0"/>
          <a:ext cx="0" cy="0"/>
          <a:chOff x="0" y="0"/>
          <a:chExt cx="0" cy="0"/>
        </a:xfrm>
      </p:grpSpPr>
      <p:grpSp>
        <p:nvGrpSpPr>
          <p:cNvPr id="180" name="Groep 179">
            <a:extLst>
              <a:ext uri="{FF2B5EF4-FFF2-40B4-BE49-F238E27FC236}">
                <a16:creationId xmlns:a16="http://schemas.microsoft.com/office/drawing/2014/main" id="{CB5F41AF-7A5B-4968-9377-5B855DA918B4}"/>
              </a:ext>
            </a:extLst>
          </p:cNvPr>
          <p:cNvGrpSpPr/>
          <p:nvPr userDrawn="1"/>
        </p:nvGrpSpPr>
        <p:grpSpPr>
          <a:xfrm>
            <a:off x="-3205835" y="-26002"/>
            <a:ext cx="3064812" cy="4530930"/>
            <a:chOff x="15419739" y="-26002"/>
            <a:chExt cx="3064812" cy="4530930"/>
          </a:xfrm>
        </p:grpSpPr>
        <p:sp>
          <p:nvSpPr>
            <p:cNvPr id="181" name="Tekstvak 33">
              <a:extLst>
                <a:ext uri="{FF2B5EF4-FFF2-40B4-BE49-F238E27FC236}">
                  <a16:creationId xmlns:a16="http://schemas.microsoft.com/office/drawing/2014/main" id="{D23C4ED3-D9B8-4D75-8E05-63DB5C00D42D}"/>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182" name="Tekstvak 33">
              <a:extLst>
                <a:ext uri="{FF2B5EF4-FFF2-40B4-BE49-F238E27FC236}">
                  <a16:creationId xmlns:a16="http://schemas.microsoft.com/office/drawing/2014/main" id="{67AF1F51-5B4D-48DB-B89F-85023E367DB5}"/>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183" name="Ovaal 182">
              <a:extLst>
                <a:ext uri="{FF2B5EF4-FFF2-40B4-BE49-F238E27FC236}">
                  <a16:creationId xmlns:a16="http://schemas.microsoft.com/office/drawing/2014/main" id="{57339E6D-1BD2-4CE6-8A8E-1DF43381FE0E}"/>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184" name="Ovaal 183">
              <a:extLst>
                <a:ext uri="{FF2B5EF4-FFF2-40B4-BE49-F238E27FC236}">
                  <a16:creationId xmlns:a16="http://schemas.microsoft.com/office/drawing/2014/main" id="{FAB310D7-BEBB-458D-95AE-6155D1EB3D8D}"/>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185" name="Picture 3">
              <a:extLst>
                <a:ext uri="{FF2B5EF4-FFF2-40B4-BE49-F238E27FC236}">
                  <a16:creationId xmlns:a16="http://schemas.microsoft.com/office/drawing/2014/main" id="{510BF25E-02A8-43DB-BA30-E81B1CE1B518}"/>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186" name="Picture 3">
              <a:extLst>
                <a:ext uri="{FF2B5EF4-FFF2-40B4-BE49-F238E27FC236}">
                  <a16:creationId xmlns:a16="http://schemas.microsoft.com/office/drawing/2014/main" id="{570CD737-2090-49B8-B7E3-9BBCE2336442}"/>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187" name="Tekstvak 186">
              <a:extLst>
                <a:ext uri="{FF2B5EF4-FFF2-40B4-BE49-F238E27FC236}">
                  <a16:creationId xmlns:a16="http://schemas.microsoft.com/office/drawing/2014/main" id="{654CE3BB-F256-4FB3-8C7C-03B63BDFB2F5}"/>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188" name="Rechthoek 187">
              <a:extLst>
                <a:ext uri="{FF2B5EF4-FFF2-40B4-BE49-F238E27FC236}">
                  <a16:creationId xmlns:a16="http://schemas.microsoft.com/office/drawing/2014/main" id="{3A58C769-041E-48F2-A2E9-E588D819FD28}"/>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189" name="Groep 188">
              <a:extLst>
                <a:ext uri="{FF2B5EF4-FFF2-40B4-BE49-F238E27FC236}">
                  <a16:creationId xmlns:a16="http://schemas.microsoft.com/office/drawing/2014/main" id="{ADE88A5B-C9DB-49A6-9076-F24C8A0D0CFE}"/>
                </a:ext>
              </a:extLst>
            </p:cNvPr>
            <p:cNvGrpSpPr/>
            <p:nvPr userDrawn="1"/>
          </p:nvGrpSpPr>
          <p:grpSpPr>
            <a:xfrm>
              <a:off x="15563079" y="358984"/>
              <a:ext cx="2489424" cy="4145944"/>
              <a:chOff x="15563079" y="358984"/>
              <a:chExt cx="2315772" cy="4145944"/>
            </a:xfrm>
          </p:grpSpPr>
          <p:cxnSp>
            <p:nvCxnSpPr>
              <p:cNvPr id="191" name="Rechte verbindingslijn 190">
                <a:extLst>
                  <a:ext uri="{FF2B5EF4-FFF2-40B4-BE49-F238E27FC236}">
                    <a16:creationId xmlns:a16="http://schemas.microsoft.com/office/drawing/2014/main" id="{9FA1353F-38EB-405E-9DBD-251F50A98BDB}"/>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2" name="Rechte verbindingslijn 191">
                <a:extLst>
                  <a:ext uri="{FF2B5EF4-FFF2-40B4-BE49-F238E27FC236}">
                    <a16:creationId xmlns:a16="http://schemas.microsoft.com/office/drawing/2014/main" id="{512F2999-B344-4DF2-A1AB-A426DE00537C}"/>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3" name="Rechte verbindingslijn 192">
                <a:extLst>
                  <a:ext uri="{FF2B5EF4-FFF2-40B4-BE49-F238E27FC236}">
                    <a16:creationId xmlns:a16="http://schemas.microsoft.com/office/drawing/2014/main" id="{B9374209-EC90-4B53-AE17-ECF7EF41ECBD}"/>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190" name="Afbeelding 189">
              <a:extLst>
                <a:ext uri="{FF2B5EF4-FFF2-40B4-BE49-F238E27FC236}">
                  <a16:creationId xmlns:a16="http://schemas.microsoft.com/office/drawing/2014/main" id="{9E3BB35D-DE6E-412F-B02B-AA089806F12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grpSp>
        <p:nvGrpSpPr>
          <p:cNvPr id="97" name="Groep 96">
            <a:extLst>
              <a:ext uri="{FF2B5EF4-FFF2-40B4-BE49-F238E27FC236}">
                <a16:creationId xmlns:a16="http://schemas.microsoft.com/office/drawing/2014/main" id="{0ABEBA2D-8CC3-4B7A-9523-0A937D8BE3EF}"/>
              </a:ext>
            </a:extLst>
          </p:cNvPr>
          <p:cNvGrpSpPr/>
          <p:nvPr userDrawn="1"/>
        </p:nvGrpSpPr>
        <p:grpSpPr>
          <a:xfrm>
            <a:off x="12353686" y="0"/>
            <a:ext cx="2808312" cy="5805264"/>
            <a:chOff x="-2973833" y="0"/>
            <a:chExt cx="2808312" cy="5805264"/>
          </a:xfrm>
        </p:grpSpPr>
        <p:sp>
          <p:nvSpPr>
            <p:cNvPr id="98" name="Rechthoek 97">
              <a:extLst>
                <a:ext uri="{FF2B5EF4-FFF2-40B4-BE49-F238E27FC236}">
                  <a16:creationId xmlns:a16="http://schemas.microsoft.com/office/drawing/2014/main" id="{3081EE8A-A539-4ABB-8995-55BB30BFDE09}"/>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99" name="Textfield placeholder">
              <a:extLst>
                <a:ext uri="{FF2B5EF4-FFF2-40B4-BE49-F238E27FC236}">
                  <a16:creationId xmlns:a16="http://schemas.microsoft.com/office/drawing/2014/main" id="{DA755810-5EF2-4FAA-91DB-C50974233C69}"/>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100" name="Ovaal 99">
              <a:extLst>
                <a:ext uri="{FF2B5EF4-FFF2-40B4-BE49-F238E27FC236}">
                  <a16:creationId xmlns:a16="http://schemas.microsoft.com/office/drawing/2014/main" id="{FB419873-E241-4DF3-90F2-1D5120737F02}"/>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101" name="Ovaal 100">
              <a:extLst>
                <a:ext uri="{FF2B5EF4-FFF2-40B4-BE49-F238E27FC236}">
                  <a16:creationId xmlns:a16="http://schemas.microsoft.com/office/drawing/2014/main" id="{F540B84E-05BC-48EA-A70C-DAFC59800EDB}"/>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102" name="Ovaal 101">
              <a:extLst>
                <a:ext uri="{FF2B5EF4-FFF2-40B4-BE49-F238E27FC236}">
                  <a16:creationId xmlns:a16="http://schemas.microsoft.com/office/drawing/2014/main" id="{627F18C7-EE12-4D5B-B078-52C23D99C9BA}"/>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103" name="Ovaal 102">
              <a:extLst>
                <a:ext uri="{FF2B5EF4-FFF2-40B4-BE49-F238E27FC236}">
                  <a16:creationId xmlns:a16="http://schemas.microsoft.com/office/drawing/2014/main" id="{E850BBDE-0E4B-413E-BE87-7104583CED6A}"/>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104" name="Textfield placeholder">
              <a:extLst>
                <a:ext uri="{FF2B5EF4-FFF2-40B4-BE49-F238E27FC236}">
                  <a16:creationId xmlns:a16="http://schemas.microsoft.com/office/drawing/2014/main" id="{0AFEE5EB-B211-4CAB-9BE4-96E312235B1D}"/>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105" name="Textfield placeholder">
              <a:extLst>
                <a:ext uri="{FF2B5EF4-FFF2-40B4-BE49-F238E27FC236}">
                  <a16:creationId xmlns:a16="http://schemas.microsoft.com/office/drawing/2014/main" id="{14FA1D7E-D14A-4711-8AB1-FE1F09E446D3}"/>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106" name="Textfield placeholder">
              <a:extLst>
                <a:ext uri="{FF2B5EF4-FFF2-40B4-BE49-F238E27FC236}">
                  <a16:creationId xmlns:a16="http://schemas.microsoft.com/office/drawing/2014/main" id="{F856736D-CC6F-4D0E-A21E-626C1EF32859}"/>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107" name="Rechte verbindingslijn 106">
              <a:extLst>
                <a:ext uri="{FF2B5EF4-FFF2-40B4-BE49-F238E27FC236}">
                  <a16:creationId xmlns:a16="http://schemas.microsoft.com/office/drawing/2014/main" id="{C770D32E-E086-4B4B-B56E-81273599A41F}"/>
                </a:ext>
              </a:extLst>
            </p:cNvPr>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a:extLst>
                <a:ext uri="{FF2B5EF4-FFF2-40B4-BE49-F238E27FC236}">
                  <a16:creationId xmlns:a16="http://schemas.microsoft.com/office/drawing/2014/main" id="{D1A6FE1F-F587-41A2-AE71-AB8A1C3C7066}"/>
                </a:ext>
              </a:extLst>
            </p:cNvPr>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a:extLst>
                <a:ext uri="{FF2B5EF4-FFF2-40B4-BE49-F238E27FC236}">
                  <a16:creationId xmlns:a16="http://schemas.microsoft.com/office/drawing/2014/main" id="{01A19BF7-6B63-41DE-8F3C-1769B92E8132}"/>
                </a:ext>
              </a:extLst>
            </p:cNvPr>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110" name="Picture 3">
              <a:extLst>
                <a:ext uri="{FF2B5EF4-FFF2-40B4-BE49-F238E27FC236}">
                  <a16:creationId xmlns:a16="http://schemas.microsoft.com/office/drawing/2014/main" id="{AE927A44-6449-4B35-ABF5-BA1661B531AB}"/>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1" name="Picture 4">
              <a:extLst>
                <a:ext uri="{FF2B5EF4-FFF2-40B4-BE49-F238E27FC236}">
                  <a16:creationId xmlns:a16="http://schemas.microsoft.com/office/drawing/2014/main" id="{55F28F8A-5472-4556-8D93-E64B45964163}"/>
                </a:ext>
              </a:extLst>
            </p:cNvPr>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12" name="Groep 111">
              <a:extLst>
                <a:ext uri="{FF2B5EF4-FFF2-40B4-BE49-F238E27FC236}">
                  <a16:creationId xmlns:a16="http://schemas.microsoft.com/office/drawing/2014/main" id="{0C980D00-3424-491E-BF2D-BAA0225D0D2E}"/>
                </a:ext>
              </a:extLst>
            </p:cNvPr>
            <p:cNvGrpSpPr/>
            <p:nvPr userDrawn="1"/>
          </p:nvGrpSpPr>
          <p:grpSpPr>
            <a:xfrm>
              <a:off x="-2098870" y="523279"/>
              <a:ext cx="435437" cy="427699"/>
              <a:chOff x="-1085063" y="758027"/>
              <a:chExt cx="633800" cy="622540"/>
            </a:xfrm>
          </p:grpSpPr>
          <p:sp>
            <p:nvSpPr>
              <p:cNvPr id="153" name="Afgeronde rechthoek 133">
                <a:extLst>
                  <a:ext uri="{FF2B5EF4-FFF2-40B4-BE49-F238E27FC236}">
                    <a16:creationId xmlns:a16="http://schemas.microsoft.com/office/drawing/2014/main" id="{8A062728-B6D6-45BD-918B-6822A4D18C4B}"/>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154" name="Groep 153">
                <a:extLst>
                  <a:ext uri="{FF2B5EF4-FFF2-40B4-BE49-F238E27FC236}">
                    <a16:creationId xmlns:a16="http://schemas.microsoft.com/office/drawing/2014/main" id="{E1E076A1-DC26-431D-B9DB-AD69F87F2871}"/>
                  </a:ext>
                </a:extLst>
              </p:cNvPr>
              <p:cNvGrpSpPr/>
              <p:nvPr userDrawn="1"/>
            </p:nvGrpSpPr>
            <p:grpSpPr>
              <a:xfrm>
                <a:off x="-977746" y="864082"/>
                <a:ext cx="419166" cy="410430"/>
                <a:chOff x="6366933" y="309013"/>
                <a:chExt cx="1901295" cy="1861668"/>
              </a:xfrm>
              <a:solidFill>
                <a:schemeClr val="tx1"/>
              </a:solidFill>
            </p:grpSpPr>
            <p:sp>
              <p:nvSpPr>
                <p:cNvPr id="155" name="Rechthoek 154">
                  <a:extLst>
                    <a:ext uri="{FF2B5EF4-FFF2-40B4-BE49-F238E27FC236}">
                      <a16:creationId xmlns:a16="http://schemas.microsoft.com/office/drawing/2014/main" id="{416BBBC3-4F7A-4E93-AA44-2642985A4775}"/>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56" name="Rechthoek 155">
                  <a:extLst>
                    <a:ext uri="{FF2B5EF4-FFF2-40B4-BE49-F238E27FC236}">
                      <a16:creationId xmlns:a16="http://schemas.microsoft.com/office/drawing/2014/main" id="{5EB438EC-B521-4210-B91B-AB033EB372B6}"/>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57" name="Rechthoek 156">
                  <a:extLst>
                    <a:ext uri="{FF2B5EF4-FFF2-40B4-BE49-F238E27FC236}">
                      <a16:creationId xmlns:a16="http://schemas.microsoft.com/office/drawing/2014/main" id="{D5FF1BF4-F7FD-41E6-A8EF-9FE49AB7DCE0}"/>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58" name="Rechthoek 157">
                  <a:extLst>
                    <a:ext uri="{FF2B5EF4-FFF2-40B4-BE49-F238E27FC236}">
                      <a16:creationId xmlns:a16="http://schemas.microsoft.com/office/drawing/2014/main" id="{F28BCC6D-B53B-4A41-9AE1-7ABF3B85F96E}"/>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59" name="Rechthoek 158">
                  <a:extLst>
                    <a:ext uri="{FF2B5EF4-FFF2-40B4-BE49-F238E27FC236}">
                      <a16:creationId xmlns:a16="http://schemas.microsoft.com/office/drawing/2014/main" id="{036992AB-A02C-4D08-A8CC-8F1ACE1C49CA}"/>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60" name="Rechthoek 159">
                  <a:extLst>
                    <a:ext uri="{FF2B5EF4-FFF2-40B4-BE49-F238E27FC236}">
                      <a16:creationId xmlns:a16="http://schemas.microsoft.com/office/drawing/2014/main" id="{9F419844-E442-4E00-9AFE-636C63C5E223}"/>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61" name="Rechthoek 160">
                  <a:extLst>
                    <a:ext uri="{FF2B5EF4-FFF2-40B4-BE49-F238E27FC236}">
                      <a16:creationId xmlns:a16="http://schemas.microsoft.com/office/drawing/2014/main" id="{B2D9ADE2-D8C1-4D90-B791-B0E3F786CC7F}"/>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62" name="Rechthoek 161">
                  <a:extLst>
                    <a:ext uri="{FF2B5EF4-FFF2-40B4-BE49-F238E27FC236}">
                      <a16:creationId xmlns:a16="http://schemas.microsoft.com/office/drawing/2014/main" id="{DF25A183-F6FE-4FF3-A548-5FF23920EB3B}"/>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63" name="Rechthoek 162">
                  <a:extLst>
                    <a:ext uri="{FF2B5EF4-FFF2-40B4-BE49-F238E27FC236}">
                      <a16:creationId xmlns:a16="http://schemas.microsoft.com/office/drawing/2014/main" id="{9D406E71-4D1C-4A8C-ADEC-D986D48A0119}"/>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64" name="Rechthoek 163">
                  <a:extLst>
                    <a:ext uri="{FF2B5EF4-FFF2-40B4-BE49-F238E27FC236}">
                      <a16:creationId xmlns:a16="http://schemas.microsoft.com/office/drawing/2014/main" id="{978BE961-D779-4EFB-BF6C-DA5CEAC8E143}"/>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65" name="Vrije vorm 145">
                  <a:extLst>
                    <a:ext uri="{FF2B5EF4-FFF2-40B4-BE49-F238E27FC236}">
                      <a16:creationId xmlns:a16="http://schemas.microsoft.com/office/drawing/2014/main" id="{F87F7311-262A-42F6-9709-F1374061C4A4}"/>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113" name="Groep 112">
              <a:extLst>
                <a:ext uri="{FF2B5EF4-FFF2-40B4-BE49-F238E27FC236}">
                  <a16:creationId xmlns:a16="http://schemas.microsoft.com/office/drawing/2014/main" id="{A84A6835-4868-4D12-B114-13ACAD1F6374}"/>
                </a:ext>
              </a:extLst>
            </p:cNvPr>
            <p:cNvGrpSpPr/>
            <p:nvPr userDrawn="1"/>
          </p:nvGrpSpPr>
          <p:grpSpPr>
            <a:xfrm>
              <a:off x="-2095303" y="1071657"/>
              <a:ext cx="435437" cy="427699"/>
              <a:chOff x="-1845083" y="758027"/>
              <a:chExt cx="633800" cy="622540"/>
            </a:xfrm>
          </p:grpSpPr>
          <p:sp>
            <p:nvSpPr>
              <p:cNvPr id="140" name="Afgeronde rechthoek 120">
                <a:extLst>
                  <a:ext uri="{FF2B5EF4-FFF2-40B4-BE49-F238E27FC236}">
                    <a16:creationId xmlns:a16="http://schemas.microsoft.com/office/drawing/2014/main" id="{9AC74125-4825-416C-9526-29A6B31751BC}"/>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141" name="Groep 140">
                <a:extLst>
                  <a:ext uri="{FF2B5EF4-FFF2-40B4-BE49-F238E27FC236}">
                    <a16:creationId xmlns:a16="http://schemas.microsoft.com/office/drawing/2014/main" id="{C6DDABB0-D2D9-4A44-9413-16E7102E6E8B}"/>
                  </a:ext>
                </a:extLst>
              </p:cNvPr>
              <p:cNvGrpSpPr/>
              <p:nvPr userDrawn="1"/>
            </p:nvGrpSpPr>
            <p:grpSpPr>
              <a:xfrm>
                <a:off x="-1737766" y="864082"/>
                <a:ext cx="419166" cy="410430"/>
                <a:chOff x="3708400" y="309013"/>
                <a:chExt cx="1901295" cy="1861668"/>
              </a:xfrm>
              <a:solidFill>
                <a:schemeClr val="tx1"/>
              </a:solidFill>
            </p:grpSpPr>
            <p:sp>
              <p:nvSpPr>
                <p:cNvPr id="142" name="Rechthoek 141">
                  <a:extLst>
                    <a:ext uri="{FF2B5EF4-FFF2-40B4-BE49-F238E27FC236}">
                      <a16:creationId xmlns:a16="http://schemas.microsoft.com/office/drawing/2014/main" id="{12632132-8613-4E87-85A5-F41C579A52FE}"/>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3" name="Rechthoek 142">
                  <a:extLst>
                    <a:ext uri="{FF2B5EF4-FFF2-40B4-BE49-F238E27FC236}">
                      <a16:creationId xmlns:a16="http://schemas.microsoft.com/office/drawing/2014/main" id="{76826A4E-52F8-481C-8C1D-B0D10E72149B}"/>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4" name="Rechthoek 143">
                  <a:extLst>
                    <a:ext uri="{FF2B5EF4-FFF2-40B4-BE49-F238E27FC236}">
                      <a16:creationId xmlns:a16="http://schemas.microsoft.com/office/drawing/2014/main" id="{35AFD29A-2DF7-4273-A25E-4A9E46FD2A83}"/>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5" name="Rechthoek 144">
                  <a:extLst>
                    <a:ext uri="{FF2B5EF4-FFF2-40B4-BE49-F238E27FC236}">
                      <a16:creationId xmlns:a16="http://schemas.microsoft.com/office/drawing/2014/main" id="{AEF76C68-47CB-46DE-B15F-D130B61DE645}"/>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6" name="Rechthoek 145">
                  <a:extLst>
                    <a:ext uri="{FF2B5EF4-FFF2-40B4-BE49-F238E27FC236}">
                      <a16:creationId xmlns:a16="http://schemas.microsoft.com/office/drawing/2014/main" id="{5B8109EB-AB09-4B03-BA10-5AF1D4BE33B3}"/>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7" name="Rechthoek 146">
                  <a:extLst>
                    <a:ext uri="{FF2B5EF4-FFF2-40B4-BE49-F238E27FC236}">
                      <a16:creationId xmlns:a16="http://schemas.microsoft.com/office/drawing/2014/main" id="{38CFCF73-F095-4744-AF64-5D79C98B6601}"/>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8" name="Rechthoek 147">
                  <a:extLst>
                    <a:ext uri="{FF2B5EF4-FFF2-40B4-BE49-F238E27FC236}">
                      <a16:creationId xmlns:a16="http://schemas.microsoft.com/office/drawing/2014/main" id="{F992C992-63E7-422E-B62E-BDC024A880E5}"/>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9" name="Rechthoek 148">
                  <a:extLst>
                    <a:ext uri="{FF2B5EF4-FFF2-40B4-BE49-F238E27FC236}">
                      <a16:creationId xmlns:a16="http://schemas.microsoft.com/office/drawing/2014/main" id="{FC874549-608F-483B-A700-3A4B081CB4C1}"/>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50" name="Rechthoek 149">
                  <a:extLst>
                    <a:ext uri="{FF2B5EF4-FFF2-40B4-BE49-F238E27FC236}">
                      <a16:creationId xmlns:a16="http://schemas.microsoft.com/office/drawing/2014/main" id="{0ECAFFD4-1582-4135-96AB-FDDDE4531C60}"/>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51" name="Rechthoek 150">
                  <a:extLst>
                    <a:ext uri="{FF2B5EF4-FFF2-40B4-BE49-F238E27FC236}">
                      <a16:creationId xmlns:a16="http://schemas.microsoft.com/office/drawing/2014/main" id="{E92CD45E-6DA5-4D4C-95C5-77B4F2F469CB}"/>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52" name="Vrije vorm 132">
                  <a:extLst>
                    <a:ext uri="{FF2B5EF4-FFF2-40B4-BE49-F238E27FC236}">
                      <a16:creationId xmlns:a16="http://schemas.microsoft.com/office/drawing/2014/main" id="{EA2C2729-53DE-4A7D-942F-1770AEAE95AB}"/>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114" name="Rechte verbindingslijn 113">
              <a:extLst>
                <a:ext uri="{FF2B5EF4-FFF2-40B4-BE49-F238E27FC236}">
                  <a16:creationId xmlns:a16="http://schemas.microsoft.com/office/drawing/2014/main" id="{C114421A-4F73-4760-A02C-BB6716A14ABF}"/>
                </a:ext>
              </a:extLst>
            </p:cNvPr>
            <p:cNvCxnSpPr>
              <a:stCxn id="116" idx="2"/>
              <a:endCxn id="140"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6058CAAD-4D57-4D92-99EE-542D8FDE05E1}"/>
                </a:ext>
              </a:extLst>
            </p:cNvPr>
            <p:cNvCxnSpPr>
              <a:stCxn id="117" idx="3"/>
              <a:endCxn id="153"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16" name="Ovaal 115">
              <a:extLst>
                <a:ext uri="{FF2B5EF4-FFF2-40B4-BE49-F238E27FC236}">
                  <a16:creationId xmlns:a16="http://schemas.microsoft.com/office/drawing/2014/main" id="{CB7D1E89-193B-4428-9851-7047413D779F}"/>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7" name="Ovaal 116">
              <a:extLst>
                <a:ext uri="{FF2B5EF4-FFF2-40B4-BE49-F238E27FC236}">
                  <a16:creationId xmlns:a16="http://schemas.microsoft.com/office/drawing/2014/main" id="{54483A6A-E871-4616-9514-368D3109BC77}"/>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8" name="Textfield placeholder">
              <a:extLst>
                <a:ext uri="{FF2B5EF4-FFF2-40B4-BE49-F238E27FC236}">
                  <a16:creationId xmlns:a16="http://schemas.microsoft.com/office/drawing/2014/main" id="{4DEAEBE3-2350-4E9A-A1A1-4746E6F0C50F}"/>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119" name="Textfield placeholder">
              <a:extLst>
                <a:ext uri="{FF2B5EF4-FFF2-40B4-BE49-F238E27FC236}">
                  <a16:creationId xmlns:a16="http://schemas.microsoft.com/office/drawing/2014/main" id="{B01301EB-437E-431D-BCDE-6F890E10B967}"/>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120" name="Ovaal 119">
              <a:extLst>
                <a:ext uri="{FF2B5EF4-FFF2-40B4-BE49-F238E27FC236}">
                  <a16:creationId xmlns:a16="http://schemas.microsoft.com/office/drawing/2014/main" id="{D90B1836-1996-4046-8FBF-2BAF839F9417}"/>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121" name="Ovaal 120">
              <a:extLst>
                <a:ext uri="{FF2B5EF4-FFF2-40B4-BE49-F238E27FC236}">
                  <a16:creationId xmlns:a16="http://schemas.microsoft.com/office/drawing/2014/main" id="{BDC753EE-466E-46E5-B3C7-6CC6A2997E7C}"/>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122" name="Ovaal 121">
              <a:extLst>
                <a:ext uri="{FF2B5EF4-FFF2-40B4-BE49-F238E27FC236}">
                  <a16:creationId xmlns:a16="http://schemas.microsoft.com/office/drawing/2014/main" id="{40A62AFE-7780-407D-89BF-261EFD274313}"/>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123" name="Ovaal 122">
              <a:extLst>
                <a:ext uri="{FF2B5EF4-FFF2-40B4-BE49-F238E27FC236}">
                  <a16:creationId xmlns:a16="http://schemas.microsoft.com/office/drawing/2014/main" id="{C41CECCE-1763-48BC-B808-04EE06B0E58E}"/>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124" name="Ovaal 123">
              <a:extLst>
                <a:ext uri="{FF2B5EF4-FFF2-40B4-BE49-F238E27FC236}">
                  <a16:creationId xmlns:a16="http://schemas.microsoft.com/office/drawing/2014/main" id="{631960FA-4152-4DCA-BCAA-26F169BCFA5A}"/>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125" name="Textfield placeholder">
              <a:extLst>
                <a:ext uri="{FF2B5EF4-FFF2-40B4-BE49-F238E27FC236}">
                  <a16:creationId xmlns:a16="http://schemas.microsoft.com/office/drawing/2014/main" id="{D8931F4A-6ADA-427B-8AFF-8DEEBC1DECE3}"/>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126" name="Textfield placeholder">
              <a:extLst>
                <a:ext uri="{FF2B5EF4-FFF2-40B4-BE49-F238E27FC236}">
                  <a16:creationId xmlns:a16="http://schemas.microsoft.com/office/drawing/2014/main" id="{72374A48-F7F6-4FBC-A647-DBBB4943D7B2}"/>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127" name="Textfield placeholder">
              <a:extLst>
                <a:ext uri="{FF2B5EF4-FFF2-40B4-BE49-F238E27FC236}">
                  <a16:creationId xmlns:a16="http://schemas.microsoft.com/office/drawing/2014/main" id="{01A55C4E-AAF4-4564-985A-36C79ABD3586}"/>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128" name="Textfield placeholder">
              <a:extLst>
                <a:ext uri="{FF2B5EF4-FFF2-40B4-BE49-F238E27FC236}">
                  <a16:creationId xmlns:a16="http://schemas.microsoft.com/office/drawing/2014/main" id="{7865872B-E0C9-4A77-ADA7-490AD96DF080}"/>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129" name="Textfield placeholder">
              <a:extLst>
                <a:ext uri="{FF2B5EF4-FFF2-40B4-BE49-F238E27FC236}">
                  <a16:creationId xmlns:a16="http://schemas.microsoft.com/office/drawing/2014/main" id="{7E00E944-5D02-4E45-B6F0-C2C14FE03FD4}"/>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130" name="Groep 129">
              <a:extLst>
                <a:ext uri="{FF2B5EF4-FFF2-40B4-BE49-F238E27FC236}">
                  <a16:creationId xmlns:a16="http://schemas.microsoft.com/office/drawing/2014/main" id="{C8DBD1C9-BF3F-4037-B0CE-A5B5D34988CF}"/>
                </a:ext>
              </a:extLst>
            </p:cNvPr>
            <p:cNvGrpSpPr/>
            <p:nvPr userDrawn="1"/>
          </p:nvGrpSpPr>
          <p:grpSpPr>
            <a:xfrm>
              <a:off x="-950342" y="1837957"/>
              <a:ext cx="687412" cy="3758146"/>
              <a:chOff x="-740196" y="1837957"/>
              <a:chExt cx="1374825" cy="3758146"/>
            </a:xfrm>
          </p:grpSpPr>
          <p:sp>
            <p:nvSpPr>
              <p:cNvPr id="131" name="Textfield placeholder">
                <a:extLst>
                  <a:ext uri="{FF2B5EF4-FFF2-40B4-BE49-F238E27FC236}">
                    <a16:creationId xmlns:a16="http://schemas.microsoft.com/office/drawing/2014/main" id="{2CA0FC5C-F30A-4AE9-9675-17C17744327E}"/>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132" name="Textfield placeholder">
                <a:extLst>
                  <a:ext uri="{FF2B5EF4-FFF2-40B4-BE49-F238E27FC236}">
                    <a16:creationId xmlns:a16="http://schemas.microsoft.com/office/drawing/2014/main" id="{8AE87A44-DA57-4250-91DF-47734F6E1AB8}"/>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133" name="Textfield placeholder">
                <a:extLst>
                  <a:ext uri="{FF2B5EF4-FFF2-40B4-BE49-F238E27FC236}">
                    <a16:creationId xmlns:a16="http://schemas.microsoft.com/office/drawing/2014/main" id="{C00EA6B9-F63A-40D6-93EA-C8F1F4D6317B}"/>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134" name="Textfield placeholder">
                <a:extLst>
                  <a:ext uri="{FF2B5EF4-FFF2-40B4-BE49-F238E27FC236}">
                    <a16:creationId xmlns:a16="http://schemas.microsoft.com/office/drawing/2014/main" id="{80322E76-C98B-4E1E-8645-2EB8EFD88AF4}"/>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135" name="Textfield placeholder">
                <a:extLst>
                  <a:ext uri="{FF2B5EF4-FFF2-40B4-BE49-F238E27FC236}">
                    <a16:creationId xmlns:a16="http://schemas.microsoft.com/office/drawing/2014/main" id="{525B62B3-8687-4353-8EC7-2A1E32488459}"/>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136" name="Textfield placeholder">
                <a:extLst>
                  <a:ext uri="{FF2B5EF4-FFF2-40B4-BE49-F238E27FC236}">
                    <a16:creationId xmlns:a16="http://schemas.microsoft.com/office/drawing/2014/main" id="{0B4931CA-E588-44CD-B757-2233239F5899}"/>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137" name="Textfield placeholder">
                <a:extLst>
                  <a:ext uri="{FF2B5EF4-FFF2-40B4-BE49-F238E27FC236}">
                    <a16:creationId xmlns:a16="http://schemas.microsoft.com/office/drawing/2014/main" id="{A29A2891-333B-4134-918B-DD913BB1A846}"/>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138" name="Textfield placeholder">
                <a:extLst>
                  <a:ext uri="{FF2B5EF4-FFF2-40B4-BE49-F238E27FC236}">
                    <a16:creationId xmlns:a16="http://schemas.microsoft.com/office/drawing/2014/main" id="{8D6A39BB-FE2C-4FF1-8766-F34670F2131A}"/>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139" name="Textfield placeholder">
                <a:extLst>
                  <a:ext uri="{FF2B5EF4-FFF2-40B4-BE49-F238E27FC236}">
                    <a16:creationId xmlns:a16="http://schemas.microsoft.com/office/drawing/2014/main" id="{F57ECBC9-BEC5-4CA5-802F-C0DAAC9CD923}"/>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sp>
        <p:nvSpPr>
          <p:cNvPr id="8" name="Rechthoek 7"/>
          <p:cNvSpPr/>
          <p:nvPr userDrawn="1"/>
        </p:nvSpPr>
        <p:spPr>
          <a:xfrm>
            <a:off x="0" y="1420284"/>
            <a:ext cx="4760397" cy="456205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p>
        </p:txBody>
      </p:sp>
      <p:sp>
        <p:nvSpPr>
          <p:cNvPr id="2" name="Titel 1"/>
          <p:cNvSpPr>
            <a:spLocks noGrp="1"/>
          </p:cNvSpPr>
          <p:nvPr>
            <p:ph type="title"/>
          </p:nvPr>
        </p:nvSpPr>
        <p:spPr/>
        <p:txBody>
          <a:bodyPr/>
          <a:lstStyle/>
          <a:p>
            <a:r>
              <a:rPr lang="nl-NL"/>
              <a:t>Klik om stijl te bewerken</a:t>
            </a:r>
            <a:endParaRPr lang="en-GB" dirty="0"/>
          </a:p>
        </p:txBody>
      </p:sp>
      <p:sp>
        <p:nvSpPr>
          <p:cNvPr id="3" name="Tijdelijke aanduiding voor verticale tekst 2"/>
          <p:cNvSpPr>
            <a:spLocks noGrp="1"/>
          </p:cNvSpPr>
          <p:nvPr>
            <p:ph type="body" orient="vert" idx="1"/>
          </p:nvPr>
        </p:nvSpPr>
        <p:spPr>
          <a:xfrm>
            <a:off x="5232986" y="1420283"/>
            <a:ext cx="6962189" cy="4562043"/>
          </a:xfrm>
        </p:spPr>
        <p:txBody>
          <a:bodyPr vert="horz"/>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10"/>
          </p:nvPr>
        </p:nvSpPr>
        <p:spPr/>
        <p:txBody>
          <a:bodyPr/>
          <a:lstStyle/>
          <a:p>
            <a:fld id="{662BFC33-EA6A-4BE6-B30D-34691790B35E}"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endParaRPr lang="en-GB" dirty="0"/>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ijdelijke aanduiding voor afbeelding 2"/>
          <p:cNvSpPr>
            <a:spLocks noGrp="1"/>
          </p:cNvSpPr>
          <p:nvPr>
            <p:ph type="pic" idx="13"/>
          </p:nvPr>
        </p:nvSpPr>
        <p:spPr>
          <a:xfrm>
            <a:off x="0" y="1415168"/>
            <a:ext cx="4760397" cy="4562242"/>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en-GB"/>
          </a:p>
        </p:txBody>
      </p:sp>
      <p:sp>
        <p:nvSpPr>
          <p:cNvPr id="11" name="Tekstvak 10"/>
          <p:cNvSpPr txBox="1"/>
          <p:nvPr userDrawn="1"/>
        </p:nvSpPr>
        <p:spPr>
          <a:xfrm>
            <a:off x="0" y="-521614"/>
            <a:ext cx="4268791" cy="469107"/>
          </a:xfrm>
          <a:prstGeom prst="rect">
            <a:avLst/>
          </a:prstGeom>
          <a:noFill/>
        </p:spPr>
        <p:txBody>
          <a:bodyPr wrap="square" rtlCol="0" anchor="b">
            <a:noAutofit/>
          </a:bodyPr>
          <a:lstStyle/>
          <a:p>
            <a:r>
              <a:rPr lang="nl-NL" sz="1333" b="0" dirty="0">
                <a:solidFill>
                  <a:schemeClr val="accent6"/>
                </a:solidFill>
                <a:latin typeface="+mj-lt"/>
              </a:rPr>
              <a:t>Tekst Rechts + afbeelding (S) + onderschrift</a:t>
            </a:r>
          </a:p>
        </p:txBody>
      </p:sp>
      <p:sp>
        <p:nvSpPr>
          <p:cNvPr id="96" name="Tijdelijke aanduiding voor verticale tekst 2">
            <a:extLst>
              <a:ext uri="{FF2B5EF4-FFF2-40B4-BE49-F238E27FC236}">
                <a16:creationId xmlns:a16="http://schemas.microsoft.com/office/drawing/2014/main" id="{F32D35C2-4BBC-4596-B56E-EBA243EDE08D}"/>
              </a:ext>
            </a:extLst>
          </p:cNvPr>
          <p:cNvSpPr>
            <a:spLocks noGrp="1"/>
          </p:cNvSpPr>
          <p:nvPr>
            <p:ph type="body" orient="vert" idx="16" hasCustomPrompt="1"/>
          </p:nvPr>
        </p:nvSpPr>
        <p:spPr>
          <a:xfrm>
            <a:off x="-3" y="5469200"/>
            <a:ext cx="4760399" cy="508016"/>
          </a:xfrm>
          <a:solidFill>
            <a:schemeClr val="accent2"/>
          </a:solidFill>
        </p:spPr>
        <p:txBody>
          <a:bodyPr vert="horz" lIns="216000" tIns="36000" rIns="216000" bIns="0" anchor="ctr"/>
          <a:lstStyle>
            <a:lvl1pPr algn="r">
              <a:defRPr sz="1800" b="0">
                <a:solidFill>
                  <a:schemeClr val="tx2"/>
                </a:solidFill>
              </a:defRPr>
            </a:lvl1pPr>
          </a:lstStyle>
          <a:p>
            <a:pPr lvl="0"/>
            <a:r>
              <a:rPr lang="nl-NL" dirty="0"/>
              <a:t>Onderschrift</a:t>
            </a:r>
          </a:p>
        </p:txBody>
      </p:sp>
    </p:spTree>
    <p:extLst>
      <p:ext uri="{BB962C8B-B14F-4D97-AF65-F5344CB8AC3E}">
        <p14:creationId xmlns:p14="http://schemas.microsoft.com/office/powerpoint/2010/main" val="1342236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fbeelding (4:3) (geel)">
    <p:spTree>
      <p:nvGrpSpPr>
        <p:cNvPr id="1" name=""/>
        <p:cNvGrpSpPr/>
        <p:nvPr/>
      </p:nvGrpSpPr>
      <p:grpSpPr>
        <a:xfrm>
          <a:off x="0" y="0"/>
          <a:ext cx="0" cy="0"/>
          <a:chOff x="0" y="0"/>
          <a:chExt cx="0" cy="0"/>
        </a:xfrm>
      </p:grpSpPr>
      <p:sp>
        <p:nvSpPr>
          <p:cNvPr id="23" name="Afgeronde rechthoek 7">
            <a:extLst>
              <a:ext uri="{FF2B5EF4-FFF2-40B4-BE49-F238E27FC236}">
                <a16:creationId xmlns:a16="http://schemas.microsoft.com/office/drawing/2014/main" id="{9E686FF5-BE1E-475E-BC37-372393A83A53}"/>
              </a:ext>
            </a:extLst>
          </p:cNvPr>
          <p:cNvSpPr/>
          <p:nvPr userDrawn="1"/>
        </p:nvSpPr>
        <p:spPr>
          <a:xfrm>
            <a:off x="-1538" y="-1824"/>
            <a:ext cx="9529768" cy="6859823"/>
          </a:xfrm>
          <a:custGeom>
            <a:avLst/>
            <a:gdLst>
              <a:gd name="connsiteX0" fmla="*/ 0 w 12195175"/>
              <a:gd name="connsiteY0" fmla="*/ 95258 h 6858000"/>
              <a:gd name="connsiteX1" fmla="*/ 95258 w 12195175"/>
              <a:gd name="connsiteY1" fmla="*/ 0 h 6858000"/>
              <a:gd name="connsiteX2" fmla="*/ 12099917 w 12195175"/>
              <a:gd name="connsiteY2" fmla="*/ 0 h 6858000"/>
              <a:gd name="connsiteX3" fmla="*/ 12195175 w 12195175"/>
              <a:gd name="connsiteY3" fmla="*/ 95258 h 6858000"/>
              <a:gd name="connsiteX4" fmla="*/ 12195175 w 12195175"/>
              <a:gd name="connsiteY4" fmla="*/ 6762742 h 6858000"/>
              <a:gd name="connsiteX5" fmla="*/ 12099917 w 12195175"/>
              <a:gd name="connsiteY5" fmla="*/ 6858000 h 6858000"/>
              <a:gd name="connsiteX6" fmla="*/ 95258 w 12195175"/>
              <a:gd name="connsiteY6" fmla="*/ 6858000 h 6858000"/>
              <a:gd name="connsiteX7" fmla="*/ 0 w 12195175"/>
              <a:gd name="connsiteY7" fmla="*/ 6762742 h 6858000"/>
              <a:gd name="connsiteX8" fmla="*/ 0 w 12195175"/>
              <a:gd name="connsiteY8" fmla="*/ 95258 h 6858000"/>
              <a:gd name="connsiteX0" fmla="*/ 0 w 12195175"/>
              <a:gd name="connsiteY0" fmla="*/ 118634 h 6881376"/>
              <a:gd name="connsiteX1" fmla="*/ 95258 w 12195175"/>
              <a:gd name="connsiteY1" fmla="*/ 23376 h 6881376"/>
              <a:gd name="connsiteX2" fmla="*/ 12099917 w 12195175"/>
              <a:gd name="connsiteY2" fmla="*/ 23376 h 6881376"/>
              <a:gd name="connsiteX3" fmla="*/ 12195175 w 12195175"/>
              <a:gd name="connsiteY3" fmla="*/ 23384 h 6881376"/>
              <a:gd name="connsiteX4" fmla="*/ 12195175 w 12195175"/>
              <a:gd name="connsiteY4" fmla="*/ 6786118 h 6881376"/>
              <a:gd name="connsiteX5" fmla="*/ 12099917 w 12195175"/>
              <a:gd name="connsiteY5" fmla="*/ 6881376 h 6881376"/>
              <a:gd name="connsiteX6" fmla="*/ 95258 w 12195175"/>
              <a:gd name="connsiteY6" fmla="*/ 6881376 h 6881376"/>
              <a:gd name="connsiteX7" fmla="*/ 0 w 12195175"/>
              <a:gd name="connsiteY7" fmla="*/ 6786118 h 6881376"/>
              <a:gd name="connsiteX8" fmla="*/ 0 w 12195175"/>
              <a:gd name="connsiteY8" fmla="*/ 118634 h 6881376"/>
              <a:gd name="connsiteX0" fmla="*/ 0 w 13021588"/>
              <a:gd name="connsiteY0" fmla="*/ 596245 h 7358987"/>
              <a:gd name="connsiteX1" fmla="*/ 95258 w 13021588"/>
              <a:gd name="connsiteY1" fmla="*/ 500987 h 7358987"/>
              <a:gd name="connsiteX2" fmla="*/ 12099917 w 13021588"/>
              <a:gd name="connsiteY2" fmla="*/ 500987 h 7358987"/>
              <a:gd name="connsiteX3" fmla="*/ 12195175 w 13021588"/>
              <a:gd name="connsiteY3" fmla="*/ 500995 h 7358987"/>
              <a:gd name="connsiteX4" fmla="*/ 12195175 w 13021588"/>
              <a:gd name="connsiteY4" fmla="*/ 7263729 h 7358987"/>
              <a:gd name="connsiteX5" fmla="*/ 12099917 w 13021588"/>
              <a:gd name="connsiteY5" fmla="*/ 7358987 h 7358987"/>
              <a:gd name="connsiteX6" fmla="*/ 95258 w 13021588"/>
              <a:gd name="connsiteY6" fmla="*/ 7358987 h 7358987"/>
              <a:gd name="connsiteX7" fmla="*/ 0 w 13021588"/>
              <a:gd name="connsiteY7" fmla="*/ 7263729 h 7358987"/>
              <a:gd name="connsiteX8" fmla="*/ 0 w 13021588"/>
              <a:gd name="connsiteY8" fmla="*/ 596245 h 7358987"/>
              <a:gd name="connsiteX0" fmla="*/ 0 w 12195175"/>
              <a:gd name="connsiteY0" fmla="*/ 95258 h 6858000"/>
              <a:gd name="connsiteX1" fmla="*/ 95258 w 12195175"/>
              <a:gd name="connsiteY1" fmla="*/ 0 h 6858000"/>
              <a:gd name="connsiteX2" fmla="*/ 12195175 w 12195175"/>
              <a:gd name="connsiteY2" fmla="*/ 8 h 6858000"/>
              <a:gd name="connsiteX3" fmla="*/ 12195175 w 12195175"/>
              <a:gd name="connsiteY3" fmla="*/ 6762742 h 6858000"/>
              <a:gd name="connsiteX4" fmla="*/ 12099917 w 12195175"/>
              <a:gd name="connsiteY4" fmla="*/ 6858000 h 6858000"/>
              <a:gd name="connsiteX5" fmla="*/ 95258 w 12195175"/>
              <a:gd name="connsiteY5" fmla="*/ 6858000 h 6858000"/>
              <a:gd name="connsiteX6" fmla="*/ 0 w 12195175"/>
              <a:gd name="connsiteY6" fmla="*/ 6762742 h 6858000"/>
              <a:gd name="connsiteX7" fmla="*/ 0 w 12195175"/>
              <a:gd name="connsiteY7" fmla="*/ 95258 h 6858000"/>
              <a:gd name="connsiteX0" fmla="*/ 0 w 12213415"/>
              <a:gd name="connsiteY0" fmla="*/ 95258 h 6858000"/>
              <a:gd name="connsiteX1" fmla="*/ 95258 w 12213415"/>
              <a:gd name="connsiteY1" fmla="*/ 0 h 6858000"/>
              <a:gd name="connsiteX2" fmla="*/ 12195175 w 12213415"/>
              <a:gd name="connsiteY2" fmla="*/ 8 h 6858000"/>
              <a:gd name="connsiteX3" fmla="*/ 12195175 w 12213415"/>
              <a:gd name="connsiteY3" fmla="*/ 6762742 h 6858000"/>
              <a:gd name="connsiteX4" fmla="*/ 12188023 w 12213415"/>
              <a:gd name="connsiteY4" fmla="*/ 6858000 h 6858000"/>
              <a:gd name="connsiteX5" fmla="*/ 95258 w 12213415"/>
              <a:gd name="connsiteY5" fmla="*/ 6858000 h 6858000"/>
              <a:gd name="connsiteX6" fmla="*/ 0 w 12213415"/>
              <a:gd name="connsiteY6" fmla="*/ 6762742 h 6858000"/>
              <a:gd name="connsiteX7" fmla="*/ 0 w 12213415"/>
              <a:gd name="connsiteY7" fmla="*/ 95258 h 6858000"/>
              <a:gd name="connsiteX0" fmla="*/ 0 w 13085932"/>
              <a:gd name="connsiteY0" fmla="*/ 95258 h 7296671"/>
              <a:gd name="connsiteX1" fmla="*/ 95258 w 13085932"/>
              <a:gd name="connsiteY1" fmla="*/ 0 h 7296671"/>
              <a:gd name="connsiteX2" fmla="*/ 12195175 w 13085932"/>
              <a:gd name="connsiteY2" fmla="*/ 8 h 7296671"/>
              <a:gd name="connsiteX3" fmla="*/ 12195175 w 13085932"/>
              <a:gd name="connsiteY3" fmla="*/ 6762742 h 7296671"/>
              <a:gd name="connsiteX4" fmla="*/ 12188023 w 13085932"/>
              <a:gd name="connsiteY4" fmla="*/ 6858000 h 7296671"/>
              <a:gd name="connsiteX5" fmla="*/ 95258 w 13085932"/>
              <a:gd name="connsiteY5" fmla="*/ 6858000 h 7296671"/>
              <a:gd name="connsiteX6" fmla="*/ 0 w 13085932"/>
              <a:gd name="connsiteY6" fmla="*/ 6762742 h 7296671"/>
              <a:gd name="connsiteX7" fmla="*/ 0 w 13085932"/>
              <a:gd name="connsiteY7" fmla="*/ 95258 h 7296671"/>
              <a:gd name="connsiteX0" fmla="*/ 0 w 12195175"/>
              <a:gd name="connsiteY0" fmla="*/ 95258 h 6858000"/>
              <a:gd name="connsiteX1" fmla="*/ 95258 w 12195175"/>
              <a:gd name="connsiteY1" fmla="*/ 0 h 6858000"/>
              <a:gd name="connsiteX2" fmla="*/ 12195175 w 12195175"/>
              <a:gd name="connsiteY2" fmla="*/ 8 h 6858000"/>
              <a:gd name="connsiteX3" fmla="*/ 12188023 w 12195175"/>
              <a:gd name="connsiteY3" fmla="*/ 6858000 h 6858000"/>
              <a:gd name="connsiteX4" fmla="*/ 95258 w 12195175"/>
              <a:gd name="connsiteY4" fmla="*/ 6858000 h 6858000"/>
              <a:gd name="connsiteX5" fmla="*/ 0 w 12195175"/>
              <a:gd name="connsiteY5" fmla="*/ 6762742 h 6858000"/>
              <a:gd name="connsiteX6" fmla="*/ 0 w 12195175"/>
              <a:gd name="connsiteY6" fmla="*/ 95258 h 6858000"/>
              <a:gd name="connsiteX0" fmla="*/ 0 w 13092080"/>
              <a:gd name="connsiteY0" fmla="*/ 602898 h 7365640"/>
              <a:gd name="connsiteX1" fmla="*/ 95258 w 13092080"/>
              <a:gd name="connsiteY1" fmla="*/ 507640 h 7365640"/>
              <a:gd name="connsiteX2" fmla="*/ 12195175 w 13092080"/>
              <a:gd name="connsiteY2" fmla="*/ 507648 h 7365640"/>
              <a:gd name="connsiteX3" fmla="*/ 12197548 w 13092080"/>
              <a:gd name="connsiteY3" fmla="*/ 7360878 h 7365640"/>
              <a:gd name="connsiteX4" fmla="*/ 95258 w 13092080"/>
              <a:gd name="connsiteY4" fmla="*/ 7365640 h 7365640"/>
              <a:gd name="connsiteX5" fmla="*/ 0 w 13092080"/>
              <a:gd name="connsiteY5" fmla="*/ 7270382 h 7365640"/>
              <a:gd name="connsiteX6" fmla="*/ 0 w 13092080"/>
              <a:gd name="connsiteY6" fmla="*/ 602898 h 7365640"/>
              <a:gd name="connsiteX0" fmla="*/ 0 w 13091286"/>
              <a:gd name="connsiteY0" fmla="*/ 603074 h 7365816"/>
              <a:gd name="connsiteX1" fmla="*/ 95258 w 13091286"/>
              <a:gd name="connsiteY1" fmla="*/ 507816 h 7365816"/>
              <a:gd name="connsiteX2" fmla="*/ 12195175 w 13091286"/>
              <a:gd name="connsiteY2" fmla="*/ 507824 h 7365816"/>
              <a:gd name="connsiteX3" fmla="*/ 12195167 w 13091286"/>
              <a:gd name="connsiteY3" fmla="*/ 7363435 h 7365816"/>
              <a:gd name="connsiteX4" fmla="*/ 95258 w 13091286"/>
              <a:gd name="connsiteY4" fmla="*/ 7365816 h 7365816"/>
              <a:gd name="connsiteX5" fmla="*/ 0 w 13091286"/>
              <a:gd name="connsiteY5" fmla="*/ 7270558 h 7365816"/>
              <a:gd name="connsiteX6" fmla="*/ 0 w 13091286"/>
              <a:gd name="connsiteY6" fmla="*/ 603074 h 7365816"/>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2202311"/>
              <a:gd name="connsiteY0" fmla="*/ 489460 h 7252202"/>
              <a:gd name="connsiteX1" fmla="*/ 95258 w 12202311"/>
              <a:gd name="connsiteY1" fmla="*/ 394202 h 7252202"/>
              <a:gd name="connsiteX2" fmla="*/ 12195175 w 12202311"/>
              <a:gd name="connsiteY2" fmla="*/ 394210 h 7252202"/>
              <a:gd name="connsiteX3" fmla="*/ 12202311 w 12202311"/>
              <a:gd name="connsiteY3" fmla="*/ 7252202 h 7252202"/>
              <a:gd name="connsiteX4" fmla="*/ 95258 w 12202311"/>
              <a:gd name="connsiteY4" fmla="*/ 7252202 h 7252202"/>
              <a:gd name="connsiteX5" fmla="*/ 0 w 12202311"/>
              <a:gd name="connsiteY5" fmla="*/ 7156944 h 7252202"/>
              <a:gd name="connsiteX6" fmla="*/ 0 w 12202311"/>
              <a:gd name="connsiteY6" fmla="*/ 489460 h 7252202"/>
              <a:gd name="connsiteX0" fmla="*/ 0 w 12202311"/>
              <a:gd name="connsiteY0" fmla="*/ 489460 h 7252202"/>
              <a:gd name="connsiteX1" fmla="*/ 95258 w 12202311"/>
              <a:gd name="connsiteY1" fmla="*/ 394202 h 7252202"/>
              <a:gd name="connsiteX2" fmla="*/ 12195175 w 12202311"/>
              <a:gd name="connsiteY2" fmla="*/ 394210 h 7252202"/>
              <a:gd name="connsiteX3" fmla="*/ 12202311 w 12202311"/>
              <a:gd name="connsiteY3" fmla="*/ 7252202 h 7252202"/>
              <a:gd name="connsiteX4" fmla="*/ 95258 w 12202311"/>
              <a:gd name="connsiteY4" fmla="*/ 7252202 h 7252202"/>
              <a:gd name="connsiteX5" fmla="*/ 0 w 12202311"/>
              <a:gd name="connsiteY5" fmla="*/ 7156944 h 7252202"/>
              <a:gd name="connsiteX6" fmla="*/ 0 w 12202311"/>
              <a:gd name="connsiteY6" fmla="*/ 489460 h 7252202"/>
              <a:gd name="connsiteX0" fmla="*/ 0 w 12202311"/>
              <a:gd name="connsiteY0" fmla="*/ 95258 h 6858000"/>
              <a:gd name="connsiteX1" fmla="*/ 95258 w 12202311"/>
              <a:gd name="connsiteY1" fmla="*/ 0 h 6858000"/>
              <a:gd name="connsiteX2" fmla="*/ 12195175 w 12202311"/>
              <a:gd name="connsiteY2" fmla="*/ 8 h 6858000"/>
              <a:gd name="connsiteX3" fmla="*/ 12202311 w 12202311"/>
              <a:gd name="connsiteY3" fmla="*/ 6858000 h 6858000"/>
              <a:gd name="connsiteX4" fmla="*/ 95258 w 12202311"/>
              <a:gd name="connsiteY4" fmla="*/ 6858000 h 6858000"/>
              <a:gd name="connsiteX5" fmla="*/ 0 w 12202311"/>
              <a:gd name="connsiteY5" fmla="*/ 6762742 h 6858000"/>
              <a:gd name="connsiteX6" fmla="*/ 0 w 12202311"/>
              <a:gd name="connsiteY6" fmla="*/ 95258 h 6858000"/>
              <a:gd name="connsiteX0" fmla="*/ 0 w 12205862"/>
              <a:gd name="connsiteY0" fmla="*/ 789969 h 7552711"/>
              <a:gd name="connsiteX1" fmla="*/ 95258 w 12205862"/>
              <a:gd name="connsiteY1" fmla="*/ 694711 h 7552711"/>
              <a:gd name="connsiteX2" fmla="*/ 12195175 w 12205862"/>
              <a:gd name="connsiteY2" fmla="*/ 694719 h 7552711"/>
              <a:gd name="connsiteX3" fmla="*/ 12202311 w 12205862"/>
              <a:gd name="connsiteY3" fmla="*/ 7552711 h 7552711"/>
              <a:gd name="connsiteX4" fmla="*/ 95258 w 12205862"/>
              <a:gd name="connsiteY4" fmla="*/ 7552711 h 7552711"/>
              <a:gd name="connsiteX5" fmla="*/ 0 w 12205862"/>
              <a:gd name="connsiteY5" fmla="*/ 7457453 h 7552711"/>
              <a:gd name="connsiteX6" fmla="*/ 0 w 12205862"/>
              <a:gd name="connsiteY6" fmla="*/ 789969 h 7552711"/>
              <a:gd name="connsiteX0" fmla="*/ 0 w 12205862"/>
              <a:gd name="connsiteY0" fmla="*/ 789969 h 7552711"/>
              <a:gd name="connsiteX1" fmla="*/ 95258 w 12205862"/>
              <a:gd name="connsiteY1" fmla="*/ 694711 h 7552711"/>
              <a:gd name="connsiteX2" fmla="*/ 12195175 w 12205862"/>
              <a:gd name="connsiteY2" fmla="*/ 694719 h 7552711"/>
              <a:gd name="connsiteX3" fmla="*/ 12202311 w 12205862"/>
              <a:gd name="connsiteY3" fmla="*/ 7552711 h 7552711"/>
              <a:gd name="connsiteX4" fmla="*/ 95258 w 12205862"/>
              <a:gd name="connsiteY4" fmla="*/ 7552711 h 7552711"/>
              <a:gd name="connsiteX5" fmla="*/ 0 w 12205862"/>
              <a:gd name="connsiteY5" fmla="*/ 7457453 h 7552711"/>
              <a:gd name="connsiteX6" fmla="*/ 0 w 12205862"/>
              <a:gd name="connsiteY6" fmla="*/ 789969 h 7552711"/>
              <a:gd name="connsiteX0" fmla="*/ 0 w 12639103"/>
              <a:gd name="connsiteY0" fmla="*/ 620131 h 7382873"/>
              <a:gd name="connsiteX1" fmla="*/ 95258 w 12639103"/>
              <a:gd name="connsiteY1" fmla="*/ 524873 h 7382873"/>
              <a:gd name="connsiteX2" fmla="*/ 12195175 w 12639103"/>
              <a:gd name="connsiteY2" fmla="*/ 524881 h 7382873"/>
              <a:gd name="connsiteX3" fmla="*/ 12202311 w 12639103"/>
              <a:gd name="connsiteY3" fmla="*/ 7382873 h 7382873"/>
              <a:gd name="connsiteX4" fmla="*/ 95258 w 12639103"/>
              <a:gd name="connsiteY4" fmla="*/ 7382873 h 7382873"/>
              <a:gd name="connsiteX5" fmla="*/ 0 w 12639103"/>
              <a:gd name="connsiteY5" fmla="*/ 7287615 h 7382873"/>
              <a:gd name="connsiteX6" fmla="*/ 0 w 12639103"/>
              <a:gd name="connsiteY6" fmla="*/ 620131 h 7382873"/>
              <a:gd name="connsiteX0" fmla="*/ 0 w 12639103"/>
              <a:gd name="connsiteY0" fmla="*/ 620131 h 7382873"/>
              <a:gd name="connsiteX1" fmla="*/ 95258 w 12639103"/>
              <a:gd name="connsiteY1" fmla="*/ 524873 h 7382873"/>
              <a:gd name="connsiteX2" fmla="*/ 12195175 w 12639103"/>
              <a:gd name="connsiteY2" fmla="*/ 524881 h 7382873"/>
              <a:gd name="connsiteX3" fmla="*/ 12202311 w 12639103"/>
              <a:gd name="connsiteY3" fmla="*/ 7382873 h 7382873"/>
              <a:gd name="connsiteX4" fmla="*/ 95258 w 12639103"/>
              <a:gd name="connsiteY4" fmla="*/ 7382873 h 7382873"/>
              <a:gd name="connsiteX5" fmla="*/ 0 w 12639103"/>
              <a:gd name="connsiteY5" fmla="*/ 7287615 h 7382873"/>
              <a:gd name="connsiteX6" fmla="*/ 0 w 12639103"/>
              <a:gd name="connsiteY6" fmla="*/ 620131 h 7382873"/>
              <a:gd name="connsiteX0" fmla="*/ 0 w 12837278"/>
              <a:gd name="connsiteY0" fmla="*/ 165206 h 6927948"/>
              <a:gd name="connsiteX1" fmla="*/ 95258 w 12837278"/>
              <a:gd name="connsiteY1" fmla="*/ 69948 h 6927948"/>
              <a:gd name="connsiteX2" fmla="*/ 12195175 w 12837278"/>
              <a:gd name="connsiteY2" fmla="*/ 69956 h 6927948"/>
              <a:gd name="connsiteX3" fmla="*/ 12202311 w 12837278"/>
              <a:gd name="connsiteY3" fmla="*/ 6927948 h 6927948"/>
              <a:gd name="connsiteX4" fmla="*/ 95258 w 12837278"/>
              <a:gd name="connsiteY4" fmla="*/ 6927948 h 6927948"/>
              <a:gd name="connsiteX5" fmla="*/ 0 w 12837278"/>
              <a:gd name="connsiteY5" fmla="*/ 6832690 h 6927948"/>
              <a:gd name="connsiteX6" fmla="*/ 0 w 12837278"/>
              <a:gd name="connsiteY6" fmla="*/ 165206 h 6927948"/>
              <a:gd name="connsiteX0" fmla="*/ 0 w 12837278"/>
              <a:gd name="connsiteY0" fmla="*/ 165206 h 6927948"/>
              <a:gd name="connsiteX1" fmla="*/ 95258 w 12837278"/>
              <a:gd name="connsiteY1" fmla="*/ 69948 h 6927948"/>
              <a:gd name="connsiteX2" fmla="*/ 12195175 w 12837278"/>
              <a:gd name="connsiteY2" fmla="*/ 69956 h 6927948"/>
              <a:gd name="connsiteX3" fmla="*/ 12202311 w 12837278"/>
              <a:gd name="connsiteY3" fmla="*/ 6927948 h 6927948"/>
              <a:gd name="connsiteX4" fmla="*/ 95258 w 12837278"/>
              <a:gd name="connsiteY4" fmla="*/ 6927948 h 6927948"/>
              <a:gd name="connsiteX5" fmla="*/ 0 w 12837278"/>
              <a:gd name="connsiteY5" fmla="*/ 6832690 h 6927948"/>
              <a:gd name="connsiteX6" fmla="*/ 0 w 12837278"/>
              <a:gd name="connsiteY6" fmla="*/ 165206 h 6927948"/>
              <a:gd name="connsiteX0" fmla="*/ 0 w 12837278"/>
              <a:gd name="connsiteY0" fmla="*/ 165206 h 6927948"/>
              <a:gd name="connsiteX1" fmla="*/ 95258 w 12837278"/>
              <a:gd name="connsiteY1" fmla="*/ 69948 h 6927948"/>
              <a:gd name="connsiteX2" fmla="*/ 12195175 w 12837278"/>
              <a:gd name="connsiteY2" fmla="*/ 69956 h 6927948"/>
              <a:gd name="connsiteX3" fmla="*/ 12202311 w 12837278"/>
              <a:gd name="connsiteY3" fmla="*/ 6927948 h 6927948"/>
              <a:gd name="connsiteX4" fmla="*/ 95258 w 12837278"/>
              <a:gd name="connsiteY4" fmla="*/ 6927948 h 6927948"/>
              <a:gd name="connsiteX5" fmla="*/ 0 w 12837278"/>
              <a:gd name="connsiteY5" fmla="*/ 6832690 h 6927948"/>
              <a:gd name="connsiteX6" fmla="*/ 0 w 12837278"/>
              <a:gd name="connsiteY6" fmla="*/ 165206 h 6927948"/>
              <a:gd name="connsiteX0" fmla="*/ 0 w 12202311"/>
              <a:gd name="connsiteY0" fmla="*/ 165206 h 6927948"/>
              <a:gd name="connsiteX1" fmla="*/ 95258 w 12202311"/>
              <a:gd name="connsiteY1" fmla="*/ 69948 h 6927948"/>
              <a:gd name="connsiteX2" fmla="*/ 12195175 w 12202311"/>
              <a:gd name="connsiteY2" fmla="*/ 69956 h 6927948"/>
              <a:gd name="connsiteX3" fmla="*/ 12202311 w 12202311"/>
              <a:gd name="connsiteY3" fmla="*/ 6927948 h 6927948"/>
              <a:gd name="connsiteX4" fmla="*/ 95258 w 12202311"/>
              <a:gd name="connsiteY4" fmla="*/ 6927948 h 6927948"/>
              <a:gd name="connsiteX5" fmla="*/ 0 w 12202311"/>
              <a:gd name="connsiteY5" fmla="*/ 6832690 h 6927948"/>
              <a:gd name="connsiteX6" fmla="*/ 0 w 12202311"/>
              <a:gd name="connsiteY6" fmla="*/ 165206 h 6927948"/>
              <a:gd name="connsiteX0" fmla="*/ 0 w 12202311"/>
              <a:gd name="connsiteY0" fmla="*/ 95258 h 6858000"/>
              <a:gd name="connsiteX1" fmla="*/ 95258 w 12202311"/>
              <a:gd name="connsiteY1" fmla="*/ 0 h 6858000"/>
              <a:gd name="connsiteX2" fmla="*/ 12195175 w 12202311"/>
              <a:gd name="connsiteY2" fmla="*/ 8 h 6858000"/>
              <a:gd name="connsiteX3" fmla="*/ 12202311 w 12202311"/>
              <a:gd name="connsiteY3" fmla="*/ 6858000 h 6858000"/>
              <a:gd name="connsiteX4" fmla="*/ 95258 w 12202311"/>
              <a:gd name="connsiteY4" fmla="*/ 6858000 h 6858000"/>
              <a:gd name="connsiteX5" fmla="*/ 0 w 12202311"/>
              <a:gd name="connsiteY5" fmla="*/ 6762742 h 6858000"/>
              <a:gd name="connsiteX6" fmla="*/ 0 w 12202311"/>
              <a:gd name="connsiteY6" fmla="*/ 95258 h 6858000"/>
              <a:gd name="connsiteX0" fmla="*/ 0 w 12202311"/>
              <a:gd name="connsiteY0" fmla="*/ 95258 h 6858000"/>
              <a:gd name="connsiteX1" fmla="*/ 95258 w 12202311"/>
              <a:gd name="connsiteY1" fmla="*/ 0 h 6858000"/>
              <a:gd name="connsiteX2" fmla="*/ 12195175 w 12202311"/>
              <a:gd name="connsiteY2" fmla="*/ 8 h 6858000"/>
              <a:gd name="connsiteX3" fmla="*/ 12202311 w 12202311"/>
              <a:gd name="connsiteY3" fmla="*/ 6858000 h 6858000"/>
              <a:gd name="connsiteX4" fmla="*/ 95258 w 12202311"/>
              <a:gd name="connsiteY4" fmla="*/ 6858000 h 6858000"/>
              <a:gd name="connsiteX5" fmla="*/ 0 w 12202311"/>
              <a:gd name="connsiteY5" fmla="*/ 6762742 h 6858000"/>
              <a:gd name="connsiteX6" fmla="*/ 0 w 12202311"/>
              <a:gd name="connsiteY6" fmla="*/ 95258 h 6858000"/>
              <a:gd name="connsiteX0" fmla="*/ 0 w 12202311"/>
              <a:gd name="connsiteY0" fmla="*/ 95258 h 6858000"/>
              <a:gd name="connsiteX1" fmla="*/ 95258 w 12202311"/>
              <a:gd name="connsiteY1" fmla="*/ 0 h 6858000"/>
              <a:gd name="connsiteX2" fmla="*/ 12195175 w 12202311"/>
              <a:gd name="connsiteY2" fmla="*/ 8 h 6858000"/>
              <a:gd name="connsiteX3" fmla="*/ 12202311 w 12202311"/>
              <a:gd name="connsiteY3" fmla="*/ 6858000 h 6858000"/>
              <a:gd name="connsiteX4" fmla="*/ 95258 w 12202311"/>
              <a:gd name="connsiteY4" fmla="*/ 6858000 h 6858000"/>
              <a:gd name="connsiteX5" fmla="*/ 0 w 12202311"/>
              <a:gd name="connsiteY5" fmla="*/ 6762742 h 6858000"/>
              <a:gd name="connsiteX6" fmla="*/ 0 w 12202311"/>
              <a:gd name="connsiteY6" fmla="*/ 95258 h 6858000"/>
              <a:gd name="connsiteX0" fmla="*/ 0 w 13012739"/>
              <a:gd name="connsiteY0" fmla="*/ 95258 h 7364588"/>
              <a:gd name="connsiteX1" fmla="*/ 95258 w 13012739"/>
              <a:gd name="connsiteY1" fmla="*/ 0 h 7364588"/>
              <a:gd name="connsiteX2" fmla="*/ 11922125 w 13012739"/>
              <a:gd name="connsiteY2" fmla="*/ 19058 h 7364588"/>
              <a:gd name="connsiteX3" fmla="*/ 12202311 w 13012739"/>
              <a:gd name="connsiteY3" fmla="*/ 6858000 h 7364588"/>
              <a:gd name="connsiteX4" fmla="*/ 95258 w 13012739"/>
              <a:gd name="connsiteY4" fmla="*/ 6858000 h 7364588"/>
              <a:gd name="connsiteX5" fmla="*/ 0 w 13012739"/>
              <a:gd name="connsiteY5" fmla="*/ 6762742 h 7364588"/>
              <a:gd name="connsiteX6" fmla="*/ 0 w 13012739"/>
              <a:gd name="connsiteY6" fmla="*/ 95258 h 7364588"/>
              <a:gd name="connsiteX0" fmla="*/ 0 w 13169364"/>
              <a:gd name="connsiteY0" fmla="*/ 228600 h 7509219"/>
              <a:gd name="connsiteX1" fmla="*/ 95258 w 13169364"/>
              <a:gd name="connsiteY1" fmla="*/ 133342 h 7509219"/>
              <a:gd name="connsiteX2" fmla="*/ 12398375 w 13169364"/>
              <a:gd name="connsiteY2" fmla="*/ 0 h 7509219"/>
              <a:gd name="connsiteX3" fmla="*/ 12202311 w 13169364"/>
              <a:gd name="connsiteY3" fmla="*/ 6991342 h 7509219"/>
              <a:gd name="connsiteX4" fmla="*/ 95258 w 13169364"/>
              <a:gd name="connsiteY4" fmla="*/ 6991342 h 7509219"/>
              <a:gd name="connsiteX5" fmla="*/ 0 w 13169364"/>
              <a:gd name="connsiteY5" fmla="*/ 6896084 h 7509219"/>
              <a:gd name="connsiteX6" fmla="*/ 0 w 13169364"/>
              <a:gd name="connsiteY6" fmla="*/ 228600 h 7509219"/>
              <a:gd name="connsiteX0" fmla="*/ 0 w 12911670"/>
              <a:gd name="connsiteY0" fmla="*/ 95258 h 7325547"/>
              <a:gd name="connsiteX1" fmla="*/ 95258 w 12911670"/>
              <a:gd name="connsiteY1" fmla="*/ 0 h 7325547"/>
              <a:gd name="connsiteX2" fmla="*/ 11553825 w 12911670"/>
              <a:gd name="connsiteY2" fmla="*/ 546108 h 7325547"/>
              <a:gd name="connsiteX3" fmla="*/ 12202311 w 12911670"/>
              <a:gd name="connsiteY3" fmla="*/ 6858000 h 7325547"/>
              <a:gd name="connsiteX4" fmla="*/ 95258 w 12911670"/>
              <a:gd name="connsiteY4" fmla="*/ 6858000 h 7325547"/>
              <a:gd name="connsiteX5" fmla="*/ 0 w 12911670"/>
              <a:gd name="connsiteY5" fmla="*/ 6762742 h 7325547"/>
              <a:gd name="connsiteX6" fmla="*/ 0 w 12911670"/>
              <a:gd name="connsiteY6" fmla="*/ 95258 h 7325547"/>
              <a:gd name="connsiteX0" fmla="*/ 0 w 13100634"/>
              <a:gd name="connsiteY0" fmla="*/ 95258 h 7365999"/>
              <a:gd name="connsiteX1" fmla="*/ 95258 w 13100634"/>
              <a:gd name="connsiteY1" fmla="*/ 0 h 7365999"/>
              <a:gd name="connsiteX2" fmla="*/ 12201525 w 13100634"/>
              <a:gd name="connsiteY2" fmla="*/ 8 h 7365999"/>
              <a:gd name="connsiteX3" fmla="*/ 12202311 w 13100634"/>
              <a:gd name="connsiteY3" fmla="*/ 6858000 h 7365999"/>
              <a:gd name="connsiteX4" fmla="*/ 95258 w 13100634"/>
              <a:gd name="connsiteY4" fmla="*/ 6858000 h 7365999"/>
              <a:gd name="connsiteX5" fmla="*/ 0 w 13100634"/>
              <a:gd name="connsiteY5" fmla="*/ 6762742 h 7365999"/>
              <a:gd name="connsiteX6" fmla="*/ 0 w 13100634"/>
              <a:gd name="connsiteY6" fmla="*/ 95258 h 7365999"/>
              <a:gd name="connsiteX0" fmla="*/ 0 w 12205175"/>
              <a:gd name="connsiteY0" fmla="*/ 95258 h 7365999"/>
              <a:gd name="connsiteX1" fmla="*/ 95258 w 12205175"/>
              <a:gd name="connsiteY1" fmla="*/ 0 h 7365999"/>
              <a:gd name="connsiteX2" fmla="*/ 12201525 w 12205175"/>
              <a:gd name="connsiteY2" fmla="*/ 8 h 7365999"/>
              <a:gd name="connsiteX3" fmla="*/ 12202311 w 12205175"/>
              <a:gd name="connsiteY3" fmla="*/ 6858000 h 7365999"/>
              <a:gd name="connsiteX4" fmla="*/ 95258 w 12205175"/>
              <a:gd name="connsiteY4" fmla="*/ 6858000 h 7365999"/>
              <a:gd name="connsiteX5" fmla="*/ 0 w 12205175"/>
              <a:gd name="connsiteY5" fmla="*/ 6762742 h 7365999"/>
              <a:gd name="connsiteX6" fmla="*/ 0 w 12205175"/>
              <a:gd name="connsiteY6" fmla="*/ 95258 h 7365999"/>
              <a:gd name="connsiteX0" fmla="*/ 0 w 12205175"/>
              <a:gd name="connsiteY0" fmla="*/ 95258 h 6858000"/>
              <a:gd name="connsiteX1" fmla="*/ 95258 w 12205175"/>
              <a:gd name="connsiteY1" fmla="*/ 0 h 6858000"/>
              <a:gd name="connsiteX2" fmla="*/ 12201525 w 12205175"/>
              <a:gd name="connsiteY2" fmla="*/ 8 h 6858000"/>
              <a:gd name="connsiteX3" fmla="*/ 12202311 w 12205175"/>
              <a:gd name="connsiteY3" fmla="*/ 6858000 h 6858000"/>
              <a:gd name="connsiteX4" fmla="*/ 95258 w 12205175"/>
              <a:gd name="connsiteY4" fmla="*/ 6858000 h 6858000"/>
              <a:gd name="connsiteX5" fmla="*/ 0 w 12205175"/>
              <a:gd name="connsiteY5" fmla="*/ 6762742 h 6858000"/>
              <a:gd name="connsiteX6" fmla="*/ 0 w 12205175"/>
              <a:gd name="connsiteY6" fmla="*/ 95258 h 6858000"/>
              <a:gd name="connsiteX0" fmla="*/ 0 w 12205175"/>
              <a:gd name="connsiteY0" fmla="*/ 95258 h 6858000"/>
              <a:gd name="connsiteX1" fmla="*/ 95258 w 12205175"/>
              <a:gd name="connsiteY1" fmla="*/ 0 h 6858000"/>
              <a:gd name="connsiteX2" fmla="*/ 12201525 w 12205175"/>
              <a:gd name="connsiteY2" fmla="*/ 8 h 6858000"/>
              <a:gd name="connsiteX3" fmla="*/ 12202311 w 12205175"/>
              <a:gd name="connsiteY3" fmla="*/ 6858000 h 6858000"/>
              <a:gd name="connsiteX4" fmla="*/ 95258 w 12205175"/>
              <a:gd name="connsiteY4" fmla="*/ 6858000 h 6858000"/>
              <a:gd name="connsiteX5" fmla="*/ 0 w 12205175"/>
              <a:gd name="connsiteY5" fmla="*/ 6762742 h 6858000"/>
              <a:gd name="connsiteX6" fmla="*/ 0 w 12205175"/>
              <a:gd name="connsiteY6" fmla="*/ 95258 h 6858000"/>
              <a:gd name="connsiteX0" fmla="*/ 0 w 12201542"/>
              <a:gd name="connsiteY0" fmla="*/ 95258 h 6858000"/>
              <a:gd name="connsiteX1" fmla="*/ 95258 w 12201542"/>
              <a:gd name="connsiteY1" fmla="*/ 0 h 6858000"/>
              <a:gd name="connsiteX2" fmla="*/ 12201525 w 12201542"/>
              <a:gd name="connsiteY2" fmla="*/ 8 h 6858000"/>
              <a:gd name="connsiteX3" fmla="*/ 9527477 w 12201542"/>
              <a:gd name="connsiteY3" fmla="*/ 6858000 h 6858000"/>
              <a:gd name="connsiteX4" fmla="*/ 95258 w 12201542"/>
              <a:gd name="connsiteY4" fmla="*/ 6858000 h 6858000"/>
              <a:gd name="connsiteX5" fmla="*/ 0 w 12201542"/>
              <a:gd name="connsiteY5" fmla="*/ 6762742 h 6858000"/>
              <a:gd name="connsiteX6" fmla="*/ 0 w 12201542"/>
              <a:gd name="connsiteY6" fmla="*/ 95258 h 6858000"/>
              <a:gd name="connsiteX0" fmla="*/ 0 w 9527477"/>
              <a:gd name="connsiteY0" fmla="*/ 103795 h 6866537"/>
              <a:gd name="connsiteX1" fmla="*/ 95258 w 9527477"/>
              <a:gd name="connsiteY1" fmla="*/ 8537 h 6866537"/>
              <a:gd name="connsiteX2" fmla="*/ 9518146 w 9527477"/>
              <a:gd name="connsiteY2" fmla="*/ 0 h 6866537"/>
              <a:gd name="connsiteX3" fmla="*/ 9527477 w 9527477"/>
              <a:gd name="connsiteY3" fmla="*/ 6866537 h 6866537"/>
              <a:gd name="connsiteX4" fmla="*/ 95258 w 9527477"/>
              <a:gd name="connsiteY4" fmla="*/ 6866537 h 6866537"/>
              <a:gd name="connsiteX5" fmla="*/ 0 w 9527477"/>
              <a:gd name="connsiteY5" fmla="*/ 6771279 h 6866537"/>
              <a:gd name="connsiteX6" fmla="*/ 0 w 9527477"/>
              <a:gd name="connsiteY6" fmla="*/ 103795 h 6866537"/>
              <a:gd name="connsiteX0" fmla="*/ 0 w 9527477"/>
              <a:gd name="connsiteY0" fmla="*/ 95258 h 6858000"/>
              <a:gd name="connsiteX1" fmla="*/ 95258 w 9527477"/>
              <a:gd name="connsiteY1" fmla="*/ 0 h 6858000"/>
              <a:gd name="connsiteX2" fmla="*/ 9236459 w 9527477"/>
              <a:gd name="connsiteY2" fmla="*/ 99804 h 6858000"/>
              <a:gd name="connsiteX3" fmla="*/ 9527477 w 9527477"/>
              <a:gd name="connsiteY3" fmla="*/ 6858000 h 6858000"/>
              <a:gd name="connsiteX4" fmla="*/ 95258 w 9527477"/>
              <a:gd name="connsiteY4" fmla="*/ 6858000 h 6858000"/>
              <a:gd name="connsiteX5" fmla="*/ 0 w 9527477"/>
              <a:gd name="connsiteY5" fmla="*/ 6762742 h 6858000"/>
              <a:gd name="connsiteX6" fmla="*/ 0 w 9527477"/>
              <a:gd name="connsiteY6" fmla="*/ 95258 h 6858000"/>
              <a:gd name="connsiteX0" fmla="*/ 0 w 9527477"/>
              <a:gd name="connsiteY0" fmla="*/ 95258 h 6858000"/>
              <a:gd name="connsiteX1" fmla="*/ 95258 w 9527477"/>
              <a:gd name="connsiteY1" fmla="*/ 0 h 6858000"/>
              <a:gd name="connsiteX2" fmla="*/ 9440140 w 9527477"/>
              <a:gd name="connsiteY2" fmla="*/ 39133 h 6858000"/>
              <a:gd name="connsiteX3" fmla="*/ 9527477 w 9527477"/>
              <a:gd name="connsiteY3" fmla="*/ 6858000 h 6858000"/>
              <a:gd name="connsiteX4" fmla="*/ 95258 w 9527477"/>
              <a:gd name="connsiteY4" fmla="*/ 6858000 h 6858000"/>
              <a:gd name="connsiteX5" fmla="*/ 0 w 9527477"/>
              <a:gd name="connsiteY5" fmla="*/ 6762742 h 6858000"/>
              <a:gd name="connsiteX6" fmla="*/ 0 w 9527477"/>
              <a:gd name="connsiteY6" fmla="*/ 95258 h 6858000"/>
              <a:gd name="connsiteX0" fmla="*/ 0 w 9527477"/>
              <a:gd name="connsiteY0" fmla="*/ 99461 h 6862203"/>
              <a:gd name="connsiteX1" fmla="*/ 95258 w 9527477"/>
              <a:gd name="connsiteY1" fmla="*/ 4203 h 6862203"/>
              <a:gd name="connsiteX2" fmla="*/ 9518146 w 9527477"/>
              <a:gd name="connsiteY2" fmla="*/ 0 h 6862203"/>
              <a:gd name="connsiteX3" fmla="*/ 9527477 w 9527477"/>
              <a:gd name="connsiteY3" fmla="*/ 6862203 h 6862203"/>
              <a:gd name="connsiteX4" fmla="*/ 95258 w 9527477"/>
              <a:gd name="connsiteY4" fmla="*/ 6862203 h 6862203"/>
              <a:gd name="connsiteX5" fmla="*/ 0 w 9527477"/>
              <a:gd name="connsiteY5" fmla="*/ 6766945 h 6862203"/>
              <a:gd name="connsiteX6" fmla="*/ 0 w 9527477"/>
              <a:gd name="connsiteY6" fmla="*/ 99461 h 6862203"/>
              <a:gd name="connsiteX0" fmla="*/ 0 w 9518600"/>
              <a:gd name="connsiteY0" fmla="*/ 99461 h 6862203"/>
              <a:gd name="connsiteX1" fmla="*/ 95258 w 9518600"/>
              <a:gd name="connsiteY1" fmla="*/ 4203 h 6862203"/>
              <a:gd name="connsiteX2" fmla="*/ 9518146 w 9518600"/>
              <a:gd name="connsiteY2" fmla="*/ 0 h 6862203"/>
              <a:gd name="connsiteX3" fmla="*/ 9427804 w 9518600"/>
              <a:gd name="connsiteY3" fmla="*/ 6862203 h 6862203"/>
              <a:gd name="connsiteX4" fmla="*/ 95258 w 9518600"/>
              <a:gd name="connsiteY4" fmla="*/ 6862203 h 6862203"/>
              <a:gd name="connsiteX5" fmla="*/ 0 w 9518600"/>
              <a:gd name="connsiteY5" fmla="*/ 6766945 h 6862203"/>
              <a:gd name="connsiteX6" fmla="*/ 0 w 9518600"/>
              <a:gd name="connsiteY6" fmla="*/ 99461 h 6862203"/>
              <a:gd name="connsiteX0" fmla="*/ 0 w 9521762"/>
              <a:gd name="connsiteY0" fmla="*/ 99461 h 6862203"/>
              <a:gd name="connsiteX1" fmla="*/ 95258 w 9521762"/>
              <a:gd name="connsiteY1" fmla="*/ 4203 h 6862203"/>
              <a:gd name="connsiteX2" fmla="*/ 9518146 w 9521762"/>
              <a:gd name="connsiteY2" fmla="*/ 0 h 6862203"/>
              <a:gd name="connsiteX3" fmla="*/ 9518810 w 9521762"/>
              <a:gd name="connsiteY3" fmla="*/ 6862203 h 6862203"/>
              <a:gd name="connsiteX4" fmla="*/ 95258 w 9521762"/>
              <a:gd name="connsiteY4" fmla="*/ 6862203 h 6862203"/>
              <a:gd name="connsiteX5" fmla="*/ 0 w 9521762"/>
              <a:gd name="connsiteY5" fmla="*/ 6766945 h 6862203"/>
              <a:gd name="connsiteX6" fmla="*/ 0 w 9521762"/>
              <a:gd name="connsiteY6" fmla="*/ 99461 h 6862203"/>
              <a:gd name="connsiteX0" fmla="*/ 0 w 9531950"/>
              <a:gd name="connsiteY0" fmla="*/ 199474 h 6962216"/>
              <a:gd name="connsiteX1" fmla="*/ 95258 w 9531950"/>
              <a:gd name="connsiteY1" fmla="*/ 104216 h 6962216"/>
              <a:gd name="connsiteX2" fmla="*/ 9530053 w 9531950"/>
              <a:gd name="connsiteY2" fmla="*/ 0 h 6962216"/>
              <a:gd name="connsiteX3" fmla="*/ 9518810 w 9531950"/>
              <a:gd name="connsiteY3" fmla="*/ 6962216 h 6962216"/>
              <a:gd name="connsiteX4" fmla="*/ 95258 w 9531950"/>
              <a:gd name="connsiteY4" fmla="*/ 6962216 h 6962216"/>
              <a:gd name="connsiteX5" fmla="*/ 0 w 9531950"/>
              <a:gd name="connsiteY5" fmla="*/ 6866958 h 6962216"/>
              <a:gd name="connsiteX6" fmla="*/ 0 w 9531950"/>
              <a:gd name="connsiteY6" fmla="*/ 199474 h 6962216"/>
              <a:gd name="connsiteX0" fmla="*/ 0 w 9518810"/>
              <a:gd name="connsiteY0" fmla="*/ 95258 h 6858000"/>
              <a:gd name="connsiteX1" fmla="*/ 95258 w 9518810"/>
              <a:gd name="connsiteY1" fmla="*/ 0 h 6858000"/>
              <a:gd name="connsiteX2" fmla="*/ 9470521 w 9518810"/>
              <a:gd name="connsiteY2" fmla="*/ 126766 h 6858000"/>
              <a:gd name="connsiteX3" fmla="*/ 9518810 w 9518810"/>
              <a:gd name="connsiteY3" fmla="*/ 6858000 h 6858000"/>
              <a:gd name="connsiteX4" fmla="*/ 95258 w 9518810"/>
              <a:gd name="connsiteY4" fmla="*/ 6858000 h 6858000"/>
              <a:gd name="connsiteX5" fmla="*/ 0 w 9518810"/>
              <a:gd name="connsiteY5" fmla="*/ 6762742 h 6858000"/>
              <a:gd name="connsiteX6" fmla="*/ 0 w 9518810"/>
              <a:gd name="connsiteY6" fmla="*/ 95258 h 6858000"/>
              <a:gd name="connsiteX0" fmla="*/ 0 w 9529768"/>
              <a:gd name="connsiteY0" fmla="*/ 97080 h 6859822"/>
              <a:gd name="connsiteX1" fmla="*/ 95258 w 9529768"/>
              <a:gd name="connsiteY1" fmla="*/ 1822 h 6859822"/>
              <a:gd name="connsiteX2" fmla="*/ 9527671 w 9529768"/>
              <a:gd name="connsiteY2" fmla="*/ 0 h 6859822"/>
              <a:gd name="connsiteX3" fmla="*/ 9518810 w 9529768"/>
              <a:gd name="connsiteY3" fmla="*/ 6859822 h 6859822"/>
              <a:gd name="connsiteX4" fmla="*/ 95258 w 9529768"/>
              <a:gd name="connsiteY4" fmla="*/ 6859822 h 6859822"/>
              <a:gd name="connsiteX5" fmla="*/ 0 w 9529768"/>
              <a:gd name="connsiteY5" fmla="*/ 6764564 h 6859822"/>
              <a:gd name="connsiteX6" fmla="*/ 0 w 9529768"/>
              <a:gd name="connsiteY6" fmla="*/ 97080 h 6859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9768" h="6859822">
                <a:moveTo>
                  <a:pt x="0" y="97080"/>
                </a:moveTo>
                <a:cubicBezTo>
                  <a:pt x="0" y="44470"/>
                  <a:pt x="42648" y="1822"/>
                  <a:pt x="95258" y="1822"/>
                </a:cubicBezTo>
                <a:lnTo>
                  <a:pt x="9527671" y="0"/>
                </a:lnTo>
                <a:cubicBezTo>
                  <a:pt x="9535612" y="2407049"/>
                  <a:pt x="9518417" y="3430826"/>
                  <a:pt x="9518810" y="6859822"/>
                </a:cubicBezTo>
                <a:lnTo>
                  <a:pt x="95258" y="6859822"/>
                </a:lnTo>
                <a:cubicBezTo>
                  <a:pt x="42648" y="6859822"/>
                  <a:pt x="0" y="6817174"/>
                  <a:pt x="0" y="6764564"/>
                </a:cubicBezTo>
                <a:lnTo>
                  <a:pt x="0" y="97080"/>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tel 1"/>
          <p:cNvSpPr>
            <a:spLocks noGrp="1"/>
          </p:cNvSpPr>
          <p:nvPr>
            <p:ph type="title"/>
          </p:nvPr>
        </p:nvSpPr>
        <p:spPr>
          <a:xfrm>
            <a:off x="2863515" y="-710349"/>
            <a:ext cx="8859071" cy="648000"/>
          </a:xfrm>
        </p:spPr>
        <p:txBody>
          <a:bodyPr anchor="b"/>
          <a:lstStyle>
            <a:lvl1pPr algn="r">
              <a:defRPr/>
            </a:lvl1pPr>
          </a:lstStyle>
          <a:p>
            <a:r>
              <a:rPr lang="nl-NL"/>
              <a:t>Klik om stijl te bewerken</a:t>
            </a:r>
            <a:endParaRPr lang="en-GB" dirty="0"/>
          </a:p>
        </p:txBody>
      </p:sp>
      <p:sp>
        <p:nvSpPr>
          <p:cNvPr id="10" name="Tekstvak 9"/>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Afbeelding (XXL)</a:t>
            </a:r>
          </a:p>
        </p:txBody>
      </p:sp>
      <p:grpSp>
        <p:nvGrpSpPr>
          <p:cNvPr id="49" name="Groep 48">
            <a:extLst>
              <a:ext uri="{FF2B5EF4-FFF2-40B4-BE49-F238E27FC236}">
                <a16:creationId xmlns:a16="http://schemas.microsoft.com/office/drawing/2014/main" id="{1CB86391-C3A1-48A9-83A9-CDA9762F1594}"/>
              </a:ext>
            </a:extLst>
          </p:cNvPr>
          <p:cNvGrpSpPr/>
          <p:nvPr userDrawn="1"/>
        </p:nvGrpSpPr>
        <p:grpSpPr>
          <a:xfrm>
            <a:off x="12363871" y="-26002"/>
            <a:ext cx="3064812" cy="4530930"/>
            <a:chOff x="15419739" y="-26002"/>
            <a:chExt cx="3064812" cy="4530930"/>
          </a:xfrm>
        </p:grpSpPr>
        <p:sp>
          <p:nvSpPr>
            <p:cNvPr id="50" name="Tekstvak 33">
              <a:extLst>
                <a:ext uri="{FF2B5EF4-FFF2-40B4-BE49-F238E27FC236}">
                  <a16:creationId xmlns:a16="http://schemas.microsoft.com/office/drawing/2014/main" id="{2ADCA6F7-250E-4B72-B0DE-999BA8D650E9}"/>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51" name="Tekstvak 33">
              <a:extLst>
                <a:ext uri="{FF2B5EF4-FFF2-40B4-BE49-F238E27FC236}">
                  <a16:creationId xmlns:a16="http://schemas.microsoft.com/office/drawing/2014/main" id="{3D453C5E-479D-4F1D-9BFA-30110A165968}"/>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52" name="Ovaal 51">
              <a:extLst>
                <a:ext uri="{FF2B5EF4-FFF2-40B4-BE49-F238E27FC236}">
                  <a16:creationId xmlns:a16="http://schemas.microsoft.com/office/drawing/2014/main" id="{59F34422-D145-4BF6-A5D7-5A45F15882CF}"/>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53" name="Ovaal 52">
              <a:extLst>
                <a:ext uri="{FF2B5EF4-FFF2-40B4-BE49-F238E27FC236}">
                  <a16:creationId xmlns:a16="http://schemas.microsoft.com/office/drawing/2014/main" id="{4ADA4B64-59B4-479B-9F6E-5DE33E2E0DCC}"/>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54" name="Picture 3">
              <a:extLst>
                <a:ext uri="{FF2B5EF4-FFF2-40B4-BE49-F238E27FC236}">
                  <a16:creationId xmlns:a16="http://schemas.microsoft.com/office/drawing/2014/main" id="{10A71998-BA22-4DB3-B07F-8262582350FC}"/>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55" name="Picture 3">
              <a:extLst>
                <a:ext uri="{FF2B5EF4-FFF2-40B4-BE49-F238E27FC236}">
                  <a16:creationId xmlns:a16="http://schemas.microsoft.com/office/drawing/2014/main" id="{1267A3F0-F5E6-42C8-8255-B54664104A90}"/>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56" name="Tekstvak 55">
              <a:extLst>
                <a:ext uri="{FF2B5EF4-FFF2-40B4-BE49-F238E27FC236}">
                  <a16:creationId xmlns:a16="http://schemas.microsoft.com/office/drawing/2014/main" id="{5D1F6466-7E88-4C40-A76B-97C83D60BF13}"/>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57" name="Rechthoek 56">
              <a:extLst>
                <a:ext uri="{FF2B5EF4-FFF2-40B4-BE49-F238E27FC236}">
                  <a16:creationId xmlns:a16="http://schemas.microsoft.com/office/drawing/2014/main" id="{10BCE57B-8314-47AB-A6BE-574598C816CC}"/>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58" name="Groep 57">
              <a:extLst>
                <a:ext uri="{FF2B5EF4-FFF2-40B4-BE49-F238E27FC236}">
                  <a16:creationId xmlns:a16="http://schemas.microsoft.com/office/drawing/2014/main" id="{BB7B2A28-7AEE-40D5-9733-8D3A2C919095}"/>
                </a:ext>
              </a:extLst>
            </p:cNvPr>
            <p:cNvGrpSpPr/>
            <p:nvPr userDrawn="1"/>
          </p:nvGrpSpPr>
          <p:grpSpPr>
            <a:xfrm>
              <a:off x="15563079" y="358984"/>
              <a:ext cx="2489424" cy="4145944"/>
              <a:chOff x="15563079" y="358984"/>
              <a:chExt cx="2315772" cy="4145944"/>
            </a:xfrm>
          </p:grpSpPr>
          <p:cxnSp>
            <p:nvCxnSpPr>
              <p:cNvPr id="60" name="Rechte verbindingslijn 59">
                <a:extLst>
                  <a:ext uri="{FF2B5EF4-FFF2-40B4-BE49-F238E27FC236}">
                    <a16:creationId xmlns:a16="http://schemas.microsoft.com/office/drawing/2014/main" id="{01932068-E8F3-44CA-AA82-2D843012EC09}"/>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86E371A4-53F6-4D69-A675-664419DD843B}"/>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03719C9B-17A2-4360-8F5A-F299E9B3973B}"/>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59" name="Afbeelding 58">
              <a:extLst>
                <a:ext uri="{FF2B5EF4-FFF2-40B4-BE49-F238E27FC236}">
                  <a16:creationId xmlns:a16="http://schemas.microsoft.com/office/drawing/2014/main" id="{10AA9EE2-B9F0-4E48-B247-7B2A80B4D54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pic>
        <p:nvPicPr>
          <p:cNvPr id="12" name="Afbeelding 11">
            <a:extLst>
              <a:ext uri="{FF2B5EF4-FFF2-40B4-BE49-F238E27FC236}">
                <a16:creationId xmlns:a16="http://schemas.microsoft.com/office/drawing/2014/main" id="{B4D2D389-F56E-47FE-9C6D-2A7B53EF501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892888" y="5274334"/>
            <a:ext cx="1778595" cy="578317"/>
          </a:xfrm>
          <a:prstGeom prst="rect">
            <a:avLst/>
          </a:prstGeom>
        </p:spPr>
      </p:pic>
      <p:pic>
        <p:nvPicPr>
          <p:cNvPr id="14" name="Afbeelding 13">
            <a:extLst>
              <a:ext uri="{FF2B5EF4-FFF2-40B4-BE49-F238E27FC236}">
                <a16:creationId xmlns:a16="http://schemas.microsoft.com/office/drawing/2014/main" id="{3FC69205-9594-477F-BFFF-D9C3D9F4F27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34467" y="6147270"/>
            <a:ext cx="1778599" cy="578317"/>
          </a:xfrm>
          <a:prstGeom prst="rect">
            <a:avLst/>
          </a:prstGeom>
        </p:spPr>
      </p:pic>
      <p:pic>
        <p:nvPicPr>
          <p:cNvPr id="16" name="Afbeelding 15">
            <a:extLst>
              <a:ext uri="{FF2B5EF4-FFF2-40B4-BE49-F238E27FC236}">
                <a16:creationId xmlns:a16="http://schemas.microsoft.com/office/drawing/2014/main" id="{3CD5E66E-7135-4756-8E3E-FF84E48FD52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936848" y="3363418"/>
            <a:ext cx="1778595" cy="578316"/>
          </a:xfrm>
          <a:prstGeom prst="rect">
            <a:avLst/>
          </a:prstGeom>
        </p:spPr>
      </p:pic>
      <p:pic>
        <p:nvPicPr>
          <p:cNvPr id="9" name="Afbeelding 8">
            <a:extLst>
              <a:ext uri="{FF2B5EF4-FFF2-40B4-BE49-F238E27FC236}">
                <a16:creationId xmlns:a16="http://schemas.microsoft.com/office/drawing/2014/main" id="{221A9D0A-4E28-46E7-9C8A-15FF9CFEACE8}"/>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934467" y="4697933"/>
            <a:ext cx="1778595" cy="578316"/>
          </a:xfrm>
          <a:prstGeom prst="rect">
            <a:avLst/>
          </a:prstGeom>
        </p:spPr>
      </p:pic>
      <p:sp>
        <p:nvSpPr>
          <p:cNvPr id="7" name="Rechthoek 6">
            <a:extLst>
              <a:ext uri="{FF2B5EF4-FFF2-40B4-BE49-F238E27FC236}">
                <a16:creationId xmlns:a16="http://schemas.microsoft.com/office/drawing/2014/main" id="{96572EB2-87AA-47A6-9156-C3275FEA7BBC}"/>
              </a:ext>
            </a:extLst>
          </p:cNvPr>
          <p:cNvSpPr/>
          <p:nvPr userDrawn="1"/>
        </p:nvSpPr>
        <p:spPr>
          <a:xfrm>
            <a:off x="9520032" y="0"/>
            <a:ext cx="2675143" cy="5986830"/>
          </a:xfrm>
          <a:custGeom>
            <a:avLst/>
            <a:gdLst>
              <a:gd name="connsiteX0" fmla="*/ 0 w 2674951"/>
              <a:gd name="connsiteY0" fmla="*/ 0 h 5986829"/>
              <a:gd name="connsiteX1" fmla="*/ 2674951 w 2674951"/>
              <a:gd name="connsiteY1" fmla="*/ 0 h 5986829"/>
              <a:gd name="connsiteX2" fmla="*/ 2674951 w 2674951"/>
              <a:gd name="connsiteY2" fmla="*/ 5986829 h 5986829"/>
              <a:gd name="connsiteX3" fmla="*/ 0 w 2674951"/>
              <a:gd name="connsiteY3" fmla="*/ 5986829 h 5986829"/>
              <a:gd name="connsiteX4" fmla="*/ 0 w 2674951"/>
              <a:gd name="connsiteY4" fmla="*/ 0 h 5986829"/>
              <a:gd name="connsiteX0" fmla="*/ 0 w 2676539"/>
              <a:gd name="connsiteY0" fmla="*/ 0 h 5986829"/>
              <a:gd name="connsiteX1" fmla="*/ 2674951 w 2676539"/>
              <a:gd name="connsiteY1" fmla="*/ 0 h 5986829"/>
              <a:gd name="connsiteX2" fmla="*/ 2676539 w 2676539"/>
              <a:gd name="connsiteY2" fmla="*/ 33096 h 5986829"/>
              <a:gd name="connsiteX3" fmla="*/ 2674951 w 2676539"/>
              <a:gd name="connsiteY3" fmla="*/ 5986829 h 5986829"/>
              <a:gd name="connsiteX4" fmla="*/ 0 w 2676539"/>
              <a:gd name="connsiteY4" fmla="*/ 5986829 h 5986829"/>
              <a:gd name="connsiteX5" fmla="*/ 0 w 2676539"/>
              <a:gd name="connsiteY5" fmla="*/ 0 h 5986829"/>
              <a:gd name="connsiteX0" fmla="*/ 0 w 2676539"/>
              <a:gd name="connsiteY0" fmla="*/ 242 h 5987071"/>
              <a:gd name="connsiteX1" fmla="*/ 2640820 w 2676539"/>
              <a:gd name="connsiteY1" fmla="*/ 0 h 5987071"/>
              <a:gd name="connsiteX2" fmla="*/ 2674951 w 2676539"/>
              <a:gd name="connsiteY2" fmla="*/ 242 h 5987071"/>
              <a:gd name="connsiteX3" fmla="*/ 2676539 w 2676539"/>
              <a:gd name="connsiteY3" fmla="*/ 33338 h 5987071"/>
              <a:gd name="connsiteX4" fmla="*/ 2674951 w 2676539"/>
              <a:gd name="connsiteY4" fmla="*/ 5987071 h 5987071"/>
              <a:gd name="connsiteX5" fmla="*/ 0 w 2676539"/>
              <a:gd name="connsiteY5" fmla="*/ 5987071 h 5987071"/>
              <a:gd name="connsiteX6" fmla="*/ 0 w 2676539"/>
              <a:gd name="connsiteY6" fmla="*/ 242 h 5987071"/>
              <a:gd name="connsiteX0" fmla="*/ 0 w 2676539"/>
              <a:gd name="connsiteY0" fmla="*/ 242 h 5987071"/>
              <a:gd name="connsiteX1" fmla="*/ 2640820 w 2676539"/>
              <a:gd name="connsiteY1" fmla="*/ 0 h 5987071"/>
              <a:gd name="connsiteX2" fmla="*/ 2676539 w 2676539"/>
              <a:gd name="connsiteY2" fmla="*/ 33338 h 5987071"/>
              <a:gd name="connsiteX3" fmla="*/ 2674951 w 2676539"/>
              <a:gd name="connsiteY3" fmla="*/ 5987071 h 5987071"/>
              <a:gd name="connsiteX4" fmla="*/ 0 w 2676539"/>
              <a:gd name="connsiteY4" fmla="*/ 5987071 h 5987071"/>
              <a:gd name="connsiteX5" fmla="*/ 0 w 2676539"/>
              <a:gd name="connsiteY5" fmla="*/ 242 h 5987071"/>
              <a:gd name="connsiteX0" fmla="*/ 0 w 2847421"/>
              <a:gd name="connsiteY0" fmla="*/ 444778 h 6431607"/>
              <a:gd name="connsiteX1" fmla="*/ 2640820 w 2847421"/>
              <a:gd name="connsiteY1" fmla="*/ 444536 h 6431607"/>
              <a:gd name="connsiteX2" fmla="*/ 2676539 w 2847421"/>
              <a:gd name="connsiteY2" fmla="*/ 477874 h 6431607"/>
              <a:gd name="connsiteX3" fmla="*/ 2674951 w 2847421"/>
              <a:gd name="connsiteY3" fmla="*/ 6431607 h 6431607"/>
              <a:gd name="connsiteX4" fmla="*/ 0 w 2847421"/>
              <a:gd name="connsiteY4" fmla="*/ 6431607 h 6431607"/>
              <a:gd name="connsiteX5" fmla="*/ 0 w 2847421"/>
              <a:gd name="connsiteY5" fmla="*/ 444778 h 6431607"/>
              <a:gd name="connsiteX0" fmla="*/ 0 w 2847421"/>
              <a:gd name="connsiteY0" fmla="*/ 444778 h 6431607"/>
              <a:gd name="connsiteX1" fmla="*/ 2640820 w 2847421"/>
              <a:gd name="connsiteY1" fmla="*/ 444536 h 6431607"/>
              <a:gd name="connsiteX2" fmla="*/ 2676539 w 2847421"/>
              <a:gd name="connsiteY2" fmla="*/ 477874 h 6431607"/>
              <a:gd name="connsiteX3" fmla="*/ 2674951 w 2847421"/>
              <a:gd name="connsiteY3" fmla="*/ 6431607 h 6431607"/>
              <a:gd name="connsiteX4" fmla="*/ 0 w 2847421"/>
              <a:gd name="connsiteY4" fmla="*/ 6431607 h 6431607"/>
              <a:gd name="connsiteX5" fmla="*/ 0 w 2847421"/>
              <a:gd name="connsiteY5" fmla="*/ 444778 h 6431607"/>
              <a:gd name="connsiteX0" fmla="*/ 0 w 2847421"/>
              <a:gd name="connsiteY0" fmla="*/ 441603 h 6428432"/>
              <a:gd name="connsiteX1" fmla="*/ 2640820 w 2847421"/>
              <a:gd name="connsiteY1" fmla="*/ 441361 h 6428432"/>
              <a:gd name="connsiteX2" fmla="*/ 2676539 w 2847421"/>
              <a:gd name="connsiteY2" fmla="*/ 474699 h 6428432"/>
              <a:gd name="connsiteX3" fmla="*/ 2674951 w 2847421"/>
              <a:gd name="connsiteY3" fmla="*/ 6428432 h 6428432"/>
              <a:gd name="connsiteX4" fmla="*/ 0 w 2847421"/>
              <a:gd name="connsiteY4" fmla="*/ 6428432 h 6428432"/>
              <a:gd name="connsiteX5" fmla="*/ 0 w 2847421"/>
              <a:gd name="connsiteY5" fmla="*/ 441603 h 6428432"/>
              <a:gd name="connsiteX0" fmla="*/ 0 w 2847421"/>
              <a:gd name="connsiteY0" fmla="*/ 441603 h 6428432"/>
              <a:gd name="connsiteX1" fmla="*/ 2640820 w 2847421"/>
              <a:gd name="connsiteY1" fmla="*/ 441361 h 6428432"/>
              <a:gd name="connsiteX2" fmla="*/ 2676539 w 2847421"/>
              <a:gd name="connsiteY2" fmla="*/ 474699 h 6428432"/>
              <a:gd name="connsiteX3" fmla="*/ 2674951 w 2847421"/>
              <a:gd name="connsiteY3" fmla="*/ 6428432 h 6428432"/>
              <a:gd name="connsiteX4" fmla="*/ 0 w 2847421"/>
              <a:gd name="connsiteY4" fmla="*/ 6428432 h 6428432"/>
              <a:gd name="connsiteX5" fmla="*/ 0 w 2847421"/>
              <a:gd name="connsiteY5" fmla="*/ 441603 h 6428432"/>
              <a:gd name="connsiteX0" fmla="*/ 0 w 2847421"/>
              <a:gd name="connsiteY0" fmla="*/ 441603 h 6428432"/>
              <a:gd name="connsiteX1" fmla="*/ 2640820 w 2847421"/>
              <a:gd name="connsiteY1" fmla="*/ 441361 h 6428432"/>
              <a:gd name="connsiteX2" fmla="*/ 2676539 w 2847421"/>
              <a:gd name="connsiteY2" fmla="*/ 474699 h 6428432"/>
              <a:gd name="connsiteX3" fmla="*/ 2674951 w 2847421"/>
              <a:gd name="connsiteY3" fmla="*/ 6428432 h 6428432"/>
              <a:gd name="connsiteX4" fmla="*/ 0 w 2847421"/>
              <a:gd name="connsiteY4" fmla="*/ 6428432 h 6428432"/>
              <a:gd name="connsiteX5" fmla="*/ 0 w 2847421"/>
              <a:gd name="connsiteY5" fmla="*/ 441603 h 6428432"/>
              <a:gd name="connsiteX0" fmla="*/ 0 w 2847421"/>
              <a:gd name="connsiteY0" fmla="*/ 441603 h 6428432"/>
              <a:gd name="connsiteX1" fmla="*/ 2640820 w 2847421"/>
              <a:gd name="connsiteY1" fmla="*/ 441361 h 6428432"/>
              <a:gd name="connsiteX2" fmla="*/ 2676539 w 2847421"/>
              <a:gd name="connsiteY2" fmla="*/ 474699 h 6428432"/>
              <a:gd name="connsiteX3" fmla="*/ 2674951 w 2847421"/>
              <a:gd name="connsiteY3" fmla="*/ 6428432 h 6428432"/>
              <a:gd name="connsiteX4" fmla="*/ 0 w 2847421"/>
              <a:gd name="connsiteY4" fmla="*/ 6428432 h 6428432"/>
              <a:gd name="connsiteX5" fmla="*/ 0 w 2847421"/>
              <a:gd name="connsiteY5" fmla="*/ 441603 h 6428432"/>
              <a:gd name="connsiteX0" fmla="*/ 0 w 2847421"/>
              <a:gd name="connsiteY0" fmla="*/ 417937 h 6404766"/>
              <a:gd name="connsiteX1" fmla="*/ 2640820 w 2847421"/>
              <a:gd name="connsiteY1" fmla="*/ 417695 h 6404766"/>
              <a:gd name="connsiteX2" fmla="*/ 2676539 w 2847421"/>
              <a:gd name="connsiteY2" fmla="*/ 451033 h 6404766"/>
              <a:gd name="connsiteX3" fmla="*/ 2674951 w 2847421"/>
              <a:gd name="connsiteY3" fmla="*/ 6404766 h 6404766"/>
              <a:gd name="connsiteX4" fmla="*/ 0 w 2847421"/>
              <a:gd name="connsiteY4" fmla="*/ 6404766 h 6404766"/>
              <a:gd name="connsiteX5" fmla="*/ 0 w 2847421"/>
              <a:gd name="connsiteY5" fmla="*/ 417937 h 6404766"/>
              <a:gd name="connsiteX0" fmla="*/ 0 w 2676539"/>
              <a:gd name="connsiteY0" fmla="*/ 419028 h 6405857"/>
              <a:gd name="connsiteX1" fmla="*/ 2640820 w 2676539"/>
              <a:gd name="connsiteY1" fmla="*/ 418786 h 6405857"/>
              <a:gd name="connsiteX2" fmla="*/ 2676539 w 2676539"/>
              <a:gd name="connsiteY2" fmla="*/ 452124 h 6405857"/>
              <a:gd name="connsiteX3" fmla="*/ 2674951 w 2676539"/>
              <a:gd name="connsiteY3" fmla="*/ 6405857 h 6405857"/>
              <a:gd name="connsiteX4" fmla="*/ 0 w 2676539"/>
              <a:gd name="connsiteY4" fmla="*/ 6405857 h 6405857"/>
              <a:gd name="connsiteX5" fmla="*/ 0 w 2676539"/>
              <a:gd name="connsiteY5" fmla="*/ 419028 h 6405857"/>
              <a:gd name="connsiteX0" fmla="*/ 0 w 2847421"/>
              <a:gd name="connsiteY0" fmla="*/ 417937 h 6404766"/>
              <a:gd name="connsiteX1" fmla="*/ 2640820 w 2847421"/>
              <a:gd name="connsiteY1" fmla="*/ 417695 h 6404766"/>
              <a:gd name="connsiteX2" fmla="*/ 2676539 w 2847421"/>
              <a:gd name="connsiteY2" fmla="*/ 451033 h 6404766"/>
              <a:gd name="connsiteX3" fmla="*/ 2674951 w 2847421"/>
              <a:gd name="connsiteY3" fmla="*/ 6404766 h 6404766"/>
              <a:gd name="connsiteX4" fmla="*/ 0 w 2847421"/>
              <a:gd name="connsiteY4" fmla="*/ 6404766 h 6404766"/>
              <a:gd name="connsiteX5" fmla="*/ 0 w 2847421"/>
              <a:gd name="connsiteY5" fmla="*/ 417937 h 6404766"/>
              <a:gd name="connsiteX0" fmla="*/ 0 w 2849713"/>
              <a:gd name="connsiteY0" fmla="*/ 242 h 5987071"/>
              <a:gd name="connsiteX1" fmla="*/ 2640820 w 2849713"/>
              <a:gd name="connsiteY1" fmla="*/ 0 h 5987071"/>
              <a:gd name="connsiteX2" fmla="*/ 2676539 w 2849713"/>
              <a:gd name="connsiteY2" fmla="*/ 33338 h 5987071"/>
              <a:gd name="connsiteX3" fmla="*/ 2674951 w 2849713"/>
              <a:gd name="connsiteY3" fmla="*/ 5987071 h 5987071"/>
              <a:gd name="connsiteX4" fmla="*/ 0 w 2849713"/>
              <a:gd name="connsiteY4" fmla="*/ 5987071 h 5987071"/>
              <a:gd name="connsiteX5" fmla="*/ 0 w 2849713"/>
              <a:gd name="connsiteY5" fmla="*/ 242 h 5987071"/>
              <a:gd name="connsiteX0" fmla="*/ 0 w 2677073"/>
              <a:gd name="connsiteY0" fmla="*/ 242 h 5987071"/>
              <a:gd name="connsiteX1" fmla="*/ 2640820 w 2677073"/>
              <a:gd name="connsiteY1" fmla="*/ 0 h 5987071"/>
              <a:gd name="connsiteX2" fmla="*/ 2676539 w 2677073"/>
              <a:gd name="connsiteY2" fmla="*/ 33338 h 5987071"/>
              <a:gd name="connsiteX3" fmla="*/ 2674951 w 2677073"/>
              <a:gd name="connsiteY3" fmla="*/ 5987071 h 5987071"/>
              <a:gd name="connsiteX4" fmla="*/ 0 w 2677073"/>
              <a:gd name="connsiteY4" fmla="*/ 5987071 h 5987071"/>
              <a:gd name="connsiteX5" fmla="*/ 0 w 2677073"/>
              <a:gd name="connsiteY5" fmla="*/ 242 h 5987071"/>
              <a:gd name="connsiteX0" fmla="*/ 0 w 2676539"/>
              <a:gd name="connsiteY0" fmla="*/ 242 h 5987071"/>
              <a:gd name="connsiteX1" fmla="*/ 2640820 w 2676539"/>
              <a:gd name="connsiteY1" fmla="*/ 0 h 5987071"/>
              <a:gd name="connsiteX2" fmla="*/ 2676539 w 2676539"/>
              <a:gd name="connsiteY2" fmla="*/ 33338 h 5987071"/>
              <a:gd name="connsiteX3" fmla="*/ 2674951 w 2676539"/>
              <a:gd name="connsiteY3" fmla="*/ 5987071 h 5987071"/>
              <a:gd name="connsiteX4" fmla="*/ 0 w 2676539"/>
              <a:gd name="connsiteY4" fmla="*/ 5987071 h 5987071"/>
              <a:gd name="connsiteX5" fmla="*/ 0 w 2676539"/>
              <a:gd name="connsiteY5" fmla="*/ 242 h 5987071"/>
              <a:gd name="connsiteX0" fmla="*/ 0 w 2676539"/>
              <a:gd name="connsiteY0" fmla="*/ 242 h 5987071"/>
              <a:gd name="connsiteX1" fmla="*/ 2640820 w 2676539"/>
              <a:gd name="connsiteY1" fmla="*/ 0 h 5987071"/>
              <a:gd name="connsiteX2" fmla="*/ 2676539 w 2676539"/>
              <a:gd name="connsiteY2" fmla="*/ 33338 h 5987071"/>
              <a:gd name="connsiteX3" fmla="*/ 2674951 w 2676539"/>
              <a:gd name="connsiteY3" fmla="*/ 5987071 h 5987071"/>
              <a:gd name="connsiteX4" fmla="*/ 0 w 2676539"/>
              <a:gd name="connsiteY4" fmla="*/ 5987071 h 5987071"/>
              <a:gd name="connsiteX5" fmla="*/ 0 w 2676539"/>
              <a:gd name="connsiteY5" fmla="*/ 242 h 5987071"/>
              <a:gd name="connsiteX0" fmla="*/ 0 w 2676539"/>
              <a:gd name="connsiteY0" fmla="*/ 242 h 5987071"/>
              <a:gd name="connsiteX1" fmla="*/ 2633676 w 2676539"/>
              <a:gd name="connsiteY1" fmla="*/ 0 h 5987071"/>
              <a:gd name="connsiteX2" fmla="*/ 2676539 w 2676539"/>
              <a:gd name="connsiteY2" fmla="*/ 33338 h 5987071"/>
              <a:gd name="connsiteX3" fmla="*/ 2674951 w 2676539"/>
              <a:gd name="connsiteY3" fmla="*/ 5987071 h 5987071"/>
              <a:gd name="connsiteX4" fmla="*/ 0 w 2676539"/>
              <a:gd name="connsiteY4" fmla="*/ 5987071 h 5987071"/>
              <a:gd name="connsiteX5" fmla="*/ 0 w 2676539"/>
              <a:gd name="connsiteY5" fmla="*/ 242 h 5987071"/>
              <a:gd name="connsiteX0" fmla="*/ 0 w 2843351"/>
              <a:gd name="connsiteY0" fmla="*/ 242 h 5987071"/>
              <a:gd name="connsiteX1" fmla="*/ 2633676 w 2843351"/>
              <a:gd name="connsiteY1" fmla="*/ 0 h 5987071"/>
              <a:gd name="connsiteX2" fmla="*/ 2676539 w 2843351"/>
              <a:gd name="connsiteY2" fmla="*/ 54770 h 5987071"/>
              <a:gd name="connsiteX3" fmla="*/ 2674951 w 2843351"/>
              <a:gd name="connsiteY3" fmla="*/ 5987071 h 5987071"/>
              <a:gd name="connsiteX4" fmla="*/ 0 w 2843351"/>
              <a:gd name="connsiteY4" fmla="*/ 5987071 h 5987071"/>
              <a:gd name="connsiteX5" fmla="*/ 0 w 2843351"/>
              <a:gd name="connsiteY5" fmla="*/ 242 h 5987071"/>
              <a:gd name="connsiteX0" fmla="*/ 0 w 2676539"/>
              <a:gd name="connsiteY0" fmla="*/ 242 h 5987071"/>
              <a:gd name="connsiteX1" fmla="*/ 2633676 w 2676539"/>
              <a:gd name="connsiteY1" fmla="*/ 0 h 5987071"/>
              <a:gd name="connsiteX2" fmla="*/ 2676539 w 2676539"/>
              <a:gd name="connsiteY2" fmla="*/ 54770 h 5987071"/>
              <a:gd name="connsiteX3" fmla="*/ 2674951 w 2676539"/>
              <a:gd name="connsiteY3" fmla="*/ 5987071 h 5987071"/>
              <a:gd name="connsiteX4" fmla="*/ 0 w 2676539"/>
              <a:gd name="connsiteY4" fmla="*/ 5987071 h 5987071"/>
              <a:gd name="connsiteX5" fmla="*/ 0 w 2676539"/>
              <a:gd name="connsiteY5" fmla="*/ 242 h 5987071"/>
              <a:gd name="connsiteX0" fmla="*/ 0 w 2676539"/>
              <a:gd name="connsiteY0" fmla="*/ 242 h 5987071"/>
              <a:gd name="connsiteX1" fmla="*/ 2633676 w 2676539"/>
              <a:gd name="connsiteY1" fmla="*/ 0 h 5987071"/>
              <a:gd name="connsiteX2" fmla="*/ 2676539 w 2676539"/>
              <a:gd name="connsiteY2" fmla="*/ 54770 h 5987071"/>
              <a:gd name="connsiteX3" fmla="*/ 2674951 w 2676539"/>
              <a:gd name="connsiteY3" fmla="*/ 5987071 h 5987071"/>
              <a:gd name="connsiteX4" fmla="*/ 0 w 2676539"/>
              <a:gd name="connsiteY4" fmla="*/ 5987071 h 5987071"/>
              <a:gd name="connsiteX5" fmla="*/ 0 w 2676539"/>
              <a:gd name="connsiteY5" fmla="*/ 242 h 5987071"/>
              <a:gd name="connsiteX0" fmla="*/ 0 w 2676569"/>
              <a:gd name="connsiteY0" fmla="*/ 242 h 5987071"/>
              <a:gd name="connsiteX1" fmla="*/ 2633676 w 2676569"/>
              <a:gd name="connsiteY1" fmla="*/ 0 h 5987071"/>
              <a:gd name="connsiteX2" fmla="*/ 2676539 w 2676569"/>
              <a:gd name="connsiteY2" fmla="*/ 54770 h 5987071"/>
              <a:gd name="connsiteX3" fmla="*/ 2674951 w 2676569"/>
              <a:gd name="connsiteY3" fmla="*/ 5987071 h 5987071"/>
              <a:gd name="connsiteX4" fmla="*/ 0 w 2676569"/>
              <a:gd name="connsiteY4" fmla="*/ 5987071 h 5987071"/>
              <a:gd name="connsiteX5" fmla="*/ 0 w 2676569"/>
              <a:gd name="connsiteY5" fmla="*/ 242 h 5987071"/>
              <a:gd name="connsiteX0" fmla="*/ 0 w 2679329"/>
              <a:gd name="connsiteY0" fmla="*/ 397251 h 6384080"/>
              <a:gd name="connsiteX1" fmla="*/ 2633676 w 2679329"/>
              <a:gd name="connsiteY1" fmla="*/ 397009 h 6384080"/>
              <a:gd name="connsiteX2" fmla="*/ 2676539 w 2679329"/>
              <a:gd name="connsiteY2" fmla="*/ 451779 h 6384080"/>
              <a:gd name="connsiteX3" fmla="*/ 2674951 w 2679329"/>
              <a:gd name="connsiteY3" fmla="*/ 6384080 h 6384080"/>
              <a:gd name="connsiteX4" fmla="*/ 0 w 2679329"/>
              <a:gd name="connsiteY4" fmla="*/ 6384080 h 6384080"/>
              <a:gd name="connsiteX5" fmla="*/ 0 w 2679329"/>
              <a:gd name="connsiteY5" fmla="*/ 397251 h 6384080"/>
              <a:gd name="connsiteX0" fmla="*/ 0 w 2679329"/>
              <a:gd name="connsiteY0" fmla="*/ 403897 h 6390726"/>
              <a:gd name="connsiteX1" fmla="*/ 2633676 w 2679329"/>
              <a:gd name="connsiteY1" fmla="*/ 403655 h 6390726"/>
              <a:gd name="connsiteX2" fmla="*/ 2676539 w 2679329"/>
              <a:gd name="connsiteY2" fmla="*/ 458425 h 6390726"/>
              <a:gd name="connsiteX3" fmla="*/ 2674951 w 2679329"/>
              <a:gd name="connsiteY3" fmla="*/ 6390726 h 6390726"/>
              <a:gd name="connsiteX4" fmla="*/ 0 w 2679329"/>
              <a:gd name="connsiteY4" fmla="*/ 6390726 h 6390726"/>
              <a:gd name="connsiteX5" fmla="*/ 0 w 2679329"/>
              <a:gd name="connsiteY5" fmla="*/ 403897 h 6390726"/>
              <a:gd name="connsiteX0" fmla="*/ 0 w 2842019"/>
              <a:gd name="connsiteY0" fmla="*/ 401491 h 6388320"/>
              <a:gd name="connsiteX1" fmla="*/ 2633676 w 2842019"/>
              <a:gd name="connsiteY1" fmla="*/ 401249 h 6388320"/>
              <a:gd name="connsiteX2" fmla="*/ 2676539 w 2842019"/>
              <a:gd name="connsiteY2" fmla="*/ 456019 h 6388320"/>
              <a:gd name="connsiteX3" fmla="*/ 2674951 w 2842019"/>
              <a:gd name="connsiteY3" fmla="*/ 6388320 h 6388320"/>
              <a:gd name="connsiteX4" fmla="*/ 0 w 2842019"/>
              <a:gd name="connsiteY4" fmla="*/ 6388320 h 6388320"/>
              <a:gd name="connsiteX5" fmla="*/ 0 w 2842019"/>
              <a:gd name="connsiteY5" fmla="*/ 401491 h 6388320"/>
              <a:gd name="connsiteX0" fmla="*/ 0 w 2843760"/>
              <a:gd name="connsiteY0" fmla="*/ 242 h 5987071"/>
              <a:gd name="connsiteX1" fmla="*/ 2633676 w 2843760"/>
              <a:gd name="connsiteY1" fmla="*/ 0 h 5987071"/>
              <a:gd name="connsiteX2" fmla="*/ 2676539 w 2843760"/>
              <a:gd name="connsiteY2" fmla="*/ 54770 h 5987071"/>
              <a:gd name="connsiteX3" fmla="*/ 2674951 w 2843760"/>
              <a:gd name="connsiteY3" fmla="*/ 5987071 h 5987071"/>
              <a:gd name="connsiteX4" fmla="*/ 0 w 2843760"/>
              <a:gd name="connsiteY4" fmla="*/ 5987071 h 5987071"/>
              <a:gd name="connsiteX5" fmla="*/ 0 w 2843760"/>
              <a:gd name="connsiteY5" fmla="*/ 242 h 5987071"/>
              <a:gd name="connsiteX0" fmla="*/ 0 w 2676543"/>
              <a:gd name="connsiteY0" fmla="*/ 242 h 5987071"/>
              <a:gd name="connsiteX1" fmla="*/ 2633676 w 2676543"/>
              <a:gd name="connsiteY1" fmla="*/ 0 h 5987071"/>
              <a:gd name="connsiteX2" fmla="*/ 2676539 w 2676543"/>
              <a:gd name="connsiteY2" fmla="*/ 54770 h 5987071"/>
              <a:gd name="connsiteX3" fmla="*/ 2674951 w 2676543"/>
              <a:gd name="connsiteY3" fmla="*/ 5987071 h 5987071"/>
              <a:gd name="connsiteX4" fmla="*/ 0 w 2676543"/>
              <a:gd name="connsiteY4" fmla="*/ 5987071 h 5987071"/>
              <a:gd name="connsiteX5" fmla="*/ 0 w 2676543"/>
              <a:gd name="connsiteY5" fmla="*/ 242 h 5987071"/>
              <a:gd name="connsiteX0" fmla="*/ 0 w 2681396"/>
              <a:gd name="connsiteY0" fmla="*/ 403161 h 6389990"/>
              <a:gd name="connsiteX1" fmla="*/ 2605627 w 2681396"/>
              <a:gd name="connsiteY1" fmla="*/ 402919 h 6389990"/>
              <a:gd name="connsiteX2" fmla="*/ 2676539 w 2681396"/>
              <a:gd name="connsiteY2" fmla="*/ 457689 h 6389990"/>
              <a:gd name="connsiteX3" fmla="*/ 2674951 w 2681396"/>
              <a:gd name="connsiteY3" fmla="*/ 6389990 h 6389990"/>
              <a:gd name="connsiteX4" fmla="*/ 0 w 2681396"/>
              <a:gd name="connsiteY4" fmla="*/ 6389990 h 6389990"/>
              <a:gd name="connsiteX5" fmla="*/ 0 w 2681396"/>
              <a:gd name="connsiteY5" fmla="*/ 403161 h 6389990"/>
              <a:gd name="connsiteX0" fmla="*/ 0 w 2818993"/>
              <a:gd name="connsiteY0" fmla="*/ 369538 h 6356367"/>
              <a:gd name="connsiteX1" fmla="*/ 2605627 w 2818993"/>
              <a:gd name="connsiteY1" fmla="*/ 369296 h 6356367"/>
              <a:gd name="connsiteX2" fmla="*/ 2670929 w 2818993"/>
              <a:gd name="connsiteY2" fmla="*/ 466142 h 6356367"/>
              <a:gd name="connsiteX3" fmla="*/ 2674951 w 2818993"/>
              <a:gd name="connsiteY3" fmla="*/ 6356367 h 6356367"/>
              <a:gd name="connsiteX4" fmla="*/ 0 w 2818993"/>
              <a:gd name="connsiteY4" fmla="*/ 6356367 h 6356367"/>
              <a:gd name="connsiteX5" fmla="*/ 0 w 2818993"/>
              <a:gd name="connsiteY5" fmla="*/ 369538 h 6356367"/>
              <a:gd name="connsiteX0" fmla="*/ 0 w 2819705"/>
              <a:gd name="connsiteY0" fmla="*/ 369538 h 6356367"/>
              <a:gd name="connsiteX1" fmla="*/ 2605627 w 2819705"/>
              <a:gd name="connsiteY1" fmla="*/ 369296 h 6356367"/>
              <a:gd name="connsiteX2" fmla="*/ 2670929 w 2819705"/>
              <a:gd name="connsiteY2" fmla="*/ 466142 h 6356367"/>
              <a:gd name="connsiteX3" fmla="*/ 2674951 w 2819705"/>
              <a:gd name="connsiteY3" fmla="*/ 6356367 h 6356367"/>
              <a:gd name="connsiteX4" fmla="*/ 0 w 2819705"/>
              <a:gd name="connsiteY4" fmla="*/ 6356367 h 6356367"/>
              <a:gd name="connsiteX5" fmla="*/ 0 w 2819705"/>
              <a:gd name="connsiteY5" fmla="*/ 369538 h 6356367"/>
              <a:gd name="connsiteX0" fmla="*/ 0 w 2821139"/>
              <a:gd name="connsiteY0" fmla="*/ 242 h 5987071"/>
              <a:gd name="connsiteX1" fmla="*/ 2605627 w 2821139"/>
              <a:gd name="connsiteY1" fmla="*/ 0 h 5987071"/>
              <a:gd name="connsiteX2" fmla="*/ 2670929 w 2821139"/>
              <a:gd name="connsiteY2" fmla="*/ 96846 h 5987071"/>
              <a:gd name="connsiteX3" fmla="*/ 2674951 w 2821139"/>
              <a:gd name="connsiteY3" fmla="*/ 5987071 h 5987071"/>
              <a:gd name="connsiteX4" fmla="*/ 0 w 2821139"/>
              <a:gd name="connsiteY4" fmla="*/ 5987071 h 5987071"/>
              <a:gd name="connsiteX5" fmla="*/ 0 w 2821139"/>
              <a:gd name="connsiteY5" fmla="*/ 242 h 5987071"/>
              <a:gd name="connsiteX0" fmla="*/ 0 w 2742690"/>
              <a:gd name="connsiteY0" fmla="*/ 367521 h 6354350"/>
              <a:gd name="connsiteX1" fmla="*/ 1722081 w 2742690"/>
              <a:gd name="connsiteY1" fmla="*/ 372889 h 6354350"/>
              <a:gd name="connsiteX2" fmla="*/ 2670929 w 2742690"/>
              <a:gd name="connsiteY2" fmla="*/ 464125 h 6354350"/>
              <a:gd name="connsiteX3" fmla="*/ 2674951 w 2742690"/>
              <a:gd name="connsiteY3" fmla="*/ 6354350 h 6354350"/>
              <a:gd name="connsiteX4" fmla="*/ 0 w 2742690"/>
              <a:gd name="connsiteY4" fmla="*/ 6354350 h 6354350"/>
              <a:gd name="connsiteX5" fmla="*/ 0 w 2742690"/>
              <a:gd name="connsiteY5" fmla="*/ 367521 h 6354350"/>
              <a:gd name="connsiteX0" fmla="*/ 0 w 2742690"/>
              <a:gd name="connsiteY0" fmla="*/ 360489 h 6347318"/>
              <a:gd name="connsiteX1" fmla="*/ 1722081 w 2742690"/>
              <a:gd name="connsiteY1" fmla="*/ 365857 h 6347318"/>
              <a:gd name="connsiteX2" fmla="*/ 2670929 w 2742690"/>
              <a:gd name="connsiteY2" fmla="*/ 457093 h 6347318"/>
              <a:gd name="connsiteX3" fmla="*/ 2674951 w 2742690"/>
              <a:gd name="connsiteY3" fmla="*/ 6347318 h 6347318"/>
              <a:gd name="connsiteX4" fmla="*/ 0 w 2742690"/>
              <a:gd name="connsiteY4" fmla="*/ 6347318 h 6347318"/>
              <a:gd name="connsiteX5" fmla="*/ 0 w 2742690"/>
              <a:gd name="connsiteY5" fmla="*/ 360489 h 6347318"/>
              <a:gd name="connsiteX0" fmla="*/ 0 w 2742690"/>
              <a:gd name="connsiteY0" fmla="*/ 371928 h 6358757"/>
              <a:gd name="connsiteX1" fmla="*/ 1722081 w 2742690"/>
              <a:gd name="connsiteY1" fmla="*/ 377296 h 6358757"/>
              <a:gd name="connsiteX2" fmla="*/ 2670929 w 2742690"/>
              <a:gd name="connsiteY2" fmla="*/ 468532 h 6358757"/>
              <a:gd name="connsiteX3" fmla="*/ 2674951 w 2742690"/>
              <a:gd name="connsiteY3" fmla="*/ 6358757 h 6358757"/>
              <a:gd name="connsiteX4" fmla="*/ 0 w 2742690"/>
              <a:gd name="connsiteY4" fmla="*/ 6358757 h 6358757"/>
              <a:gd name="connsiteX5" fmla="*/ 0 w 2742690"/>
              <a:gd name="connsiteY5" fmla="*/ 371928 h 6358757"/>
              <a:gd name="connsiteX0" fmla="*/ 0 w 2742690"/>
              <a:gd name="connsiteY0" fmla="*/ 0 h 5986829"/>
              <a:gd name="connsiteX1" fmla="*/ 1722081 w 2742690"/>
              <a:gd name="connsiteY1" fmla="*/ 5368 h 5986829"/>
              <a:gd name="connsiteX2" fmla="*/ 2670929 w 2742690"/>
              <a:gd name="connsiteY2" fmla="*/ 96604 h 5986829"/>
              <a:gd name="connsiteX3" fmla="*/ 2674951 w 2742690"/>
              <a:gd name="connsiteY3" fmla="*/ 5986829 h 5986829"/>
              <a:gd name="connsiteX4" fmla="*/ 0 w 2742690"/>
              <a:gd name="connsiteY4" fmla="*/ 5986829 h 5986829"/>
              <a:gd name="connsiteX5" fmla="*/ 0 w 2742690"/>
              <a:gd name="connsiteY5" fmla="*/ 0 h 5986829"/>
              <a:gd name="connsiteX0" fmla="*/ 0 w 2751025"/>
              <a:gd name="connsiteY0" fmla="*/ 0 h 5986829"/>
              <a:gd name="connsiteX1" fmla="*/ 1722081 w 2751025"/>
              <a:gd name="connsiteY1" fmla="*/ 5368 h 5986829"/>
              <a:gd name="connsiteX2" fmla="*/ 2682149 w 2751025"/>
              <a:gd name="connsiteY2" fmla="*/ 74163 h 5986829"/>
              <a:gd name="connsiteX3" fmla="*/ 2674951 w 2751025"/>
              <a:gd name="connsiteY3" fmla="*/ 5986829 h 5986829"/>
              <a:gd name="connsiteX4" fmla="*/ 0 w 2751025"/>
              <a:gd name="connsiteY4" fmla="*/ 5986829 h 5986829"/>
              <a:gd name="connsiteX5" fmla="*/ 0 w 2751025"/>
              <a:gd name="connsiteY5" fmla="*/ 0 h 5986829"/>
              <a:gd name="connsiteX0" fmla="*/ 0 w 2697688"/>
              <a:gd name="connsiteY0" fmla="*/ 0 h 5986829"/>
              <a:gd name="connsiteX1" fmla="*/ 1722081 w 2697688"/>
              <a:gd name="connsiteY1" fmla="*/ 5368 h 5986829"/>
              <a:gd name="connsiteX2" fmla="*/ 2600806 w 2697688"/>
              <a:gd name="connsiteY2" fmla="*/ 155509 h 5986829"/>
              <a:gd name="connsiteX3" fmla="*/ 2674951 w 2697688"/>
              <a:gd name="connsiteY3" fmla="*/ 5986829 h 5986829"/>
              <a:gd name="connsiteX4" fmla="*/ 0 w 2697688"/>
              <a:gd name="connsiteY4" fmla="*/ 5986829 h 5986829"/>
              <a:gd name="connsiteX5" fmla="*/ 0 w 2697688"/>
              <a:gd name="connsiteY5" fmla="*/ 0 h 5986829"/>
              <a:gd name="connsiteX0" fmla="*/ 0 w 2748920"/>
              <a:gd name="connsiteY0" fmla="*/ 0 h 5986829"/>
              <a:gd name="connsiteX1" fmla="*/ 1722081 w 2748920"/>
              <a:gd name="connsiteY1" fmla="*/ 5368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71968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29894 w 2748920"/>
              <a:gd name="connsiteY1" fmla="*/ 586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428917 w 2748920"/>
              <a:gd name="connsiteY1" fmla="*/ 69884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428917 w 2748920"/>
              <a:gd name="connsiteY1" fmla="*/ 69884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3137 h 5989966"/>
              <a:gd name="connsiteX1" fmla="*/ 2569162 w 2748920"/>
              <a:gd name="connsiteY1" fmla="*/ 90 h 5989966"/>
              <a:gd name="connsiteX2" fmla="*/ 2679344 w 2748920"/>
              <a:gd name="connsiteY2" fmla="*/ 74495 h 5989966"/>
              <a:gd name="connsiteX3" fmla="*/ 2674951 w 2748920"/>
              <a:gd name="connsiteY3" fmla="*/ 5989966 h 5989966"/>
              <a:gd name="connsiteX4" fmla="*/ 0 w 2748920"/>
              <a:gd name="connsiteY4" fmla="*/ 5989966 h 5989966"/>
              <a:gd name="connsiteX5" fmla="*/ 0 w 2748920"/>
              <a:gd name="connsiteY5" fmla="*/ 3137 h 5989966"/>
              <a:gd name="connsiteX0" fmla="*/ 0 w 2748920"/>
              <a:gd name="connsiteY0" fmla="*/ 3137 h 5989966"/>
              <a:gd name="connsiteX1" fmla="*/ 2569162 w 2748920"/>
              <a:gd name="connsiteY1" fmla="*/ 90 h 5989966"/>
              <a:gd name="connsiteX2" fmla="*/ 2679344 w 2748920"/>
              <a:gd name="connsiteY2" fmla="*/ 74495 h 5989966"/>
              <a:gd name="connsiteX3" fmla="*/ 2674951 w 2748920"/>
              <a:gd name="connsiteY3" fmla="*/ 5989966 h 5989966"/>
              <a:gd name="connsiteX4" fmla="*/ 0 w 2748920"/>
              <a:gd name="connsiteY4" fmla="*/ 5989966 h 5989966"/>
              <a:gd name="connsiteX5" fmla="*/ 0 w 2748920"/>
              <a:gd name="connsiteY5" fmla="*/ 3137 h 5989966"/>
              <a:gd name="connsiteX0" fmla="*/ 0 w 2748920"/>
              <a:gd name="connsiteY0" fmla="*/ 3137 h 5989966"/>
              <a:gd name="connsiteX1" fmla="*/ 2569162 w 2748920"/>
              <a:gd name="connsiteY1" fmla="*/ 90 h 5989966"/>
              <a:gd name="connsiteX2" fmla="*/ 2679344 w 2748920"/>
              <a:gd name="connsiteY2" fmla="*/ 74495 h 5989966"/>
              <a:gd name="connsiteX3" fmla="*/ 2674951 w 2748920"/>
              <a:gd name="connsiteY3" fmla="*/ 5989966 h 5989966"/>
              <a:gd name="connsiteX4" fmla="*/ 0 w 2748920"/>
              <a:gd name="connsiteY4" fmla="*/ 5989966 h 5989966"/>
              <a:gd name="connsiteX5" fmla="*/ 0 w 2748920"/>
              <a:gd name="connsiteY5" fmla="*/ 3137 h 5989966"/>
              <a:gd name="connsiteX0" fmla="*/ 0 w 2679344"/>
              <a:gd name="connsiteY0" fmla="*/ 3137 h 5989966"/>
              <a:gd name="connsiteX1" fmla="*/ 2569162 w 2679344"/>
              <a:gd name="connsiteY1" fmla="*/ 90 h 5989966"/>
              <a:gd name="connsiteX2" fmla="*/ 2679344 w 2679344"/>
              <a:gd name="connsiteY2" fmla="*/ 74495 h 5989966"/>
              <a:gd name="connsiteX3" fmla="*/ 2674951 w 2679344"/>
              <a:gd name="connsiteY3" fmla="*/ 5989966 h 5989966"/>
              <a:gd name="connsiteX4" fmla="*/ 0 w 2679344"/>
              <a:gd name="connsiteY4" fmla="*/ 5989966 h 5989966"/>
              <a:gd name="connsiteX5" fmla="*/ 0 w 2679344"/>
              <a:gd name="connsiteY5" fmla="*/ 3137 h 5989966"/>
              <a:gd name="connsiteX0" fmla="*/ 0 w 2679344"/>
              <a:gd name="connsiteY0" fmla="*/ 3137 h 5989966"/>
              <a:gd name="connsiteX1" fmla="*/ 2569162 w 2679344"/>
              <a:gd name="connsiteY1" fmla="*/ 90 h 5989966"/>
              <a:gd name="connsiteX2" fmla="*/ 2679344 w 2679344"/>
              <a:gd name="connsiteY2" fmla="*/ 74495 h 5989966"/>
              <a:gd name="connsiteX3" fmla="*/ 2674951 w 2679344"/>
              <a:gd name="connsiteY3" fmla="*/ 5989966 h 5989966"/>
              <a:gd name="connsiteX4" fmla="*/ 0 w 2679344"/>
              <a:gd name="connsiteY4" fmla="*/ 5989966 h 5989966"/>
              <a:gd name="connsiteX5" fmla="*/ 0 w 2679344"/>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0 h 5986829"/>
              <a:gd name="connsiteX1" fmla="*/ 2566780 w 2679350"/>
              <a:gd name="connsiteY1" fmla="*/ 94589 h 5986829"/>
              <a:gd name="connsiteX2" fmla="*/ 2679344 w 2679350"/>
              <a:gd name="connsiteY2" fmla="*/ 71358 h 5986829"/>
              <a:gd name="connsiteX3" fmla="*/ 2674951 w 2679350"/>
              <a:gd name="connsiteY3" fmla="*/ 5986829 h 5986829"/>
              <a:gd name="connsiteX4" fmla="*/ 0 w 2679350"/>
              <a:gd name="connsiteY4" fmla="*/ 5986829 h 5986829"/>
              <a:gd name="connsiteX5" fmla="*/ 0 w 2679350"/>
              <a:gd name="connsiteY5" fmla="*/ 0 h 5986829"/>
              <a:gd name="connsiteX0" fmla="*/ 0 w 2679350"/>
              <a:gd name="connsiteY0" fmla="*/ 761 h 5987590"/>
              <a:gd name="connsiteX1" fmla="*/ 2581068 w 2679350"/>
              <a:gd name="connsiteY1" fmla="*/ 96 h 5987590"/>
              <a:gd name="connsiteX2" fmla="*/ 2679344 w 2679350"/>
              <a:gd name="connsiteY2" fmla="*/ 72119 h 5987590"/>
              <a:gd name="connsiteX3" fmla="*/ 2674951 w 2679350"/>
              <a:gd name="connsiteY3" fmla="*/ 5987590 h 5987590"/>
              <a:gd name="connsiteX4" fmla="*/ 0 w 2679350"/>
              <a:gd name="connsiteY4" fmla="*/ 5987590 h 5987590"/>
              <a:gd name="connsiteX5" fmla="*/ 0 w 2679350"/>
              <a:gd name="connsiteY5" fmla="*/ 761 h 5987590"/>
              <a:gd name="connsiteX0" fmla="*/ 0 w 2679350"/>
              <a:gd name="connsiteY0" fmla="*/ 761 h 5987590"/>
              <a:gd name="connsiteX1" fmla="*/ 2581068 w 2679350"/>
              <a:gd name="connsiteY1" fmla="*/ 96 h 5987590"/>
              <a:gd name="connsiteX2" fmla="*/ 2679344 w 2679350"/>
              <a:gd name="connsiteY2" fmla="*/ 72119 h 5987590"/>
              <a:gd name="connsiteX3" fmla="*/ 2674951 w 2679350"/>
              <a:gd name="connsiteY3" fmla="*/ 5987590 h 5987590"/>
              <a:gd name="connsiteX4" fmla="*/ 0 w 2679350"/>
              <a:gd name="connsiteY4" fmla="*/ 5987590 h 5987590"/>
              <a:gd name="connsiteX5" fmla="*/ 0 w 2679350"/>
              <a:gd name="connsiteY5" fmla="*/ 761 h 5987590"/>
              <a:gd name="connsiteX0" fmla="*/ 0 w 2679350"/>
              <a:gd name="connsiteY0" fmla="*/ 761 h 5987590"/>
              <a:gd name="connsiteX1" fmla="*/ 2581068 w 2679350"/>
              <a:gd name="connsiteY1" fmla="*/ 96 h 5987590"/>
              <a:gd name="connsiteX2" fmla="*/ 2679344 w 2679350"/>
              <a:gd name="connsiteY2" fmla="*/ 72119 h 5987590"/>
              <a:gd name="connsiteX3" fmla="*/ 2674951 w 2679350"/>
              <a:gd name="connsiteY3" fmla="*/ 5987590 h 5987590"/>
              <a:gd name="connsiteX4" fmla="*/ 0 w 2679350"/>
              <a:gd name="connsiteY4" fmla="*/ 5987590 h 5987590"/>
              <a:gd name="connsiteX5" fmla="*/ 0 w 2679350"/>
              <a:gd name="connsiteY5" fmla="*/ 761 h 5987590"/>
              <a:gd name="connsiteX0" fmla="*/ 0 w 2679350"/>
              <a:gd name="connsiteY0" fmla="*/ 0 h 5986829"/>
              <a:gd name="connsiteX1" fmla="*/ 2585830 w 2679350"/>
              <a:gd name="connsiteY1" fmla="*/ 44581 h 5986829"/>
              <a:gd name="connsiteX2" fmla="*/ 2679344 w 2679350"/>
              <a:gd name="connsiteY2" fmla="*/ 71358 h 5986829"/>
              <a:gd name="connsiteX3" fmla="*/ 2674951 w 2679350"/>
              <a:gd name="connsiteY3" fmla="*/ 5986829 h 5986829"/>
              <a:gd name="connsiteX4" fmla="*/ 0 w 2679350"/>
              <a:gd name="connsiteY4" fmla="*/ 5986829 h 5986829"/>
              <a:gd name="connsiteX5" fmla="*/ 0 w 2679350"/>
              <a:gd name="connsiteY5" fmla="*/ 0 h 5986829"/>
              <a:gd name="connsiteX0" fmla="*/ 0 w 2679350"/>
              <a:gd name="connsiteY0" fmla="*/ 0 h 5986829"/>
              <a:gd name="connsiteX1" fmla="*/ 2588212 w 2679350"/>
              <a:gd name="connsiteY1" fmla="*/ 1716 h 5986829"/>
              <a:gd name="connsiteX2" fmla="*/ 2679344 w 2679350"/>
              <a:gd name="connsiteY2" fmla="*/ 71358 h 5986829"/>
              <a:gd name="connsiteX3" fmla="*/ 2674951 w 2679350"/>
              <a:gd name="connsiteY3" fmla="*/ 5986829 h 5986829"/>
              <a:gd name="connsiteX4" fmla="*/ 0 w 2679350"/>
              <a:gd name="connsiteY4" fmla="*/ 5986829 h 5986829"/>
              <a:gd name="connsiteX5" fmla="*/ 0 w 2679350"/>
              <a:gd name="connsiteY5" fmla="*/ 0 h 5986829"/>
              <a:gd name="connsiteX0" fmla="*/ 0 w 2674961"/>
              <a:gd name="connsiteY0" fmla="*/ 0 h 5986829"/>
              <a:gd name="connsiteX1" fmla="*/ 2588212 w 2674961"/>
              <a:gd name="connsiteY1" fmla="*/ 1716 h 5986829"/>
              <a:gd name="connsiteX2" fmla="*/ 2655531 w 2674961"/>
              <a:gd name="connsiteY2" fmla="*/ 78502 h 5986829"/>
              <a:gd name="connsiteX3" fmla="*/ 2674951 w 2674961"/>
              <a:gd name="connsiteY3" fmla="*/ 5986829 h 5986829"/>
              <a:gd name="connsiteX4" fmla="*/ 0 w 2674961"/>
              <a:gd name="connsiteY4" fmla="*/ 5986829 h 5986829"/>
              <a:gd name="connsiteX5" fmla="*/ 0 w 2674961"/>
              <a:gd name="connsiteY5" fmla="*/ 0 h 5986829"/>
              <a:gd name="connsiteX0" fmla="*/ 0 w 2675143"/>
              <a:gd name="connsiteY0" fmla="*/ 0 h 5986829"/>
              <a:gd name="connsiteX1" fmla="*/ 2588212 w 2675143"/>
              <a:gd name="connsiteY1" fmla="*/ 1716 h 5986829"/>
              <a:gd name="connsiteX2" fmla="*/ 2674581 w 2675143"/>
              <a:gd name="connsiteY2" fmla="*/ 80883 h 5986829"/>
              <a:gd name="connsiteX3" fmla="*/ 2674951 w 2675143"/>
              <a:gd name="connsiteY3" fmla="*/ 5986829 h 5986829"/>
              <a:gd name="connsiteX4" fmla="*/ 0 w 2675143"/>
              <a:gd name="connsiteY4" fmla="*/ 5986829 h 5986829"/>
              <a:gd name="connsiteX5" fmla="*/ 0 w 2675143"/>
              <a:gd name="connsiteY5" fmla="*/ 0 h 598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5143" h="5986829">
                <a:moveTo>
                  <a:pt x="0" y="0"/>
                </a:moveTo>
                <a:lnTo>
                  <a:pt x="2588212" y="1716"/>
                </a:lnTo>
                <a:cubicBezTo>
                  <a:pt x="2639095" y="-351"/>
                  <a:pt x="2671381" y="38070"/>
                  <a:pt x="2674581" y="80883"/>
                </a:cubicBezTo>
                <a:cubicBezTo>
                  <a:pt x="2674773" y="1264412"/>
                  <a:pt x="2675480" y="4002251"/>
                  <a:pt x="2674951" y="5986829"/>
                </a:cubicBezTo>
                <a:lnTo>
                  <a:pt x="0" y="5986829"/>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Tijdelijke aanduiding voor datum 3"/>
          <p:cNvSpPr>
            <a:spLocks noGrp="1"/>
          </p:cNvSpPr>
          <p:nvPr>
            <p:ph type="dt" sz="half" idx="10"/>
          </p:nvPr>
        </p:nvSpPr>
        <p:spPr>
          <a:xfrm>
            <a:off x="10676001" y="5401161"/>
            <a:ext cx="1434524" cy="365125"/>
          </a:xfrm>
        </p:spPr>
        <p:txBody>
          <a:bodyPr/>
          <a:lstStyle>
            <a:lvl1pPr>
              <a:defRPr>
                <a:solidFill>
                  <a:schemeClr val="tx2"/>
                </a:solidFill>
              </a:defRPr>
            </a:lvl1pPr>
          </a:lstStyle>
          <a:p>
            <a:fld id="{A4CC2369-056D-44FC-A5D0-FD42C86E5188}" type="datetime4">
              <a:rPr lang="en-GB" smtClean="0"/>
              <a:t>29 May 2020</a:t>
            </a:fld>
            <a:endParaRPr lang="en-GB" dirty="0"/>
          </a:p>
        </p:txBody>
      </p:sp>
      <p:sp>
        <p:nvSpPr>
          <p:cNvPr id="5" name="Tijdelijke aanduiding voor voettekst 4"/>
          <p:cNvSpPr>
            <a:spLocks noGrp="1"/>
          </p:cNvSpPr>
          <p:nvPr>
            <p:ph type="ftr" sz="quarter" idx="11"/>
          </p:nvPr>
        </p:nvSpPr>
        <p:spPr>
          <a:xfrm>
            <a:off x="9981386" y="5365065"/>
            <a:ext cx="814092" cy="365125"/>
          </a:xfrm>
        </p:spPr>
        <p:txBody>
          <a:bodyPr/>
          <a:lstStyle>
            <a:lvl1pPr>
              <a:defRPr>
                <a:solidFill>
                  <a:schemeClr val="tx2"/>
                </a:solidFill>
              </a:defRPr>
            </a:lvl1pPr>
          </a:lstStyle>
          <a:p>
            <a:r>
              <a:rPr lang="en-GB"/>
              <a:t>|</a:t>
            </a:r>
          </a:p>
        </p:txBody>
      </p:sp>
      <p:sp>
        <p:nvSpPr>
          <p:cNvPr id="6" name="Tijdelijke aanduiding voor dianummer 5"/>
          <p:cNvSpPr>
            <a:spLocks noGrp="1"/>
          </p:cNvSpPr>
          <p:nvPr>
            <p:ph type="sldNum" sz="quarter" idx="12"/>
          </p:nvPr>
        </p:nvSpPr>
        <p:spPr>
          <a:xfrm>
            <a:off x="9560279" y="5401161"/>
            <a:ext cx="540585" cy="365125"/>
          </a:xfrm>
        </p:spPr>
        <p:txBody>
          <a:bodyPr/>
          <a:lstStyle>
            <a:lvl1pPr>
              <a:defRPr>
                <a:solidFill>
                  <a:schemeClr val="tx2"/>
                </a:solidFill>
              </a:defRPr>
            </a:lvl1pPr>
          </a:lstStyle>
          <a:p>
            <a:fld id="{534B5F9C-CFE5-4EC6-9BBB-664E2F56B033}" type="slidenum">
              <a:rPr lang="en-GB" smtClean="0"/>
              <a:pPr/>
              <a:t>‹nr.›</a:t>
            </a:fld>
            <a:endParaRPr lang="en-GB" dirty="0"/>
          </a:p>
        </p:txBody>
      </p:sp>
      <p:sp>
        <p:nvSpPr>
          <p:cNvPr id="28" name="Tijdelijke aanduiding voor afbeelding 2">
            <a:extLst>
              <a:ext uri="{FF2B5EF4-FFF2-40B4-BE49-F238E27FC236}">
                <a16:creationId xmlns:a16="http://schemas.microsoft.com/office/drawing/2014/main" id="{16DBD923-A819-4FA3-8642-E1DC6B8509B0}"/>
              </a:ext>
            </a:extLst>
          </p:cNvPr>
          <p:cNvSpPr>
            <a:spLocks noGrp="1"/>
          </p:cNvSpPr>
          <p:nvPr>
            <p:ph type="pic" idx="13"/>
          </p:nvPr>
        </p:nvSpPr>
        <p:spPr>
          <a:xfrm>
            <a:off x="-2498" y="-2912"/>
            <a:ext cx="9522159" cy="6858478"/>
          </a:xfrm>
          <a:custGeom>
            <a:avLst/>
            <a:gdLst>
              <a:gd name="connsiteX0" fmla="*/ 79964 w 12195175"/>
              <a:gd name="connsiteY0" fmla="*/ 0 h 6858000"/>
              <a:gd name="connsiteX1" fmla="*/ 12115211 w 12195175"/>
              <a:gd name="connsiteY1" fmla="*/ 0 h 6858000"/>
              <a:gd name="connsiteX2" fmla="*/ 12195175 w 12195175"/>
              <a:gd name="connsiteY2" fmla="*/ 79964 h 6858000"/>
              <a:gd name="connsiteX3" fmla="*/ 12195175 w 12195175"/>
              <a:gd name="connsiteY3" fmla="*/ 6858000 h 6858000"/>
              <a:gd name="connsiteX4" fmla="*/ 12195175 w 12195175"/>
              <a:gd name="connsiteY4" fmla="*/ 6858000 h 6858000"/>
              <a:gd name="connsiteX5" fmla="*/ 0 w 12195175"/>
              <a:gd name="connsiteY5" fmla="*/ 6858000 h 6858000"/>
              <a:gd name="connsiteX6" fmla="*/ 0 w 12195175"/>
              <a:gd name="connsiteY6" fmla="*/ 6858000 h 6858000"/>
              <a:gd name="connsiteX7" fmla="*/ 0 w 12195175"/>
              <a:gd name="connsiteY7" fmla="*/ 79964 h 6858000"/>
              <a:gd name="connsiteX8" fmla="*/ 79964 w 12195175"/>
              <a:gd name="connsiteY8"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7673 w 12197673"/>
              <a:gd name="connsiteY3" fmla="*/ 6858000 h 6858000"/>
              <a:gd name="connsiteX4" fmla="*/ 12197673 w 12197673"/>
              <a:gd name="connsiteY4" fmla="*/ 6858000 h 6858000"/>
              <a:gd name="connsiteX5" fmla="*/ 2498 w 12197673"/>
              <a:gd name="connsiteY5" fmla="*/ 6858000 h 6858000"/>
              <a:gd name="connsiteX6" fmla="*/ 2498 w 12197673"/>
              <a:gd name="connsiteY6" fmla="*/ 6858000 h 6858000"/>
              <a:gd name="connsiteX7" fmla="*/ 0 w 12197673"/>
              <a:gd name="connsiteY7" fmla="*/ 6785548 h 6858000"/>
              <a:gd name="connsiteX8" fmla="*/ 2498 w 12197673"/>
              <a:gd name="connsiteY8" fmla="*/ 79964 h 6858000"/>
              <a:gd name="connsiteX9" fmla="*/ 82462 w 12197673"/>
              <a:gd name="connsiteY9"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7673 w 12197673"/>
              <a:gd name="connsiteY3" fmla="*/ 6858000 h 6858000"/>
              <a:gd name="connsiteX4" fmla="*/ 12197673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97673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97673 w 12197673"/>
              <a:gd name="connsiteY5" fmla="*/ 6858000 h 6858000"/>
              <a:gd name="connsiteX6" fmla="*/ 12112052 w 12197673"/>
              <a:gd name="connsiteY6" fmla="*/ 6858000 h 6858000"/>
              <a:gd name="connsiteX7" fmla="*/ 74950 w 12197673"/>
              <a:gd name="connsiteY7" fmla="*/ 6855502 h 6858000"/>
              <a:gd name="connsiteX8" fmla="*/ 2498 w 12197673"/>
              <a:gd name="connsiteY8" fmla="*/ 6858000 h 6858000"/>
              <a:gd name="connsiteX9" fmla="*/ 2498 w 12197673"/>
              <a:gd name="connsiteY9" fmla="*/ 6858000 h 6858000"/>
              <a:gd name="connsiteX10" fmla="*/ 0 w 12197673"/>
              <a:gd name="connsiteY10" fmla="*/ 6785548 h 6858000"/>
              <a:gd name="connsiteX11" fmla="*/ 2498 w 12197673"/>
              <a:gd name="connsiteY11" fmla="*/ 79964 h 6858000"/>
              <a:gd name="connsiteX12" fmla="*/ 82462 w 12197673"/>
              <a:gd name="connsiteY12"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2498 w 12197673"/>
              <a:gd name="connsiteY7" fmla="*/ 6858000 h 6858224"/>
              <a:gd name="connsiteX8" fmla="*/ 0 w 12197673"/>
              <a:gd name="connsiteY8" fmla="*/ 6785548 h 6858224"/>
              <a:gd name="connsiteX9" fmla="*/ 2498 w 12197673"/>
              <a:gd name="connsiteY9" fmla="*/ 79964 h 6858224"/>
              <a:gd name="connsiteX10" fmla="*/ 82462 w 12197673"/>
              <a:gd name="connsiteY10"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2498 w 12197673"/>
              <a:gd name="connsiteY7" fmla="*/ 6858000 h 6858224"/>
              <a:gd name="connsiteX8" fmla="*/ 0 w 12197673"/>
              <a:gd name="connsiteY8" fmla="*/ 6785548 h 6858224"/>
              <a:gd name="connsiteX9" fmla="*/ 2498 w 12197673"/>
              <a:gd name="connsiteY9" fmla="*/ 79964 h 6858224"/>
              <a:gd name="connsiteX10" fmla="*/ 82462 w 12197673"/>
              <a:gd name="connsiteY10"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0 w 12197673"/>
              <a:gd name="connsiteY7" fmla="*/ 6785548 h 6858224"/>
              <a:gd name="connsiteX8" fmla="*/ 2498 w 12197673"/>
              <a:gd name="connsiteY8" fmla="*/ 79964 h 6858224"/>
              <a:gd name="connsiteX9" fmla="*/ 82462 w 12197673"/>
              <a:gd name="connsiteY9"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 name="connsiteX0" fmla="*/ 82462 w 12197673"/>
              <a:gd name="connsiteY0" fmla="*/ 2912 h 6861136"/>
              <a:gd name="connsiteX1" fmla="*/ 9522159 w 12197673"/>
              <a:gd name="connsiteY1" fmla="*/ 0 h 6861136"/>
              <a:gd name="connsiteX2" fmla="*/ 12117709 w 12197673"/>
              <a:gd name="connsiteY2" fmla="*/ 2912 h 6861136"/>
              <a:gd name="connsiteX3" fmla="*/ 12197673 w 12197673"/>
              <a:gd name="connsiteY3" fmla="*/ 82876 h 6861136"/>
              <a:gd name="connsiteX4" fmla="*/ 12194498 w 12197673"/>
              <a:gd name="connsiteY4" fmla="*/ 6780964 h 6861136"/>
              <a:gd name="connsiteX5" fmla="*/ 12112052 w 12197673"/>
              <a:gd name="connsiteY5" fmla="*/ 6860912 h 6861136"/>
              <a:gd name="connsiteX6" fmla="*/ 74950 w 12197673"/>
              <a:gd name="connsiteY6" fmla="*/ 6858414 h 6861136"/>
              <a:gd name="connsiteX7" fmla="*/ 0 w 12197673"/>
              <a:gd name="connsiteY7" fmla="*/ 6788460 h 6861136"/>
              <a:gd name="connsiteX8" fmla="*/ 2498 w 12197673"/>
              <a:gd name="connsiteY8" fmla="*/ 82876 h 6861136"/>
              <a:gd name="connsiteX9" fmla="*/ 82462 w 12197673"/>
              <a:gd name="connsiteY9" fmla="*/ 2912 h 6861136"/>
              <a:gd name="connsiteX0" fmla="*/ 82462 w 12197673"/>
              <a:gd name="connsiteY0" fmla="*/ 2912 h 6861136"/>
              <a:gd name="connsiteX1" fmla="*/ 9522159 w 12197673"/>
              <a:gd name="connsiteY1" fmla="*/ 0 h 6861136"/>
              <a:gd name="connsiteX2" fmla="*/ 12117709 w 12197673"/>
              <a:gd name="connsiteY2" fmla="*/ 2912 h 6861136"/>
              <a:gd name="connsiteX3" fmla="*/ 12197673 w 12197673"/>
              <a:gd name="connsiteY3" fmla="*/ 82876 h 6861136"/>
              <a:gd name="connsiteX4" fmla="*/ 12194498 w 12197673"/>
              <a:gd name="connsiteY4" fmla="*/ 6780964 h 6861136"/>
              <a:gd name="connsiteX5" fmla="*/ 12112052 w 12197673"/>
              <a:gd name="connsiteY5" fmla="*/ 6860912 h 6861136"/>
              <a:gd name="connsiteX6" fmla="*/ 9522159 w 12197673"/>
              <a:gd name="connsiteY6" fmla="*/ 6858000 h 6861136"/>
              <a:gd name="connsiteX7" fmla="*/ 74950 w 12197673"/>
              <a:gd name="connsiteY7" fmla="*/ 6858414 h 6861136"/>
              <a:gd name="connsiteX8" fmla="*/ 0 w 12197673"/>
              <a:gd name="connsiteY8" fmla="*/ 6788460 h 6861136"/>
              <a:gd name="connsiteX9" fmla="*/ 2498 w 12197673"/>
              <a:gd name="connsiteY9" fmla="*/ 82876 h 6861136"/>
              <a:gd name="connsiteX10" fmla="*/ 82462 w 12197673"/>
              <a:gd name="connsiteY10" fmla="*/ 2912 h 6861136"/>
              <a:gd name="connsiteX0" fmla="*/ 82462 w 12334905"/>
              <a:gd name="connsiteY0" fmla="*/ 2912 h 6860912"/>
              <a:gd name="connsiteX1" fmla="*/ 9522159 w 12334905"/>
              <a:gd name="connsiteY1" fmla="*/ 0 h 6860912"/>
              <a:gd name="connsiteX2" fmla="*/ 12117709 w 12334905"/>
              <a:gd name="connsiteY2" fmla="*/ 2912 h 6860912"/>
              <a:gd name="connsiteX3" fmla="*/ 12197673 w 12334905"/>
              <a:gd name="connsiteY3" fmla="*/ 82876 h 6860912"/>
              <a:gd name="connsiteX4" fmla="*/ 12112052 w 12334905"/>
              <a:gd name="connsiteY4" fmla="*/ 6860912 h 6860912"/>
              <a:gd name="connsiteX5" fmla="*/ 9522159 w 12334905"/>
              <a:gd name="connsiteY5" fmla="*/ 6858000 h 6860912"/>
              <a:gd name="connsiteX6" fmla="*/ 74950 w 12334905"/>
              <a:gd name="connsiteY6" fmla="*/ 6858414 h 6860912"/>
              <a:gd name="connsiteX7" fmla="*/ 0 w 12334905"/>
              <a:gd name="connsiteY7" fmla="*/ 6788460 h 6860912"/>
              <a:gd name="connsiteX8" fmla="*/ 2498 w 12334905"/>
              <a:gd name="connsiteY8" fmla="*/ 82876 h 6860912"/>
              <a:gd name="connsiteX9" fmla="*/ 82462 w 12334905"/>
              <a:gd name="connsiteY9" fmla="*/ 2912 h 6860912"/>
              <a:gd name="connsiteX0" fmla="*/ 82462 w 12197673"/>
              <a:gd name="connsiteY0" fmla="*/ 2912 h 6858478"/>
              <a:gd name="connsiteX1" fmla="*/ 9522159 w 12197673"/>
              <a:gd name="connsiteY1" fmla="*/ 0 h 6858478"/>
              <a:gd name="connsiteX2" fmla="*/ 12117709 w 12197673"/>
              <a:gd name="connsiteY2" fmla="*/ 2912 h 6858478"/>
              <a:gd name="connsiteX3" fmla="*/ 12197673 w 12197673"/>
              <a:gd name="connsiteY3" fmla="*/ 82876 h 6858478"/>
              <a:gd name="connsiteX4" fmla="*/ 9522159 w 12197673"/>
              <a:gd name="connsiteY4" fmla="*/ 6858000 h 6858478"/>
              <a:gd name="connsiteX5" fmla="*/ 74950 w 12197673"/>
              <a:gd name="connsiteY5" fmla="*/ 6858414 h 6858478"/>
              <a:gd name="connsiteX6" fmla="*/ 0 w 12197673"/>
              <a:gd name="connsiteY6" fmla="*/ 6788460 h 6858478"/>
              <a:gd name="connsiteX7" fmla="*/ 2498 w 12197673"/>
              <a:gd name="connsiteY7" fmla="*/ 82876 h 6858478"/>
              <a:gd name="connsiteX8" fmla="*/ 82462 w 12197673"/>
              <a:gd name="connsiteY8" fmla="*/ 2912 h 6858478"/>
              <a:gd name="connsiteX0" fmla="*/ 82462 w 12117709"/>
              <a:gd name="connsiteY0" fmla="*/ 2912 h 6858478"/>
              <a:gd name="connsiteX1" fmla="*/ 9522159 w 12117709"/>
              <a:gd name="connsiteY1" fmla="*/ 0 h 6858478"/>
              <a:gd name="connsiteX2" fmla="*/ 12117709 w 12117709"/>
              <a:gd name="connsiteY2" fmla="*/ 2912 h 6858478"/>
              <a:gd name="connsiteX3" fmla="*/ 9522159 w 12117709"/>
              <a:gd name="connsiteY3" fmla="*/ 6858000 h 6858478"/>
              <a:gd name="connsiteX4" fmla="*/ 74950 w 12117709"/>
              <a:gd name="connsiteY4" fmla="*/ 6858414 h 6858478"/>
              <a:gd name="connsiteX5" fmla="*/ 0 w 12117709"/>
              <a:gd name="connsiteY5" fmla="*/ 6788460 h 6858478"/>
              <a:gd name="connsiteX6" fmla="*/ 2498 w 12117709"/>
              <a:gd name="connsiteY6" fmla="*/ 82876 h 6858478"/>
              <a:gd name="connsiteX7" fmla="*/ 82462 w 12117709"/>
              <a:gd name="connsiteY7" fmla="*/ 2912 h 6858478"/>
              <a:gd name="connsiteX0" fmla="*/ 82462 w 12117709"/>
              <a:gd name="connsiteY0" fmla="*/ 2912 h 6858478"/>
              <a:gd name="connsiteX1" fmla="*/ 9522159 w 12117709"/>
              <a:gd name="connsiteY1" fmla="*/ 0 h 6858478"/>
              <a:gd name="connsiteX2" fmla="*/ 12117709 w 12117709"/>
              <a:gd name="connsiteY2" fmla="*/ 2912 h 6858478"/>
              <a:gd name="connsiteX3" fmla="*/ 9522159 w 12117709"/>
              <a:gd name="connsiteY3" fmla="*/ 6858000 h 6858478"/>
              <a:gd name="connsiteX4" fmla="*/ 74950 w 12117709"/>
              <a:gd name="connsiteY4" fmla="*/ 6858414 h 6858478"/>
              <a:gd name="connsiteX5" fmla="*/ 0 w 12117709"/>
              <a:gd name="connsiteY5" fmla="*/ 6788460 h 6858478"/>
              <a:gd name="connsiteX6" fmla="*/ 2498 w 12117709"/>
              <a:gd name="connsiteY6" fmla="*/ 82876 h 6858478"/>
              <a:gd name="connsiteX7" fmla="*/ 82462 w 12117709"/>
              <a:gd name="connsiteY7" fmla="*/ 2912 h 6858478"/>
              <a:gd name="connsiteX0" fmla="*/ 82462 w 9522159"/>
              <a:gd name="connsiteY0" fmla="*/ 2912 h 6858478"/>
              <a:gd name="connsiteX1" fmla="*/ 9522159 w 9522159"/>
              <a:gd name="connsiteY1" fmla="*/ 0 h 6858478"/>
              <a:gd name="connsiteX2" fmla="*/ 9522159 w 9522159"/>
              <a:gd name="connsiteY2" fmla="*/ 6858000 h 6858478"/>
              <a:gd name="connsiteX3" fmla="*/ 74950 w 9522159"/>
              <a:gd name="connsiteY3" fmla="*/ 6858414 h 6858478"/>
              <a:gd name="connsiteX4" fmla="*/ 0 w 9522159"/>
              <a:gd name="connsiteY4" fmla="*/ 6788460 h 6858478"/>
              <a:gd name="connsiteX5" fmla="*/ 2498 w 9522159"/>
              <a:gd name="connsiteY5" fmla="*/ 82876 h 6858478"/>
              <a:gd name="connsiteX6" fmla="*/ 82462 w 9522159"/>
              <a:gd name="connsiteY6" fmla="*/ 2912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2159" h="6858478">
                <a:moveTo>
                  <a:pt x="82462" y="2912"/>
                </a:moveTo>
                <a:lnTo>
                  <a:pt x="9522159" y="0"/>
                </a:lnTo>
                <a:lnTo>
                  <a:pt x="9522159" y="6858000"/>
                </a:lnTo>
                <a:lnTo>
                  <a:pt x="74950" y="6858414"/>
                </a:lnTo>
                <a:cubicBezTo>
                  <a:pt x="37476" y="6860079"/>
                  <a:pt x="-1" y="6829266"/>
                  <a:pt x="0" y="6788460"/>
                </a:cubicBezTo>
                <a:cubicBezTo>
                  <a:pt x="833" y="4553265"/>
                  <a:pt x="1665" y="2318071"/>
                  <a:pt x="2498" y="82876"/>
                </a:cubicBezTo>
                <a:cubicBezTo>
                  <a:pt x="2498" y="38713"/>
                  <a:pt x="38299" y="2912"/>
                  <a:pt x="82462" y="2912"/>
                </a:cubicBezTo>
                <a:close/>
              </a:path>
            </a:pathLst>
          </a:custGeo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8" name="Tijdelijke aanduiding voor tekst 7">
            <a:extLst>
              <a:ext uri="{FF2B5EF4-FFF2-40B4-BE49-F238E27FC236}">
                <a16:creationId xmlns:a16="http://schemas.microsoft.com/office/drawing/2014/main" id="{39BD6526-75E5-4652-A0F9-4ACC8AA0F6C3}"/>
              </a:ext>
            </a:extLst>
          </p:cNvPr>
          <p:cNvSpPr>
            <a:spLocks noGrp="1"/>
          </p:cNvSpPr>
          <p:nvPr>
            <p:ph type="body" sz="quarter" idx="14"/>
          </p:nvPr>
        </p:nvSpPr>
        <p:spPr>
          <a:xfrm>
            <a:off x="9865628" y="358984"/>
            <a:ext cx="2003987" cy="4754909"/>
          </a:xfrm>
        </p:spPr>
        <p:txBody>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1184141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9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fbeelding (4:3) (felblauw)">
    <p:spTree>
      <p:nvGrpSpPr>
        <p:cNvPr id="1" name=""/>
        <p:cNvGrpSpPr/>
        <p:nvPr/>
      </p:nvGrpSpPr>
      <p:grpSpPr>
        <a:xfrm>
          <a:off x="0" y="0"/>
          <a:ext cx="0" cy="0"/>
          <a:chOff x="0" y="0"/>
          <a:chExt cx="0" cy="0"/>
        </a:xfrm>
      </p:grpSpPr>
      <p:sp>
        <p:nvSpPr>
          <p:cNvPr id="23" name="Afgeronde rechthoek 7">
            <a:extLst>
              <a:ext uri="{FF2B5EF4-FFF2-40B4-BE49-F238E27FC236}">
                <a16:creationId xmlns:a16="http://schemas.microsoft.com/office/drawing/2014/main" id="{9E686FF5-BE1E-475E-BC37-372393A83A53}"/>
              </a:ext>
            </a:extLst>
          </p:cNvPr>
          <p:cNvSpPr/>
          <p:nvPr userDrawn="1"/>
        </p:nvSpPr>
        <p:spPr>
          <a:xfrm>
            <a:off x="-1538" y="-1824"/>
            <a:ext cx="9529768" cy="6859823"/>
          </a:xfrm>
          <a:custGeom>
            <a:avLst/>
            <a:gdLst>
              <a:gd name="connsiteX0" fmla="*/ 0 w 12195175"/>
              <a:gd name="connsiteY0" fmla="*/ 95258 h 6858000"/>
              <a:gd name="connsiteX1" fmla="*/ 95258 w 12195175"/>
              <a:gd name="connsiteY1" fmla="*/ 0 h 6858000"/>
              <a:gd name="connsiteX2" fmla="*/ 12099917 w 12195175"/>
              <a:gd name="connsiteY2" fmla="*/ 0 h 6858000"/>
              <a:gd name="connsiteX3" fmla="*/ 12195175 w 12195175"/>
              <a:gd name="connsiteY3" fmla="*/ 95258 h 6858000"/>
              <a:gd name="connsiteX4" fmla="*/ 12195175 w 12195175"/>
              <a:gd name="connsiteY4" fmla="*/ 6762742 h 6858000"/>
              <a:gd name="connsiteX5" fmla="*/ 12099917 w 12195175"/>
              <a:gd name="connsiteY5" fmla="*/ 6858000 h 6858000"/>
              <a:gd name="connsiteX6" fmla="*/ 95258 w 12195175"/>
              <a:gd name="connsiteY6" fmla="*/ 6858000 h 6858000"/>
              <a:gd name="connsiteX7" fmla="*/ 0 w 12195175"/>
              <a:gd name="connsiteY7" fmla="*/ 6762742 h 6858000"/>
              <a:gd name="connsiteX8" fmla="*/ 0 w 12195175"/>
              <a:gd name="connsiteY8" fmla="*/ 95258 h 6858000"/>
              <a:gd name="connsiteX0" fmla="*/ 0 w 12195175"/>
              <a:gd name="connsiteY0" fmla="*/ 118634 h 6881376"/>
              <a:gd name="connsiteX1" fmla="*/ 95258 w 12195175"/>
              <a:gd name="connsiteY1" fmla="*/ 23376 h 6881376"/>
              <a:gd name="connsiteX2" fmla="*/ 12099917 w 12195175"/>
              <a:gd name="connsiteY2" fmla="*/ 23376 h 6881376"/>
              <a:gd name="connsiteX3" fmla="*/ 12195175 w 12195175"/>
              <a:gd name="connsiteY3" fmla="*/ 23384 h 6881376"/>
              <a:gd name="connsiteX4" fmla="*/ 12195175 w 12195175"/>
              <a:gd name="connsiteY4" fmla="*/ 6786118 h 6881376"/>
              <a:gd name="connsiteX5" fmla="*/ 12099917 w 12195175"/>
              <a:gd name="connsiteY5" fmla="*/ 6881376 h 6881376"/>
              <a:gd name="connsiteX6" fmla="*/ 95258 w 12195175"/>
              <a:gd name="connsiteY6" fmla="*/ 6881376 h 6881376"/>
              <a:gd name="connsiteX7" fmla="*/ 0 w 12195175"/>
              <a:gd name="connsiteY7" fmla="*/ 6786118 h 6881376"/>
              <a:gd name="connsiteX8" fmla="*/ 0 w 12195175"/>
              <a:gd name="connsiteY8" fmla="*/ 118634 h 6881376"/>
              <a:gd name="connsiteX0" fmla="*/ 0 w 13021588"/>
              <a:gd name="connsiteY0" fmla="*/ 596245 h 7358987"/>
              <a:gd name="connsiteX1" fmla="*/ 95258 w 13021588"/>
              <a:gd name="connsiteY1" fmla="*/ 500987 h 7358987"/>
              <a:gd name="connsiteX2" fmla="*/ 12099917 w 13021588"/>
              <a:gd name="connsiteY2" fmla="*/ 500987 h 7358987"/>
              <a:gd name="connsiteX3" fmla="*/ 12195175 w 13021588"/>
              <a:gd name="connsiteY3" fmla="*/ 500995 h 7358987"/>
              <a:gd name="connsiteX4" fmla="*/ 12195175 w 13021588"/>
              <a:gd name="connsiteY4" fmla="*/ 7263729 h 7358987"/>
              <a:gd name="connsiteX5" fmla="*/ 12099917 w 13021588"/>
              <a:gd name="connsiteY5" fmla="*/ 7358987 h 7358987"/>
              <a:gd name="connsiteX6" fmla="*/ 95258 w 13021588"/>
              <a:gd name="connsiteY6" fmla="*/ 7358987 h 7358987"/>
              <a:gd name="connsiteX7" fmla="*/ 0 w 13021588"/>
              <a:gd name="connsiteY7" fmla="*/ 7263729 h 7358987"/>
              <a:gd name="connsiteX8" fmla="*/ 0 w 13021588"/>
              <a:gd name="connsiteY8" fmla="*/ 596245 h 7358987"/>
              <a:gd name="connsiteX0" fmla="*/ 0 w 12195175"/>
              <a:gd name="connsiteY0" fmla="*/ 95258 h 6858000"/>
              <a:gd name="connsiteX1" fmla="*/ 95258 w 12195175"/>
              <a:gd name="connsiteY1" fmla="*/ 0 h 6858000"/>
              <a:gd name="connsiteX2" fmla="*/ 12195175 w 12195175"/>
              <a:gd name="connsiteY2" fmla="*/ 8 h 6858000"/>
              <a:gd name="connsiteX3" fmla="*/ 12195175 w 12195175"/>
              <a:gd name="connsiteY3" fmla="*/ 6762742 h 6858000"/>
              <a:gd name="connsiteX4" fmla="*/ 12099917 w 12195175"/>
              <a:gd name="connsiteY4" fmla="*/ 6858000 h 6858000"/>
              <a:gd name="connsiteX5" fmla="*/ 95258 w 12195175"/>
              <a:gd name="connsiteY5" fmla="*/ 6858000 h 6858000"/>
              <a:gd name="connsiteX6" fmla="*/ 0 w 12195175"/>
              <a:gd name="connsiteY6" fmla="*/ 6762742 h 6858000"/>
              <a:gd name="connsiteX7" fmla="*/ 0 w 12195175"/>
              <a:gd name="connsiteY7" fmla="*/ 95258 h 6858000"/>
              <a:gd name="connsiteX0" fmla="*/ 0 w 12213415"/>
              <a:gd name="connsiteY0" fmla="*/ 95258 h 6858000"/>
              <a:gd name="connsiteX1" fmla="*/ 95258 w 12213415"/>
              <a:gd name="connsiteY1" fmla="*/ 0 h 6858000"/>
              <a:gd name="connsiteX2" fmla="*/ 12195175 w 12213415"/>
              <a:gd name="connsiteY2" fmla="*/ 8 h 6858000"/>
              <a:gd name="connsiteX3" fmla="*/ 12195175 w 12213415"/>
              <a:gd name="connsiteY3" fmla="*/ 6762742 h 6858000"/>
              <a:gd name="connsiteX4" fmla="*/ 12188023 w 12213415"/>
              <a:gd name="connsiteY4" fmla="*/ 6858000 h 6858000"/>
              <a:gd name="connsiteX5" fmla="*/ 95258 w 12213415"/>
              <a:gd name="connsiteY5" fmla="*/ 6858000 h 6858000"/>
              <a:gd name="connsiteX6" fmla="*/ 0 w 12213415"/>
              <a:gd name="connsiteY6" fmla="*/ 6762742 h 6858000"/>
              <a:gd name="connsiteX7" fmla="*/ 0 w 12213415"/>
              <a:gd name="connsiteY7" fmla="*/ 95258 h 6858000"/>
              <a:gd name="connsiteX0" fmla="*/ 0 w 13085932"/>
              <a:gd name="connsiteY0" fmla="*/ 95258 h 7296671"/>
              <a:gd name="connsiteX1" fmla="*/ 95258 w 13085932"/>
              <a:gd name="connsiteY1" fmla="*/ 0 h 7296671"/>
              <a:gd name="connsiteX2" fmla="*/ 12195175 w 13085932"/>
              <a:gd name="connsiteY2" fmla="*/ 8 h 7296671"/>
              <a:gd name="connsiteX3" fmla="*/ 12195175 w 13085932"/>
              <a:gd name="connsiteY3" fmla="*/ 6762742 h 7296671"/>
              <a:gd name="connsiteX4" fmla="*/ 12188023 w 13085932"/>
              <a:gd name="connsiteY4" fmla="*/ 6858000 h 7296671"/>
              <a:gd name="connsiteX5" fmla="*/ 95258 w 13085932"/>
              <a:gd name="connsiteY5" fmla="*/ 6858000 h 7296671"/>
              <a:gd name="connsiteX6" fmla="*/ 0 w 13085932"/>
              <a:gd name="connsiteY6" fmla="*/ 6762742 h 7296671"/>
              <a:gd name="connsiteX7" fmla="*/ 0 w 13085932"/>
              <a:gd name="connsiteY7" fmla="*/ 95258 h 7296671"/>
              <a:gd name="connsiteX0" fmla="*/ 0 w 12195175"/>
              <a:gd name="connsiteY0" fmla="*/ 95258 h 6858000"/>
              <a:gd name="connsiteX1" fmla="*/ 95258 w 12195175"/>
              <a:gd name="connsiteY1" fmla="*/ 0 h 6858000"/>
              <a:gd name="connsiteX2" fmla="*/ 12195175 w 12195175"/>
              <a:gd name="connsiteY2" fmla="*/ 8 h 6858000"/>
              <a:gd name="connsiteX3" fmla="*/ 12188023 w 12195175"/>
              <a:gd name="connsiteY3" fmla="*/ 6858000 h 6858000"/>
              <a:gd name="connsiteX4" fmla="*/ 95258 w 12195175"/>
              <a:gd name="connsiteY4" fmla="*/ 6858000 h 6858000"/>
              <a:gd name="connsiteX5" fmla="*/ 0 w 12195175"/>
              <a:gd name="connsiteY5" fmla="*/ 6762742 h 6858000"/>
              <a:gd name="connsiteX6" fmla="*/ 0 w 12195175"/>
              <a:gd name="connsiteY6" fmla="*/ 95258 h 6858000"/>
              <a:gd name="connsiteX0" fmla="*/ 0 w 13092080"/>
              <a:gd name="connsiteY0" fmla="*/ 602898 h 7365640"/>
              <a:gd name="connsiteX1" fmla="*/ 95258 w 13092080"/>
              <a:gd name="connsiteY1" fmla="*/ 507640 h 7365640"/>
              <a:gd name="connsiteX2" fmla="*/ 12195175 w 13092080"/>
              <a:gd name="connsiteY2" fmla="*/ 507648 h 7365640"/>
              <a:gd name="connsiteX3" fmla="*/ 12197548 w 13092080"/>
              <a:gd name="connsiteY3" fmla="*/ 7360878 h 7365640"/>
              <a:gd name="connsiteX4" fmla="*/ 95258 w 13092080"/>
              <a:gd name="connsiteY4" fmla="*/ 7365640 h 7365640"/>
              <a:gd name="connsiteX5" fmla="*/ 0 w 13092080"/>
              <a:gd name="connsiteY5" fmla="*/ 7270382 h 7365640"/>
              <a:gd name="connsiteX6" fmla="*/ 0 w 13092080"/>
              <a:gd name="connsiteY6" fmla="*/ 602898 h 7365640"/>
              <a:gd name="connsiteX0" fmla="*/ 0 w 13091286"/>
              <a:gd name="connsiteY0" fmla="*/ 603074 h 7365816"/>
              <a:gd name="connsiteX1" fmla="*/ 95258 w 13091286"/>
              <a:gd name="connsiteY1" fmla="*/ 507816 h 7365816"/>
              <a:gd name="connsiteX2" fmla="*/ 12195175 w 13091286"/>
              <a:gd name="connsiteY2" fmla="*/ 507824 h 7365816"/>
              <a:gd name="connsiteX3" fmla="*/ 12195167 w 13091286"/>
              <a:gd name="connsiteY3" fmla="*/ 7363435 h 7365816"/>
              <a:gd name="connsiteX4" fmla="*/ 95258 w 13091286"/>
              <a:gd name="connsiteY4" fmla="*/ 7365816 h 7365816"/>
              <a:gd name="connsiteX5" fmla="*/ 0 w 13091286"/>
              <a:gd name="connsiteY5" fmla="*/ 7270558 h 7365816"/>
              <a:gd name="connsiteX6" fmla="*/ 0 w 13091286"/>
              <a:gd name="connsiteY6" fmla="*/ 603074 h 7365816"/>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3093671"/>
              <a:gd name="connsiteY0" fmla="*/ 603251 h 7365993"/>
              <a:gd name="connsiteX1" fmla="*/ 95258 w 13093671"/>
              <a:gd name="connsiteY1" fmla="*/ 507993 h 7365993"/>
              <a:gd name="connsiteX2" fmla="*/ 12195175 w 13093671"/>
              <a:gd name="connsiteY2" fmla="*/ 508001 h 7365993"/>
              <a:gd name="connsiteX3" fmla="*/ 12202311 w 13093671"/>
              <a:gd name="connsiteY3" fmla="*/ 7365993 h 7365993"/>
              <a:gd name="connsiteX4" fmla="*/ 95258 w 13093671"/>
              <a:gd name="connsiteY4" fmla="*/ 7365993 h 7365993"/>
              <a:gd name="connsiteX5" fmla="*/ 0 w 13093671"/>
              <a:gd name="connsiteY5" fmla="*/ 7270735 h 7365993"/>
              <a:gd name="connsiteX6" fmla="*/ 0 w 13093671"/>
              <a:gd name="connsiteY6" fmla="*/ 603251 h 7365993"/>
              <a:gd name="connsiteX0" fmla="*/ 0 w 12202311"/>
              <a:gd name="connsiteY0" fmla="*/ 489460 h 7252202"/>
              <a:gd name="connsiteX1" fmla="*/ 95258 w 12202311"/>
              <a:gd name="connsiteY1" fmla="*/ 394202 h 7252202"/>
              <a:gd name="connsiteX2" fmla="*/ 12195175 w 12202311"/>
              <a:gd name="connsiteY2" fmla="*/ 394210 h 7252202"/>
              <a:gd name="connsiteX3" fmla="*/ 12202311 w 12202311"/>
              <a:gd name="connsiteY3" fmla="*/ 7252202 h 7252202"/>
              <a:gd name="connsiteX4" fmla="*/ 95258 w 12202311"/>
              <a:gd name="connsiteY4" fmla="*/ 7252202 h 7252202"/>
              <a:gd name="connsiteX5" fmla="*/ 0 w 12202311"/>
              <a:gd name="connsiteY5" fmla="*/ 7156944 h 7252202"/>
              <a:gd name="connsiteX6" fmla="*/ 0 w 12202311"/>
              <a:gd name="connsiteY6" fmla="*/ 489460 h 7252202"/>
              <a:gd name="connsiteX0" fmla="*/ 0 w 12202311"/>
              <a:gd name="connsiteY0" fmla="*/ 489460 h 7252202"/>
              <a:gd name="connsiteX1" fmla="*/ 95258 w 12202311"/>
              <a:gd name="connsiteY1" fmla="*/ 394202 h 7252202"/>
              <a:gd name="connsiteX2" fmla="*/ 12195175 w 12202311"/>
              <a:gd name="connsiteY2" fmla="*/ 394210 h 7252202"/>
              <a:gd name="connsiteX3" fmla="*/ 12202311 w 12202311"/>
              <a:gd name="connsiteY3" fmla="*/ 7252202 h 7252202"/>
              <a:gd name="connsiteX4" fmla="*/ 95258 w 12202311"/>
              <a:gd name="connsiteY4" fmla="*/ 7252202 h 7252202"/>
              <a:gd name="connsiteX5" fmla="*/ 0 w 12202311"/>
              <a:gd name="connsiteY5" fmla="*/ 7156944 h 7252202"/>
              <a:gd name="connsiteX6" fmla="*/ 0 w 12202311"/>
              <a:gd name="connsiteY6" fmla="*/ 489460 h 7252202"/>
              <a:gd name="connsiteX0" fmla="*/ 0 w 12202311"/>
              <a:gd name="connsiteY0" fmla="*/ 95258 h 6858000"/>
              <a:gd name="connsiteX1" fmla="*/ 95258 w 12202311"/>
              <a:gd name="connsiteY1" fmla="*/ 0 h 6858000"/>
              <a:gd name="connsiteX2" fmla="*/ 12195175 w 12202311"/>
              <a:gd name="connsiteY2" fmla="*/ 8 h 6858000"/>
              <a:gd name="connsiteX3" fmla="*/ 12202311 w 12202311"/>
              <a:gd name="connsiteY3" fmla="*/ 6858000 h 6858000"/>
              <a:gd name="connsiteX4" fmla="*/ 95258 w 12202311"/>
              <a:gd name="connsiteY4" fmla="*/ 6858000 h 6858000"/>
              <a:gd name="connsiteX5" fmla="*/ 0 w 12202311"/>
              <a:gd name="connsiteY5" fmla="*/ 6762742 h 6858000"/>
              <a:gd name="connsiteX6" fmla="*/ 0 w 12202311"/>
              <a:gd name="connsiteY6" fmla="*/ 95258 h 6858000"/>
              <a:gd name="connsiteX0" fmla="*/ 0 w 12205862"/>
              <a:gd name="connsiteY0" fmla="*/ 789969 h 7552711"/>
              <a:gd name="connsiteX1" fmla="*/ 95258 w 12205862"/>
              <a:gd name="connsiteY1" fmla="*/ 694711 h 7552711"/>
              <a:gd name="connsiteX2" fmla="*/ 12195175 w 12205862"/>
              <a:gd name="connsiteY2" fmla="*/ 694719 h 7552711"/>
              <a:gd name="connsiteX3" fmla="*/ 12202311 w 12205862"/>
              <a:gd name="connsiteY3" fmla="*/ 7552711 h 7552711"/>
              <a:gd name="connsiteX4" fmla="*/ 95258 w 12205862"/>
              <a:gd name="connsiteY4" fmla="*/ 7552711 h 7552711"/>
              <a:gd name="connsiteX5" fmla="*/ 0 w 12205862"/>
              <a:gd name="connsiteY5" fmla="*/ 7457453 h 7552711"/>
              <a:gd name="connsiteX6" fmla="*/ 0 w 12205862"/>
              <a:gd name="connsiteY6" fmla="*/ 789969 h 7552711"/>
              <a:gd name="connsiteX0" fmla="*/ 0 w 12205862"/>
              <a:gd name="connsiteY0" fmla="*/ 789969 h 7552711"/>
              <a:gd name="connsiteX1" fmla="*/ 95258 w 12205862"/>
              <a:gd name="connsiteY1" fmla="*/ 694711 h 7552711"/>
              <a:gd name="connsiteX2" fmla="*/ 12195175 w 12205862"/>
              <a:gd name="connsiteY2" fmla="*/ 694719 h 7552711"/>
              <a:gd name="connsiteX3" fmla="*/ 12202311 w 12205862"/>
              <a:gd name="connsiteY3" fmla="*/ 7552711 h 7552711"/>
              <a:gd name="connsiteX4" fmla="*/ 95258 w 12205862"/>
              <a:gd name="connsiteY4" fmla="*/ 7552711 h 7552711"/>
              <a:gd name="connsiteX5" fmla="*/ 0 w 12205862"/>
              <a:gd name="connsiteY5" fmla="*/ 7457453 h 7552711"/>
              <a:gd name="connsiteX6" fmla="*/ 0 w 12205862"/>
              <a:gd name="connsiteY6" fmla="*/ 789969 h 7552711"/>
              <a:gd name="connsiteX0" fmla="*/ 0 w 12639103"/>
              <a:gd name="connsiteY0" fmla="*/ 620131 h 7382873"/>
              <a:gd name="connsiteX1" fmla="*/ 95258 w 12639103"/>
              <a:gd name="connsiteY1" fmla="*/ 524873 h 7382873"/>
              <a:gd name="connsiteX2" fmla="*/ 12195175 w 12639103"/>
              <a:gd name="connsiteY2" fmla="*/ 524881 h 7382873"/>
              <a:gd name="connsiteX3" fmla="*/ 12202311 w 12639103"/>
              <a:gd name="connsiteY3" fmla="*/ 7382873 h 7382873"/>
              <a:gd name="connsiteX4" fmla="*/ 95258 w 12639103"/>
              <a:gd name="connsiteY4" fmla="*/ 7382873 h 7382873"/>
              <a:gd name="connsiteX5" fmla="*/ 0 w 12639103"/>
              <a:gd name="connsiteY5" fmla="*/ 7287615 h 7382873"/>
              <a:gd name="connsiteX6" fmla="*/ 0 w 12639103"/>
              <a:gd name="connsiteY6" fmla="*/ 620131 h 7382873"/>
              <a:gd name="connsiteX0" fmla="*/ 0 w 12639103"/>
              <a:gd name="connsiteY0" fmla="*/ 620131 h 7382873"/>
              <a:gd name="connsiteX1" fmla="*/ 95258 w 12639103"/>
              <a:gd name="connsiteY1" fmla="*/ 524873 h 7382873"/>
              <a:gd name="connsiteX2" fmla="*/ 12195175 w 12639103"/>
              <a:gd name="connsiteY2" fmla="*/ 524881 h 7382873"/>
              <a:gd name="connsiteX3" fmla="*/ 12202311 w 12639103"/>
              <a:gd name="connsiteY3" fmla="*/ 7382873 h 7382873"/>
              <a:gd name="connsiteX4" fmla="*/ 95258 w 12639103"/>
              <a:gd name="connsiteY4" fmla="*/ 7382873 h 7382873"/>
              <a:gd name="connsiteX5" fmla="*/ 0 w 12639103"/>
              <a:gd name="connsiteY5" fmla="*/ 7287615 h 7382873"/>
              <a:gd name="connsiteX6" fmla="*/ 0 w 12639103"/>
              <a:gd name="connsiteY6" fmla="*/ 620131 h 7382873"/>
              <a:gd name="connsiteX0" fmla="*/ 0 w 12837278"/>
              <a:gd name="connsiteY0" fmla="*/ 165206 h 6927948"/>
              <a:gd name="connsiteX1" fmla="*/ 95258 w 12837278"/>
              <a:gd name="connsiteY1" fmla="*/ 69948 h 6927948"/>
              <a:gd name="connsiteX2" fmla="*/ 12195175 w 12837278"/>
              <a:gd name="connsiteY2" fmla="*/ 69956 h 6927948"/>
              <a:gd name="connsiteX3" fmla="*/ 12202311 w 12837278"/>
              <a:gd name="connsiteY3" fmla="*/ 6927948 h 6927948"/>
              <a:gd name="connsiteX4" fmla="*/ 95258 w 12837278"/>
              <a:gd name="connsiteY4" fmla="*/ 6927948 h 6927948"/>
              <a:gd name="connsiteX5" fmla="*/ 0 w 12837278"/>
              <a:gd name="connsiteY5" fmla="*/ 6832690 h 6927948"/>
              <a:gd name="connsiteX6" fmla="*/ 0 w 12837278"/>
              <a:gd name="connsiteY6" fmla="*/ 165206 h 6927948"/>
              <a:gd name="connsiteX0" fmla="*/ 0 w 12837278"/>
              <a:gd name="connsiteY0" fmla="*/ 165206 h 6927948"/>
              <a:gd name="connsiteX1" fmla="*/ 95258 w 12837278"/>
              <a:gd name="connsiteY1" fmla="*/ 69948 h 6927948"/>
              <a:gd name="connsiteX2" fmla="*/ 12195175 w 12837278"/>
              <a:gd name="connsiteY2" fmla="*/ 69956 h 6927948"/>
              <a:gd name="connsiteX3" fmla="*/ 12202311 w 12837278"/>
              <a:gd name="connsiteY3" fmla="*/ 6927948 h 6927948"/>
              <a:gd name="connsiteX4" fmla="*/ 95258 w 12837278"/>
              <a:gd name="connsiteY4" fmla="*/ 6927948 h 6927948"/>
              <a:gd name="connsiteX5" fmla="*/ 0 w 12837278"/>
              <a:gd name="connsiteY5" fmla="*/ 6832690 h 6927948"/>
              <a:gd name="connsiteX6" fmla="*/ 0 w 12837278"/>
              <a:gd name="connsiteY6" fmla="*/ 165206 h 6927948"/>
              <a:gd name="connsiteX0" fmla="*/ 0 w 12837278"/>
              <a:gd name="connsiteY0" fmla="*/ 165206 h 6927948"/>
              <a:gd name="connsiteX1" fmla="*/ 95258 w 12837278"/>
              <a:gd name="connsiteY1" fmla="*/ 69948 h 6927948"/>
              <a:gd name="connsiteX2" fmla="*/ 12195175 w 12837278"/>
              <a:gd name="connsiteY2" fmla="*/ 69956 h 6927948"/>
              <a:gd name="connsiteX3" fmla="*/ 12202311 w 12837278"/>
              <a:gd name="connsiteY3" fmla="*/ 6927948 h 6927948"/>
              <a:gd name="connsiteX4" fmla="*/ 95258 w 12837278"/>
              <a:gd name="connsiteY4" fmla="*/ 6927948 h 6927948"/>
              <a:gd name="connsiteX5" fmla="*/ 0 w 12837278"/>
              <a:gd name="connsiteY5" fmla="*/ 6832690 h 6927948"/>
              <a:gd name="connsiteX6" fmla="*/ 0 w 12837278"/>
              <a:gd name="connsiteY6" fmla="*/ 165206 h 6927948"/>
              <a:gd name="connsiteX0" fmla="*/ 0 w 12202311"/>
              <a:gd name="connsiteY0" fmla="*/ 165206 h 6927948"/>
              <a:gd name="connsiteX1" fmla="*/ 95258 w 12202311"/>
              <a:gd name="connsiteY1" fmla="*/ 69948 h 6927948"/>
              <a:gd name="connsiteX2" fmla="*/ 12195175 w 12202311"/>
              <a:gd name="connsiteY2" fmla="*/ 69956 h 6927948"/>
              <a:gd name="connsiteX3" fmla="*/ 12202311 w 12202311"/>
              <a:gd name="connsiteY3" fmla="*/ 6927948 h 6927948"/>
              <a:gd name="connsiteX4" fmla="*/ 95258 w 12202311"/>
              <a:gd name="connsiteY4" fmla="*/ 6927948 h 6927948"/>
              <a:gd name="connsiteX5" fmla="*/ 0 w 12202311"/>
              <a:gd name="connsiteY5" fmla="*/ 6832690 h 6927948"/>
              <a:gd name="connsiteX6" fmla="*/ 0 w 12202311"/>
              <a:gd name="connsiteY6" fmla="*/ 165206 h 6927948"/>
              <a:gd name="connsiteX0" fmla="*/ 0 w 12202311"/>
              <a:gd name="connsiteY0" fmla="*/ 95258 h 6858000"/>
              <a:gd name="connsiteX1" fmla="*/ 95258 w 12202311"/>
              <a:gd name="connsiteY1" fmla="*/ 0 h 6858000"/>
              <a:gd name="connsiteX2" fmla="*/ 12195175 w 12202311"/>
              <a:gd name="connsiteY2" fmla="*/ 8 h 6858000"/>
              <a:gd name="connsiteX3" fmla="*/ 12202311 w 12202311"/>
              <a:gd name="connsiteY3" fmla="*/ 6858000 h 6858000"/>
              <a:gd name="connsiteX4" fmla="*/ 95258 w 12202311"/>
              <a:gd name="connsiteY4" fmla="*/ 6858000 h 6858000"/>
              <a:gd name="connsiteX5" fmla="*/ 0 w 12202311"/>
              <a:gd name="connsiteY5" fmla="*/ 6762742 h 6858000"/>
              <a:gd name="connsiteX6" fmla="*/ 0 w 12202311"/>
              <a:gd name="connsiteY6" fmla="*/ 95258 h 6858000"/>
              <a:gd name="connsiteX0" fmla="*/ 0 w 12202311"/>
              <a:gd name="connsiteY0" fmla="*/ 95258 h 6858000"/>
              <a:gd name="connsiteX1" fmla="*/ 95258 w 12202311"/>
              <a:gd name="connsiteY1" fmla="*/ 0 h 6858000"/>
              <a:gd name="connsiteX2" fmla="*/ 12195175 w 12202311"/>
              <a:gd name="connsiteY2" fmla="*/ 8 h 6858000"/>
              <a:gd name="connsiteX3" fmla="*/ 12202311 w 12202311"/>
              <a:gd name="connsiteY3" fmla="*/ 6858000 h 6858000"/>
              <a:gd name="connsiteX4" fmla="*/ 95258 w 12202311"/>
              <a:gd name="connsiteY4" fmla="*/ 6858000 h 6858000"/>
              <a:gd name="connsiteX5" fmla="*/ 0 w 12202311"/>
              <a:gd name="connsiteY5" fmla="*/ 6762742 h 6858000"/>
              <a:gd name="connsiteX6" fmla="*/ 0 w 12202311"/>
              <a:gd name="connsiteY6" fmla="*/ 95258 h 6858000"/>
              <a:gd name="connsiteX0" fmla="*/ 0 w 12202311"/>
              <a:gd name="connsiteY0" fmla="*/ 95258 h 6858000"/>
              <a:gd name="connsiteX1" fmla="*/ 95258 w 12202311"/>
              <a:gd name="connsiteY1" fmla="*/ 0 h 6858000"/>
              <a:gd name="connsiteX2" fmla="*/ 12195175 w 12202311"/>
              <a:gd name="connsiteY2" fmla="*/ 8 h 6858000"/>
              <a:gd name="connsiteX3" fmla="*/ 12202311 w 12202311"/>
              <a:gd name="connsiteY3" fmla="*/ 6858000 h 6858000"/>
              <a:gd name="connsiteX4" fmla="*/ 95258 w 12202311"/>
              <a:gd name="connsiteY4" fmla="*/ 6858000 h 6858000"/>
              <a:gd name="connsiteX5" fmla="*/ 0 w 12202311"/>
              <a:gd name="connsiteY5" fmla="*/ 6762742 h 6858000"/>
              <a:gd name="connsiteX6" fmla="*/ 0 w 12202311"/>
              <a:gd name="connsiteY6" fmla="*/ 95258 h 6858000"/>
              <a:gd name="connsiteX0" fmla="*/ 0 w 13012739"/>
              <a:gd name="connsiteY0" fmla="*/ 95258 h 7364588"/>
              <a:gd name="connsiteX1" fmla="*/ 95258 w 13012739"/>
              <a:gd name="connsiteY1" fmla="*/ 0 h 7364588"/>
              <a:gd name="connsiteX2" fmla="*/ 11922125 w 13012739"/>
              <a:gd name="connsiteY2" fmla="*/ 19058 h 7364588"/>
              <a:gd name="connsiteX3" fmla="*/ 12202311 w 13012739"/>
              <a:gd name="connsiteY3" fmla="*/ 6858000 h 7364588"/>
              <a:gd name="connsiteX4" fmla="*/ 95258 w 13012739"/>
              <a:gd name="connsiteY4" fmla="*/ 6858000 h 7364588"/>
              <a:gd name="connsiteX5" fmla="*/ 0 w 13012739"/>
              <a:gd name="connsiteY5" fmla="*/ 6762742 h 7364588"/>
              <a:gd name="connsiteX6" fmla="*/ 0 w 13012739"/>
              <a:gd name="connsiteY6" fmla="*/ 95258 h 7364588"/>
              <a:gd name="connsiteX0" fmla="*/ 0 w 13169364"/>
              <a:gd name="connsiteY0" fmla="*/ 228600 h 7509219"/>
              <a:gd name="connsiteX1" fmla="*/ 95258 w 13169364"/>
              <a:gd name="connsiteY1" fmla="*/ 133342 h 7509219"/>
              <a:gd name="connsiteX2" fmla="*/ 12398375 w 13169364"/>
              <a:gd name="connsiteY2" fmla="*/ 0 h 7509219"/>
              <a:gd name="connsiteX3" fmla="*/ 12202311 w 13169364"/>
              <a:gd name="connsiteY3" fmla="*/ 6991342 h 7509219"/>
              <a:gd name="connsiteX4" fmla="*/ 95258 w 13169364"/>
              <a:gd name="connsiteY4" fmla="*/ 6991342 h 7509219"/>
              <a:gd name="connsiteX5" fmla="*/ 0 w 13169364"/>
              <a:gd name="connsiteY5" fmla="*/ 6896084 h 7509219"/>
              <a:gd name="connsiteX6" fmla="*/ 0 w 13169364"/>
              <a:gd name="connsiteY6" fmla="*/ 228600 h 7509219"/>
              <a:gd name="connsiteX0" fmla="*/ 0 w 12911670"/>
              <a:gd name="connsiteY0" fmla="*/ 95258 h 7325547"/>
              <a:gd name="connsiteX1" fmla="*/ 95258 w 12911670"/>
              <a:gd name="connsiteY1" fmla="*/ 0 h 7325547"/>
              <a:gd name="connsiteX2" fmla="*/ 11553825 w 12911670"/>
              <a:gd name="connsiteY2" fmla="*/ 546108 h 7325547"/>
              <a:gd name="connsiteX3" fmla="*/ 12202311 w 12911670"/>
              <a:gd name="connsiteY3" fmla="*/ 6858000 h 7325547"/>
              <a:gd name="connsiteX4" fmla="*/ 95258 w 12911670"/>
              <a:gd name="connsiteY4" fmla="*/ 6858000 h 7325547"/>
              <a:gd name="connsiteX5" fmla="*/ 0 w 12911670"/>
              <a:gd name="connsiteY5" fmla="*/ 6762742 h 7325547"/>
              <a:gd name="connsiteX6" fmla="*/ 0 w 12911670"/>
              <a:gd name="connsiteY6" fmla="*/ 95258 h 7325547"/>
              <a:gd name="connsiteX0" fmla="*/ 0 w 13100634"/>
              <a:gd name="connsiteY0" fmla="*/ 95258 h 7365999"/>
              <a:gd name="connsiteX1" fmla="*/ 95258 w 13100634"/>
              <a:gd name="connsiteY1" fmla="*/ 0 h 7365999"/>
              <a:gd name="connsiteX2" fmla="*/ 12201525 w 13100634"/>
              <a:gd name="connsiteY2" fmla="*/ 8 h 7365999"/>
              <a:gd name="connsiteX3" fmla="*/ 12202311 w 13100634"/>
              <a:gd name="connsiteY3" fmla="*/ 6858000 h 7365999"/>
              <a:gd name="connsiteX4" fmla="*/ 95258 w 13100634"/>
              <a:gd name="connsiteY4" fmla="*/ 6858000 h 7365999"/>
              <a:gd name="connsiteX5" fmla="*/ 0 w 13100634"/>
              <a:gd name="connsiteY5" fmla="*/ 6762742 h 7365999"/>
              <a:gd name="connsiteX6" fmla="*/ 0 w 13100634"/>
              <a:gd name="connsiteY6" fmla="*/ 95258 h 7365999"/>
              <a:gd name="connsiteX0" fmla="*/ 0 w 12205175"/>
              <a:gd name="connsiteY0" fmla="*/ 95258 h 7365999"/>
              <a:gd name="connsiteX1" fmla="*/ 95258 w 12205175"/>
              <a:gd name="connsiteY1" fmla="*/ 0 h 7365999"/>
              <a:gd name="connsiteX2" fmla="*/ 12201525 w 12205175"/>
              <a:gd name="connsiteY2" fmla="*/ 8 h 7365999"/>
              <a:gd name="connsiteX3" fmla="*/ 12202311 w 12205175"/>
              <a:gd name="connsiteY3" fmla="*/ 6858000 h 7365999"/>
              <a:gd name="connsiteX4" fmla="*/ 95258 w 12205175"/>
              <a:gd name="connsiteY4" fmla="*/ 6858000 h 7365999"/>
              <a:gd name="connsiteX5" fmla="*/ 0 w 12205175"/>
              <a:gd name="connsiteY5" fmla="*/ 6762742 h 7365999"/>
              <a:gd name="connsiteX6" fmla="*/ 0 w 12205175"/>
              <a:gd name="connsiteY6" fmla="*/ 95258 h 7365999"/>
              <a:gd name="connsiteX0" fmla="*/ 0 w 12205175"/>
              <a:gd name="connsiteY0" fmla="*/ 95258 h 6858000"/>
              <a:gd name="connsiteX1" fmla="*/ 95258 w 12205175"/>
              <a:gd name="connsiteY1" fmla="*/ 0 h 6858000"/>
              <a:gd name="connsiteX2" fmla="*/ 12201525 w 12205175"/>
              <a:gd name="connsiteY2" fmla="*/ 8 h 6858000"/>
              <a:gd name="connsiteX3" fmla="*/ 12202311 w 12205175"/>
              <a:gd name="connsiteY3" fmla="*/ 6858000 h 6858000"/>
              <a:gd name="connsiteX4" fmla="*/ 95258 w 12205175"/>
              <a:gd name="connsiteY4" fmla="*/ 6858000 h 6858000"/>
              <a:gd name="connsiteX5" fmla="*/ 0 w 12205175"/>
              <a:gd name="connsiteY5" fmla="*/ 6762742 h 6858000"/>
              <a:gd name="connsiteX6" fmla="*/ 0 w 12205175"/>
              <a:gd name="connsiteY6" fmla="*/ 95258 h 6858000"/>
              <a:gd name="connsiteX0" fmla="*/ 0 w 12205175"/>
              <a:gd name="connsiteY0" fmla="*/ 95258 h 6858000"/>
              <a:gd name="connsiteX1" fmla="*/ 95258 w 12205175"/>
              <a:gd name="connsiteY1" fmla="*/ 0 h 6858000"/>
              <a:gd name="connsiteX2" fmla="*/ 12201525 w 12205175"/>
              <a:gd name="connsiteY2" fmla="*/ 8 h 6858000"/>
              <a:gd name="connsiteX3" fmla="*/ 12202311 w 12205175"/>
              <a:gd name="connsiteY3" fmla="*/ 6858000 h 6858000"/>
              <a:gd name="connsiteX4" fmla="*/ 95258 w 12205175"/>
              <a:gd name="connsiteY4" fmla="*/ 6858000 h 6858000"/>
              <a:gd name="connsiteX5" fmla="*/ 0 w 12205175"/>
              <a:gd name="connsiteY5" fmla="*/ 6762742 h 6858000"/>
              <a:gd name="connsiteX6" fmla="*/ 0 w 12205175"/>
              <a:gd name="connsiteY6" fmla="*/ 95258 h 6858000"/>
              <a:gd name="connsiteX0" fmla="*/ 0 w 12201542"/>
              <a:gd name="connsiteY0" fmla="*/ 95258 h 6858000"/>
              <a:gd name="connsiteX1" fmla="*/ 95258 w 12201542"/>
              <a:gd name="connsiteY1" fmla="*/ 0 h 6858000"/>
              <a:gd name="connsiteX2" fmla="*/ 12201525 w 12201542"/>
              <a:gd name="connsiteY2" fmla="*/ 8 h 6858000"/>
              <a:gd name="connsiteX3" fmla="*/ 9527477 w 12201542"/>
              <a:gd name="connsiteY3" fmla="*/ 6858000 h 6858000"/>
              <a:gd name="connsiteX4" fmla="*/ 95258 w 12201542"/>
              <a:gd name="connsiteY4" fmla="*/ 6858000 h 6858000"/>
              <a:gd name="connsiteX5" fmla="*/ 0 w 12201542"/>
              <a:gd name="connsiteY5" fmla="*/ 6762742 h 6858000"/>
              <a:gd name="connsiteX6" fmla="*/ 0 w 12201542"/>
              <a:gd name="connsiteY6" fmla="*/ 95258 h 6858000"/>
              <a:gd name="connsiteX0" fmla="*/ 0 w 9527477"/>
              <a:gd name="connsiteY0" fmla="*/ 103795 h 6866537"/>
              <a:gd name="connsiteX1" fmla="*/ 95258 w 9527477"/>
              <a:gd name="connsiteY1" fmla="*/ 8537 h 6866537"/>
              <a:gd name="connsiteX2" fmla="*/ 9518146 w 9527477"/>
              <a:gd name="connsiteY2" fmla="*/ 0 h 6866537"/>
              <a:gd name="connsiteX3" fmla="*/ 9527477 w 9527477"/>
              <a:gd name="connsiteY3" fmla="*/ 6866537 h 6866537"/>
              <a:gd name="connsiteX4" fmla="*/ 95258 w 9527477"/>
              <a:gd name="connsiteY4" fmla="*/ 6866537 h 6866537"/>
              <a:gd name="connsiteX5" fmla="*/ 0 w 9527477"/>
              <a:gd name="connsiteY5" fmla="*/ 6771279 h 6866537"/>
              <a:gd name="connsiteX6" fmla="*/ 0 w 9527477"/>
              <a:gd name="connsiteY6" fmla="*/ 103795 h 6866537"/>
              <a:gd name="connsiteX0" fmla="*/ 0 w 9527477"/>
              <a:gd name="connsiteY0" fmla="*/ 95258 h 6858000"/>
              <a:gd name="connsiteX1" fmla="*/ 95258 w 9527477"/>
              <a:gd name="connsiteY1" fmla="*/ 0 h 6858000"/>
              <a:gd name="connsiteX2" fmla="*/ 9236459 w 9527477"/>
              <a:gd name="connsiteY2" fmla="*/ 99804 h 6858000"/>
              <a:gd name="connsiteX3" fmla="*/ 9527477 w 9527477"/>
              <a:gd name="connsiteY3" fmla="*/ 6858000 h 6858000"/>
              <a:gd name="connsiteX4" fmla="*/ 95258 w 9527477"/>
              <a:gd name="connsiteY4" fmla="*/ 6858000 h 6858000"/>
              <a:gd name="connsiteX5" fmla="*/ 0 w 9527477"/>
              <a:gd name="connsiteY5" fmla="*/ 6762742 h 6858000"/>
              <a:gd name="connsiteX6" fmla="*/ 0 w 9527477"/>
              <a:gd name="connsiteY6" fmla="*/ 95258 h 6858000"/>
              <a:gd name="connsiteX0" fmla="*/ 0 w 9527477"/>
              <a:gd name="connsiteY0" fmla="*/ 95258 h 6858000"/>
              <a:gd name="connsiteX1" fmla="*/ 95258 w 9527477"/>
              <a:gd name="connsiteY1" fmla="*/ 0 h 6858000"/>
              <a:gd name="connsiteX2" fmla="*/ 9440140 w 9527477"/>
              <a:gd name="connsiteY2" fmla="*/ 39133 h 6858000"/>
              <a:gd name="connsiteX3" fmla="*/ 9527477 w 9527477"/>
              <a:gd name="connsiteY3" fmla="*/ 6858000 h 6858000"/>
              <a:gd name="connsiteX4" fmla="*/ 95258 w 9527477"/>
              <a:gd name="connsiteY4" fmla="*/ 6858000 h 6858000"/>
              <a:gd name="connsiteX5" fmla="*/ 0 w 9527477"/>
              <a:gd name="connsiteY5" fmla="*/ 6762742 h 6858000"/>
              <a:gd name="connsiteX6" fmla="*/ 0 w 9527477"/>
              <a:gd name="connsiteY6" fmla="*/ 95258 h 6858000"/>
              <a:gd name="connsiteX0" fmla="*/ 0 w 9527477"/>
              <a:gd name="connsiteY0" fmla="*/ 99461 h 6862203"/>
              <a:gd name="connsiteX1" fmla="*/ 95258 w 9527477"/>
              <a:gd name="connsiteY1" fmla="*/ 4203 h 6862203"/>
              <a:gd name="connsiteX2" fmla="*/ 9518146 w 9527477"/>
              <a:gd name="connsiteY2" fmla="*/ 0 h 6862203"/>
              <a:gd name="connsiteX3" fmla="*/ 9527477 w 9527477"/>
              <a:gd name="connsiteY3" fmla="*/ 6862203 h 6862203"/>
              <a:gd name="connsiteX4" fmla="*/ 95258 w 9527477"/>
              <a:gd name="connsiteY4" fmla="*/ 6862203 h 6862203"/>
              <a:gd name="connsiteX5" fmla="*/ 0 w 9527477"/>
              <a:gd name="connsiteY5" fmla="*/ 6766945 h 6862203"/>
              <a:gd name="connsiteX6" fmla="*/ 0 w 9527477"/>
              <a:gd name="connsiteY6" fmla="*/ 99461 h 6862203"/>
              <a:gd name="connsiteX0" fmla="*/ 0 w 9518600"/>
              <a:gd name="connsiteY0" fmla="*/ 99461 h 6862203"/>
              <a:gd name="connsiteX1" fmla="*/ 95258 w 9518600"/>
              <a:gd name="connsiteY1" fmla="*/ 4203 h 6862203"/>
              <a:gd name="connsiteX2" fmla="*/ 9518146 w 9518600"/>
              <a:gd name="connsiteY2" fmla="*/ 0 h 6862203"/>
              <a:gd name="connsiteX3" fmla="*/ 9427804 w 9518600"/>
              <a:gd name="connsiteY3" fmla="*/ 6862203 h 6862203"/>
              <a:gd name="connsiteX4" fmla="*/ 95258 w 9518600"/>
              <a:gd name="connsiteY4" fmla="*/ 6862203 h 6862203"/>
              <a:gd name="connsiteX5" fmla="*/ 0 w 9518600"/>
              <a:gd name="connsiteY5" fmla="*/ 6766945 h 6862203"/>
              <a:gd name="connsiteX6" fmla="*/ 0 w 9518600"/>
              <a:gd name="connsiteY6" fmla="*/ 99461 h 6862203"/>
              <a:gd name="connsiteX0" fmla="*/ 0 w 9521762"/>
              <a:gd name="connsiteY0" fmla="*/ 99461 h 6862203"/>
              <a:gd name="connsiteX1" fmla="*/ 95258 w 9521762"/>
              <a:gd name="connsiteY1" fmla="*/ 4203 h 6862203"/>
              <a:gd name="connsiteX2" fmla="*/ 9518146 w 9521762"/>
              <a:gd name="connsiteY2" fmla="*/ 0 h 6862203"/>
              <a:gd name="connsiteX3" fmla="*/ 9518810 w 9521762"/>
              <a:gd name="connsiteY3" fmla="*/ 6862203 h 6862203"/>
              <a:gd name="connsiteX4" fmla="*/ 95258 w 9521762"/>
              <a:gd name="connsiteY4" fmla="*/ 6862203 h 6862203"/>
              <a:gd name="connsiteX5" fmla="*/ 0 w 9521762"/>
              <a:gd name="connsiteY5" fmla="*/ 6766945 h 6862203"/>
              <a:gd name="connsiteX6" fmla="*/ 0 w 9521762"/>
              <a:gd name="connsiteY6" fmla="*/ 99461 h 6862203"/>
              <a:gd name="connsiteX0" fmla="*/ 0 w 9531950"/>
              <a:gd name="connsiteY0" fmla="*/ 199474 h 6962216"/>
              <a:gd name="connsiteX1" fmla="*/ 95258 w 9531950"/>
              <a:gd name="connsiteY1" fmla="*/ 104216 h 6962216"/>
              <a:gd name="connsiteX2" fmla="*/ 9530053 w 9531950"/>
              <a:gd name="connsiteY2" fmla="*/ 0 h 6962216"/>
              <a:gd name="connsiteX3" fmla="*/ 9518810 w 9531950"/>
              <a:gd name="connsiteY3" fmla="*/ 6962216 h 6962216"/>
              <a:gd name="connsiteX4" fmla="*/ 95258 w 9531950"/>
              <a:gd name="connsiteY4" fmla="*/ 6962216 h 6962216"/>
              <a:gd name="connsiteX5" fmla="*/ 0 w 9531950"/>
              <a:gd name="connsiteY5" fmla="*/ 6866958 h 6962216"/>
              <a:gd name="connsiteX6" fmla="*/ 0 w 9531950"/>
              <a:gd name="connsiteY6" fmla="*/ 199474 h 6962216"/>
              <a:gd name="connsiteX0" fmla="*/ 0 w 9518810"/>
              <a:gd name="connsiteY0" fmla="*/ 95258 h 6858000"/>
              <a:gd name="connsiteX1" fmla="*/ 95258 w 9518810"/>
              <a:gd name="connsiteY1" fmla="*/ 0 h 6858000"/>
              <a:gd name="connsiteX2" fmla="*/ 9470521 w 9518810"/>
              <a:gd name="connsiteY2" fmla="*/ 126766 h 6858000"/>
              <a:gd name="connsiteX3" fmla="*/ 9518810 w 9518810"/>
              <a:gd name="connsiteY3" fmla="*/ 6858000 h 6858000"/>
              <a:gd name="connsiteX4" fmla="*/ 95258 w 9518810"/>
              <a:gd name="connsiteY4" fmla="*/ 6858000 h 6858000"/>
              <a:gd name="connsiteX5" fmla="*/ 0 w 9518810"/>
              <a:gd name="connsiteY5" fmla="*/ 6762742 h 6858000"/>
              <a:gd name="connsiteX6" fmla="*/ 0 w 9518810"/>
              <a:gd name="connsiteY6" fmla="*/ 95258 h 6858000"/>
              <a:gd name="connsiteX0" fmla="*/ 0 w 9529768"/>
              <a:gd name="connsiteY0" fmla="*/ 97080 h 6859822"/>
              <a:gd name="connsiteX1" fmla="*/ 95258 w 9529768"/>
              <a:gd name="connsiteY1" fmla="*/ 1822 h 6859822"/>
              <a:gd name="connsiteX2" fmla="*/ 9527671 w 9529768"/>
              <a:gd name="connsiteY2" fmla="*/ 0 h 6859822"/>
              <a:gd name="connsiteX3" fmla="*/ 9518810 w 9529768"/>
              <a:gd name="connsiteY3" fmla="*/ 6859822 h 6859822"/>
              <a:gd name="connsiteX4" fmla="*/ 95258 w 9529768"/>
              <a:gd name="connsiteY4" fmla="*/ 6859822 h 6859822"/>
              <a:gd name="connsiteX5" fmla="*/ 0 w 9529768"/>
              <a:gd name="connsiteY5" fmla="*/ 6764564 h 6859822"/>
              <a:gd name="connsiteX6" fmla="*/ 0 w 9529768"/>
              <a:gd name="connsiteY6" fmla="*/ 97080 h 6859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9768" h="6859822">
                <a:moveTo>
                  <a:pt x="0" y="97080"/>
                </a:moveTo>
                <a:cubicBezTo>
                  <a:pt x="0" y="44470"/>
                  <a:pt x="42648" y="1822"/>
                  <a:pt x="95258" y="1822"/>
                </a:cubicBezTo>
                <a:lnTo>
                  <a:pt x="9527671" y="0"/>
                </a:lnTo>
                <a:cubicBezTo>
                  <a:pt x="9535612" y="2407049"/>
                  <a:pt x="9518417" y="3430826"/>
                  <a:pt x="9518810" y="6859822"/>
                </a:cubicBezTo>
                <a:lnTo>
                  <a:pt x="95258" y="6859822"/>
                </a:lnTo>
                <a:cubicBezTo>
                  <a:pt x="42648" y="6859822"/>
                  <a:pt x="0" y="6817174"/>
                  <a:pt x="0" y="6764564"/>
                </a:cubicBezTo>
                <a:lnTo>
                  <a:pt x="0" y="97080"/>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tel 1"/>
          <p:cNvSpPr>
            <a:spLocks noGrp="1"/>
          </p:cNvSpPr>
          <p:nvPr>
            <p:ph type="title"/>
          </p:nvPr>
        </p:nvSpPr>
        <p:spPr>
          <a:xfrm>
            <a:off x="2863515" y="-710349"/>
            <a:ext cx="8859071" cy="648000"/>
          </a:xfrm>
        </p:spPr>
        <p:txBody>
          <a:bodyPr anchor="b"/>
          <a:lstStyle>
            <a:lvl1pPr algn="r">
              <a:defRPr/>
            </a:lvl1pPr>
          </a:lstStyle>
          <a:p>
            <a:r>
              <a:rPr lang="nl-NL"/>
              <a:t>Klik om stijl te bewerken</a:t>
            </a:r>
            <a:endParaRPr lang="en-GB" dirty="0"/>
          </a:p>
        </p:txBody>
      </p:sp>
      <p:sp>
        <p:nvSpPr>
          <p:cNvPr id="10" name="Tekstvak 9"/>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Afbeelding (XXL)</a:t>
            </a:r>
          </a:p>
        </p:txBody>
      </p:sp>
      <p:grpSp>
        <p:nvGrpSpPr>
          <p:cNvPr id="49" name="Groep 48">
            <a:extLst>
              <a:ext uri="{FF2B5EF4-FFF2-40B4-BE49-F238E27FC236}">
                <a16:creationId xmlns:a16="http://schemas.microsoft.com/office/drawing/2014/main" id="{1CB86391-C3A1-48A9-83A9-CDA9762F1594}"/>
              </a:ext>
            </a:extLst>
          </p:cNvPr>
          <p:cNvGrpSpPr/>
          <p:nvPr userDrawn="1"/>
        </p:nvGrpSpPr>
        <p:grpSpPr>
          <a:xfrm>
            <a:off x="12363871" y="-26002"/>
            <a:ext cx="3064812" cy="4530930"/>
            <a:chOff x="15419739" y="-26002"/>
            <a:chExt cx="3064812" cy="4530930"/>
          </a:xfrm>
        </p:grpSpPr>
        <p:sp>
          <p:nvSpPr>
            <p:cNvPr id="50" name="Tekstvak 33">
              <a:extLst>
                <a:ext uri="{FF2B5EF4-FFF2-40B4-BE49-F238E27FC236}">
                  <a16:creationId xmlns:a16="http://schemas.microsoft.com/office/drawing/2014/main" id="{2ADCA6F7-250E-4B72-B0DE-999BA8D650E9}"/>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51" name="Tekstvak 33">
              <a:extLst>
                <a:ext uri="{FF2B5EF4-FFF2-40B4-BE49-F238E27FC236}">
                  <a16:creationId xmlns:a16="http://schemas.microsoft.com/office/drawing/2014/main" id="{3D453C5E-479D-4F1D-9BFA-30110A165968}"/>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52" name="Ovaal 51">
              <a:extLst>
                <a:ext uri="{FF2B5EF4-FFF2-40B4-BE49-F238E27FC236}">
                  <a16:creationId xmlns:a16="http://schemas.microsoft.com/office/drawing/2014/main" id="{59F34422-D145-4BF6-A5D7-5A45F15882CF}"/>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53" name="Ovaal 52">
              <a:extLst>
                <a:ext uri="{FF2B5EF4-FFF2-40B4-BE49-F238E27FC236}">
                  <a16:creationId xmlns:a16="http://schemas.microsoft.com/office/drawing/2014/main" id="{4ADA4B64-59B4-479B-9F6E-5DE33E2E0DCC}"/>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54" name="Picture 3">
              <a:extLst>
                <a:ext uri="{FF2B5EF4-FFF2-40B4-BE49-F238E27FC236}">
                  <a16:creationId xmlns:a16="http://schemas.microsoft.com/office/drawing/2014/main" id="{10A71998-BA22-4DB3-B07F-8262582350FC}"/>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55" name="Picture 3">
              <a:extLst>
                <a:ext uri="{FF2B5EF4-FFF2-40B4-BE49-F238E27FC236}">
                  <a16:creationId xmlns:a16="http://schemas.microsoft.com/office/drawing/2014/main" id="{1267A3F0-F5E6-42C8-8255-B54664104A90}"/>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56" name="Tekstvak 55">
              <a:extLst>
                <a:ext uri="{FF2B5EF4-FFF2-40B4-BE49-F238E27FC236}">
                  <a16:creationId xmlns:a16="http://schemas.microsoft.com/office/drawing/2014/main" id="{5D1F6466-7E88-4C40-A76B-97C83D60BF13}"/>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57" name="Rechthoek 56">
              <a:extLst>
                <a:ext uri="{FF2B5EF4-FFF2-40B4-BE49-F238E27FC236}">
                  <a16:creationId xmlns:a16="http://schemas.microsoft.com/office/drawing/2014/main" id="{10BCE57B-8314-47AB-A6BE-574598C816CC}"/>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58" name="Groep 57">
              <a:extLst>
                <a:ext uri="{FF2B5EF4-FFF2-40B4-BE49-F238E27FC236}">
                  <a16:creationId xmlns:a16="http://schemas.microsoft.com/office/drawing/2014/main" id="{BB7B2A28-7AEE-40D5-9733-8D3A2C919095}"/>
                </a:ext>
              </a:extLst>
            </p:cNvPr>
            <p:cNvGrpSpPr/>
            <p:nvPr userDrawn="1"/>
          </p:nvGrpSpPr>
          <p:grpSpPr>
            <a:xfrm>
              <a:off x="15563079" y="358984"/>
              <a:ext cx="2489424" cy="4145944"/>
              <a:chOff x="15563079" y="358984"/>
              <a:chExt cx="2315772" cy="4145944"/>
            </a:xfrm>
          </p:grpSpPr>
          <p:cxnSp>
            <p:nvCxnSpPr>
              <p:cNvPr id="60" name="Rechte verbindingslijn 59">
                <a:extLst>
                  <a:ext uri="{FF2B5EF4-FFF2-40B4-BE49-F238E27FC236}">
                    <a16:creationId xmlns:a16="http://schemas.microsoft.com/office/drawing/2014/main" id="{01932068-E8F3-44CA-AA82-2D843012EC09}"/>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86E371A4-53F6-4D69-A675-664419DD843B}"/>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03719C9B-17A2-4360-8F5A-F299E9B3973B}"/>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59" name="Afbeelding 58">
              <a:extLst>
                <a:ext uri="{FF2B5EF4-FFF2-40B4-BE49-F238E27FC236}">
                  <a16:creationId xmlns:a16="http://schemas.microsoft.com/office/drawing/2014/main" id="{10AA9EE2-B9F0-4E48-B247-7B2A80B4D54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pic>
        <p:nvPicPr>
          <p:cNvPr id="12" name="Afbeelding 11">
            <a:extLst>
              <a:ext uri="{FF2B5EF4-FFF2-40B4-BE49-F238E27FC236}">
                <a16:creationId xmlns:a16="http://schemas.microsoft.com/office/drawing/2014/main" id="{B4D2D389-F56E-47FE-9C6D-2A7B53EF501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892888" y="5274334"/>
            <a:ext cx="1778595" cy="578317"/>
          </a:xfrm>
          <a:prstGeom prst="rect">
            <a:avLst/>
          </a:prstGeom>
        </p:spPr>
      </p:pic>
      <p:pic>
        <p:nvPicPr>
          <p:cNvPr id="14" name="Afbeelding 13">
            <a:extLst>
              <a:ext uri="{FF2B5EF4-FFF2-40B4-BE49-F238E27FC236}">
                <a16:creationId xmlns:a16="http://schemas.microsoft.com/office/drawing/2014/main" id="{3FC69205-9594-477F-BFFF-D9C3D9F4F27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34467" y="6147270"/>
            <a:ext cx="1778599" cy="578317"/>
          </a:xfrm>
          <a:prstGeom prst="rect">
            <a:avLst/>
          </a:prstGeom>
        </p:spPr>
      </p:pic>
      <p:pic>
        <p:nvPicPr>
          <p:cNvPr id="16" name="Afbeelding 15">
            <a:extLst>
              <a:ext uri="{FF2B5EF4-FFF2-40B4-BE49-F238E27FC236}">
                <a16:creationId xmlns:a16="http://schemas.microsoft.com/office/drawing/2014/main" id="{3CD5E66E-7135-4756-8E3E-FF84E48FD52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936848" y="3363418"/>
            <a:ext cx="1778595" cy="578316"/>
          </a:xfrm>
          <a:prstGeom prst="rect">
            <a:avLst/>
          </a:prstGeom>
        </p:spPr>
      </p:pic>
      <p:pic>
        <p:nvPicPr>
          <p:cNvPr id="9" name="Afbeelding 8">
            <a:extLst>
              <a:ext uri="{FF2B5EF4-FFF2-40B4-BE49-F238E27FC236}">
                <a16:creationId xmlns:a16="http://schemas.microsoft.com/office/drawing/2014/main" id="{221A9D0A-4E28-46E7-9C8A-15FF9CFEACE8}"/>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934467" y="4697933"/>
            <a:ext cx="1778595" cy="578316"/>
          </a:xfrm>
          <a:prstGeom prst="rect">
            <a:avLst/>
          </a:prstGeom>
        </p:spPr>
      </p:pic>
      <p:sp>
        <p:nvSpPr>
          <p:cNvPr id="7" name="Rechthoek 6">
            <a:extLst>
              <a:ext uri="{FF2B5EF4-FFF2-40B4-BE49-F238E27FC236}">
                <a16:creationId xmlns:a16="http://schemas.microsoft.com/office/drawing/2014/main" id="{96572EB2-87AA-47A6-9156-C3275FEA7BBC}"/>
              </a:ext>
            </a:extLst>
          </p:cNvPr>
          <p:cNvSpPr/>
          <p:nvPr userDrawn="1"/>
        </p:nvSpPr>
        <p:spPr>
          <a:xfrm>
            <a:off x="9520032" y="0"/>
            <a:ext cx="2675143" cy="5986830"/>
          </a:xfrm>
          <a:custGeom>
            <a:avLst/>
            <a:gdLst>
              <a:gd name="connsiteX0" fmla="*/ 0 w 2674951"/>
              <a:gd name="connsiteY0" fmla="*/ 0 h 5986829"/>
              <a:gd name="connsiteX1" fmla="*/ 2674951 w 2674951"/>
              <a:gd name="connsiteY1" fmla="*/ 0 h 5986829"/>
              <a:gd name="connsiteX2" fmla="*/ 2674951 w 2674951"/>
              <a:gd name="connsiteY2" fmla="*/ 5986829 h 5986829"/>
              <a:gd name="connsiteX3" fmla="*/ 0 w 2674951"/>
              <a:gd name="connsiteY3" fmla="*/ 5986829 h 5986829"/>
              <a:gd name="connsiteX4" fmla="*/ 0 w 2674951"/>
              <a:gd name="connsiteY4" fmla="*/ 0 h 5986829"/>
              <a:gd name="connsiteX0" fmla="*/ 0 w 2676539"/>
              <a:gd name="connsiteY0" fmla="*/ 0 h 5986829"/>
              <a:gd name="connsiteX1" fmla="*/ 2674951 w 2676539"/>
              <a:gd name="connsiteY1" fmla="*/ 0 h 5986829"/>
              <a:gd name="connsiteX2" fmla="*/ 2676539 w 2676539"/>
              <a:gd name="connsiteY2" fmla="*/ 33096 h 5986829"/>
              <a:gd name="connsiteX3" fmla="*/ 2674951 w 2676539"/>
              <a:gd name="connsiteY3" fmla="*/ 5986829 h 5986829"/>
              <a:gd name="connsiteX4" fmla="*/ 0 w 2676539"/>
              <a:gd name="connsiteY4" fmla="*/ 5986829 h 5986829"/>
              <a:gd name="connsiteX5" fmla="*/ 0 w 2676539"/>
              <a:gd name="connsiteY5" fmla="*/ 0 h 5986829"/>
              <a:gd name="connsiteX0" fmla="*/ 0 w 2676539"/>
              <a:gd name="connsiteY0" fmla="*/ 242 h 5987071"/>
              <a:gd name="connsiteX1" fmla="*/ 2640820 w 2676539"/>
              <a:gd name="connsiteY1" fmla="*/ 0 h 5987071"/>
              <a:gd name="connsiteX2" fmla="*/ 2674951 w 2676539"/>
              <a:gd name="connsiteY2" fmla="*/ 242 h 5987071"/>
              <a:gd name="connsiteX3" fmla="*/ 2676539 w 2676539"/>
              <a:gd name="connsiteY3" fmla="*/ 33338 h 5987071"/>
              <a:gd name="connsiteX4" fmla="*/ 2674951 w 2676539"/>
              <a:gd name="connsiteY4" fmla="*/ 5987071 h 5987071"/>
              <a:gd name="connsiteX5" fmla="*/ 0 w 2676539"/>
              <a:gd name="connsiteY5" fmla="*/ 5987071 h 5987071"/>
              <a:gd name="connsiteX6" fmla="*/ 0 w 2676539"/>
              <a:gd name="connsiteY6" fmla="*/ 242 h 5987071"/>
              <a:gd name="connsiteX0" fmla="*/ 0 w 2676539"/>
              <a:gd name="connsiteY0" fmla="*/ 242 h 5987071"/>
              <a:gd name="connsiteX1" fmla="*/ 2640820 w 2676539"/>
              <a:gd name="connsiteY1" fmla="*/ 0 h 5987071"/>
              <a:gd name="connsiteX2" fmla="*/ 2676539 w 2676539"/>
              <a:gd name="connsiteY2" fmla="*/ 33338 h 5987071"/>
              <a:gd name="connsiteX3" fmla="*/ 2674951 w 2676539"/>
              <a:gd name="connsiteY3" fmla="*/ 5987071 h 5987071"/>
              <a:gd name="connsiteX4" fmla="*/ 0 w 2676539"/>
              <a:gd name="connsiteY4" fmla="*/ 5987071 h 5987071"/>
              <a:gd name="connsiteX5" fmla="*/ 0 w 2676539"/>
              <a:gd name="connsiteY5" fmla="*/ 242 h 5987071"/>
              <a:gd name="connsiteX0" fmla="*/ 0 w 2847421"/>
              <a:gd name="connsiteY0" fmla="*/ 444778 h 6431607"/>
              <a:gd name="connsiteX1" fmla="*/ 2640820 w 2847421"/>
              <a:gd name="connsiteY1" fmla="*/ 444536 h 6431607"/>
              <a:gd name="connsiteX2" fmla="*/ 2676539 w 2847421"/>
              <a:gd name="connsiteY2" fmla="*/ 477874 h 6431607"/>
              <a:gd name="connsiteX3" fmla="*/ 2674951 w 2847421"/>
              <a:gd name="connsiteY3" fmla="*/ 6431607 h 6431607"/>
              <a:gd name="connsiteX4" fmla="*/ 0 w 2847421"/>
              <a:gd name="connsiteY4" fmla="*/ 6431607 h 6431607"/>
              <a:gd name="connsiteX5" fmla="*/ 0 w 2847421"/>
              <a:gd name="connsiteY5" fmla="*/ 444778 h 6431607"/>
              <a:gd name="connsiteX0" fmla="*/ 0 w 2847421"/>
              <a:gd name="connsiteY0" fmla="*/ 444778 h 6431607"/>
              <a:gd name="connsiteX1" fmla="*/ 2640820 w 2847421"/>
              <a:gd name="connsiteY1" fmla="*/ 444536 h 6431607"/>
              <a:gd name="connsiteX2" fmla="*/ 2676539 w 2847421"/>
              <a:gd name="connsiteY2" fmla="*/ 477874 h 6431607"/>
              <a:gd name="connsiteX3" fmla="*/ 2674951 w 2847421"/>
              <a:gd name="connsiteY3" fmla="*/ 6431607 h 6431607"/>
              <a:gd name="connsiteX4" fmla="*/ 0 w 2847421"/>
              <a:gd name="connsiteY4" fmla="*/ 6431607 h 6431607"/>
              <a:gd name="connsiteX5" fmla="*/ 0 w 2847421"/>
              <a:gd name="connsiteY5" fmla="*/ 444778 h 6431607"/>
              <a:gd name="connsiteX0" fmla="*/ 0 w 2847421"/>
              <a:gd name="connsiteY0" fmla="*/ 441603 h 6428432"/>
              <a:gd name="connsiteX1" fmla="*/ 2640820 w 2847421"/>
              <a:gd name="connsiteY1" fmla="*/ 441361 h 6428432"/>
              <a:gd name="connsiteX2" fmla="*/ 2676539 w 2847421"/>
              <a:gd name="connsiteY2" fmla="*/ 474699 h 6428432"/>
              <a:gd name="connsiteX3" fmla="*/ 2674951 w 2847421"/>
              <a:gd name="connsiteY3" fmla="*/ 6428432 h 6428432"/>
              <a:gd name="connsiteX4" fmla="*/ 0 w 2847421"/>
              <a:gd name="connsiteY4" fmla="*/ 6428432 h 6428432"/>
              <a:gd name="connsiteX5" fmla="*/ 0 w 2847421"/>
              <a:gd name="connsiteY5" fmla="*/ 441603 h 6428432"/>
              <a:gd name="connsiteX0" fmla="*/ 0 w 2847421"/>
              <a:gd name="connsiteY0" fmla="*/ 441603 h 6428432"/>
              <a:gd name="connsiteX1" fmla="*/ 2640820 w 2847421"/>
              <a:gd name="connsiteY1" fmla="*/ 441361 h 6428432"/>
              <a:gd name="connsiteX2" fmla="*/ 2676539 w 2847421"/>
              <a:gd name="connsiteY2" fmla="*/ 474699 h 6428432"/>
              <a:gd name="connsiteX3" fmla="*/ 2674951 w 2847421"/>
              <a:gd name="connsiteY3" fmla="*/ 6428432 h 6428432"/>
              <a:gd name="connsiteX4" fmla="*/ 0 w 2847421"/>
              <a:gd name="connsiteY4" fmla="*/ 6428432 h 6428432"/>
              <a:gd name="connsiteX5" fmla="*/ 0 w 2847421"/>
              <a:gd name="connsiteY5" fmla="*/ 441603 h 6428432"/>
              <a:gd name="connsiteX0" fmla="*/ 0 w 2847421"/>
              <a:gd name="connsiteY0" fmla="*/ 441603 h 6428432"/>
              <a:gd name="connsiteX1" fmla="*/ 2640820 w 2847421"/>
              <a:gd name="connsiteY1" fmla="*/ 441361 h 6428432"/>
              <a:gd name="connsiteX2" fmla="*/ 2676539 w 2847421"/>
              <a:gd name="connsiteY2" fmla="*/ 474699 h 6428432"/>
              <a:gd name="connsiteX3" fmla="*/ 2674951 w 2847421"/>
              <a:gd name="connsiteY3" fmla="*/ 6428432 h 6428432"/>
              <a:gd name="connsiteX4" fmla="*/ 0 w 2847421"/>
              <a:gd name="connsiteY4" fmla="*/ 6428432 h 6428432"/>
              <a:gd name="connsiteX5" fmla="*/ 0 w 2847421"/>
              <a:gd name="connsiteY5" fmla="*/ 441603 h 6428432"/>
              <a:gd name="connsiteX0" fmla="*/ 0 w 2847421"/>
              <a:gd name="connsiteY0" fmla="*/ 441603 h 6428432"/>
              <a:gd name="connsiteX1" fmla="*/ 2640820 w 2847421"/>
              <a:gd name="connsiteY1" fmla="*/ 441361 h 6428432"/>
              <a:gd name="connsiteX2" fmla="*/ 2676539 w 2847421"/>
              <a:gd name="connsiteY2" fmla="*/ 474699 h 6428432"/>
              <a:gd name="connsiteX3" fmla="*/ 2674951 w 2847421"/>
              <a:gd name="connsiteY3" fmla="*/ 6428432 h 6428432"/>
              <a:gd name="connsiteX4" fmla="*/ 0 w 2847421"/>
              <a:gd name="connsiteY4" fmla="*/ 6428432 h 6428432"/>
              <a:gd name="connsiteX5" fmla="*/ 0 w 2847421"/>
              <a:gd name="connsiteY5" fmla="*/ 441603 h 6428432"/>
              <a:gd name="connsiteX0" fmla="*/ 0 w 2847421"/>
              <a:gd name="connsiteY0" fmla="*/ 417937 h 6404766"/>
              <a:gd name="connsiteX1" fmla="*/ 2640820 w 2847421"/>
              <a:gd name="connsiteY1" fmla="*/ 417695 h 6404766"/>
              <a:gd name="connsiteX2" fmla="*/ 2676539 w 2847421"/>
              <a:gd name="connsiteY2" fmla="*/ 451033 h 6404766"/>
              <a:gd name="connsiteX3" fmla="*/ 2674951 w 2847421"/>
              <a:gd name="connsiteY3" fmla="*/ 6404766 h 6404766"/>
              <a:gd name="connsiteX4" fmla="*/ 0 w 2847421"/>
              <a:gd name="connsiteY4" fmla="*/ 6404766 h 6404766"/>
              <a:gd name="connsiteX5" fmla="*/ 0 w 2847421"/>
              <a:gd name="connsiteY5" fmla="*/ 417937 h 6404766"/>
              <a:gd name="connsiteX0" fmla="*/ 0 w 2676539"/>
              <a:gd name="connsiteY0" fmla="*/ 419028 h 6405857"/>
              <a:gd name="connsiteX1" fmla="*/ 2640820 w 2676539"/>
              <a:gd name="connsiteY1" fmla="*/ 418786 h 6405857"/>
              <a:gd name="connsiteX2" fmla="*/ 2676539 w 2676539"/>
              <a:gd name="connsiteY2" fmla="*/ 452124 h 6405857"/>
              <a:gd name="connsiteX3" fmla="*/ 2674951 w 2676539"/>
              <a:gd name="connsiteY3" fmla="*/ 6405857 h 6405857"/>
              <a:gd name="connsiteX4" fmla="*/ 0 w 2676539"/>
              <a:gd name="connsiteY4" fmla="*/ 6405857 h 6405857"/>
              <a:gd name="connsiteX5" fmla="*/ 0 w 2676539"/>
              <a:gd name="connsiteY5" fmla="*/ 419028 h 6405857"/>
              <a:gd name="connsiteX0" fmla="*/ 0 w 2847421"/>
              <a:gd name="connsiteY0" fmla="*/ 417937 h 6404766"/>
              <a:gd name="connsiteX1" fmla="*/ 2640820 w 2847421"/>
              <a:gd name="connsiteY1" fmla="*/ 417695 h 6404766"/>
              <a:gd name="connsiteX2" fmla="*/ 2676539 w 2847421"/>
              <a:gd name="connsiteY2" fmla="*/ 451033 h 6404766"/>
              <a:gd name="connsiteX3" fmla="*/ 2674951 w 2847421"/>
              <a:gd name="connsiteY3" fmla="*/ 6404766 h 6404766"/>
              <a:gd name="connsiteX4" fmla="*/ 0 w 2847421"/>
              <a:gd name="connsiteY4" fmla="*/ 6404766 h 6404766"/>
              <a:gd name="connsiteX5" fmla="*/ 0 w 2847421"/>
              <a:gd name="connsiteY5" fmla="*/ 417937 h 6404766"/>
              <a:gd name="connsiteX0" fmla="*/ 0 w 2849713"/>
              <a:gd name="connsiteY0" fmla="*/ 242 h 5987071"/>
              <a:gd name="connsiteX1" fmla="*/ 2640820 w 2849713"/>
              <a:gd name="connsiteY1" fmla="*/ 0 h 5987071"/>
              <a:gd name="connsiteX2" fmla="*/ 2676539 w 2849713"/>
              <a:gd name="connsiteY2" fmla="*/ 33338 h 5987071"/>
              <a:gd name="connsiteX3" fmla="*/ 2674951 w 2849713"/>
              <a:gd name="connsiteY3" fmla="*/ 5987071 h 5987071"/>
              <a:gd name="connsiteX4" fmla="*/ 0 w 2849713"/>
              <a:gd name="connsiteY4" fmla="*/ 5987071 h 5987071"/>
              <a:gd name="connsiteX5" fmla="*/ 0 w 2849713"/>
              <a:gd name="connsiteY5" fmla="*/ 242 h 5987071"/>
              <a:gd name="connsiteX0" fmla="*/ 0 w 2677073"/>
              <a:gd name="connsiteY0" fmla="*/ 242 h 5987071"/>
              <a:gd name="connsiteX1" fmla="*/ 2640820 w 2677073"/>
              <a:gd name="connsiteY1" fmla="*/ 0 h 5987071"/>
              <a:gd name="connsiteX2" fmla="*/ 2676539 w 2677073"/>
              <a:gd name="connsiteY2" fmla="*/ 33338 h 5987071"/>
              <a:gd name="connsiteX3" fmla="*/ 2674951 w 2677073"/>
              <a:gd name="connsiteY3" fmla="*/ 5987071 h 5987071"/>
              <a:gd name="connsiteX4" fmla="*/ 0 w 2677073"/>
              <a:gd name="connsiteY4" fmla="*/ 5987071 h 5987071"/>
              <a:gd name="connsiteX5" fmla="*/ 0 w 2677073"/>
              <a:gd name="connsiteY5" fmla="*/ 242 h 5987071"/>
              <a:gd name="connsiteX0" fmla="*/ 0 w 2676539"/>
              <a:gd name="connsiteY0" fmla="*/ 242 h 5987071"/>
              <a:gd name="connsiteX1" fmla="*/ 2640820 w 2676539"/>
              <a:gd name="connsiteY1" fmla="*/ 0 h 5987071"/>
              <a:gd name="connsiteX2" fmla="*/ 2676539 w 2676539"/>
              <a:gd name="connsiteY2" fmla="*/ 33338 h 5987071"/>
              <a:gd name="connsiteX3" fmla="*/ 2674951 w 2676539"/>
              <a:gd name="connsiteY3" fmla="*/ 5987071 h 5987071"/>
              <a:gd name="connsiteX4" fmla="*/ 0 w 2676539"/>
              <a:gd name="connsiteY4" fmla="*/ 5987071 h 5987071"/>
              <a:gd name="connsiteX5" fmla="*/ 0 w 2676539"/>
              <a:gd name="connsiteY5" fmla="*/ 242 h 5987071"/>
              <a:gd name="connsiteX0" fmla="*/ 0 w 2676539"/>
              <a:gd name="connsiteY0" fmla="*/ 242 h 5987071"/>
              <a:gd name="connsiteX1" fmla="*/ 2640820 w 2676539"/>
              <a:gd name="connsiteY1" fmla="*/ 0 h 5987071"/>
              <a:gd name="connsiteX2" fmla="*/ 2676539 w 2676539"/>
              <a:gd name="connsiteY2" fmla="*/ 33338 h 5987071"/>
              <a:gd name="connsiteX3" fmla="*/ 2674951 w 2676539"/>
              <a:gd name="connsiteY3" fmla="*/ 5987071 h 5987071"/>
              <a:gd name="connsiteX4" fmla="*/ 0 w 2676539"/>
              <a:gd name="connsiteY4" fmla="*/ 5987071 h 5987071"/>
              <a:gd name="connsiteX5" fmla="*/ 0 w 2676539"/>
              <a:gd name="connsiteY5" fmla="*/ 242 h 5987071"/>
              <a:gd name="connsiteX0" fmla="*/ 0 w 2676539"/>
              <a:gd name="connsiteY0" fmla="*/ 242 h 5987071"/>
              <a:gd name="connsiteX1" fmla="*/ 2633676 w 2676539"/>
              <a:gd name="connsiteY1" fmla="*/ 0 h 5987071"/>
              <a:gd name="connsiteX2" fmla="*/ 2676539 w 2676539"/>
              <a:gd name="connsiteY2" fmla="*/ 33338 h 5987071"/>
              <a:gd name="connsiteX3" fmla="*/ 2674951 w 2676539"/>
              <a:gd name="connsiteY3" fmla="*/ 5987071 h 5987071"/>
              <a:gd name="connsiteX4" fmla="*/ 0 w 2676539"/>
              <a:gd name="connsiteY4" fmla="*/ 5987071 h 5987071"/>
              <a:gd name="connsiteX5" fmla="*/ 0 w 2676539"/>
              <a:gd name="connsiteY5" fmla="*/ 242 h 5987071"/>
              <a:gd name="connsiteX0" fmla="*/ 0 w 2843351"/>
              <a:gd name="connsiteY0" fmla="*/ 242 h 5987071"/>
              <a:gd name="connsiteX1" fmla="*/ 2633676 w 2843351"/>
              <a:gd name="connsiteY1" fmla="*/ 0 h 5987071"/>
              <a:gd name="connsiteX2" fmla="*/ 2676539 w 2843351"/>
              <a:gd name="connsiteY2" fmla="*/ 54770 h 5987071"/>
              <a:gd name="connsiteX3" fmla="*/ 2674951 w 2843351"/>
              <a:gd name="connsiteY3" fmla="*/ 5987071 h 5987071"/>
              <a:gd name="connsiteX4" fmla="*/ 0 w 2843351"/>
              <a:gd name="connsiteY4" fmla="*/ 5987071 h 5987071"/>
              <a:gd name="connsiteX5" fmla="*/ 0 w 2843351"/>
              <a:gd name="connsiteY5" fmla="*/ 242 h 5987071"/>
              <a:gd name="connsiteX0" fmla="*/ 0 w 2676539"/>
              <a:gd name="connsiteY0" fmla="*/ 242 h 5987071"/>
              <a:gd name="connsiteX1" fmla="*/ 2633676 w 2676539"/>
              <a:gd name="connsiteY1" fmla="*/ 0 h 5987071"/>
              <a:gd name="connsiteX2" fmla="*/ 2676539 w 2676539"/>
              <a:gd name="connsiteY2" fmla="*/ 54770 h 5987071"/>
              <a:gd name="connsiteX3" fmla="*/ 2674951 w 2676539"/>
              <a:gd name="connsiteY3" fmla="*/ 5987071 h 5987071"/>
              <a:gd name="connsiteX4" fmla="*/ 0 w 2676539"/>
              <a:gd name="connsiteY4" fmla="*/ 5987071 h 5987071"/>
              <a:gd name="connsiteX5" fmla="*/ 0 w 2676539"/>
              <a:gd name="connsiteY5" fmla="*/ 242 h 5987071"/>
              <a:gd name="connsiteX0" fmla="*/ 0 w 2676539"/>
              <a:gd name="connsiteY0" fmla="*/ 242 h 5987071"/>
              <a:gd name="connsiteX1" fmla="*/ 2633676 w 2676539"/>
              <a:gd name="connsiteY1" fmla="*/ 0 h 5987071"/>
              <a:gd name="connsiteX2" fmla="*/ 2676539 w 2676539"/>
              <a:gd name="connsiteY2" fmla="*/ 54770 h 5987071"/>
              <a:gd name="connsiteX3" fmla="*/ 2674951 w 2676539"/>
              <a:gd name="connsiteY3" fmla="*/ 5987071 h 5987071"/>
              <a:gd name="connsiteX4" fmla="*/ 0 w 2676539"/>
              <a:gd name="connsiteY4" fmla="*/ 5987071 h 5987071"/>
              <a:gd name="connsiteX5" fmla="*/ 0 w 2676539"/>
              <a:gd name="connsiteY5" fmla="*/ 242 h 5987071"/>
              <a:gd name="connsiteX0" fmla="*/ 0 w 2676569"/>
              <a:gd name="connsiteY0" fmla="*/ 242 h 5987071"/>
              <a:gd name="connsiteX1" fmla="*/ 2633676 w 2676569"/>
              <a:gd name="connsiteY1" fmla="*/ 0 h 5987071"/>
              <a:gd name="connsiteX2" fmla="*/ 2676539 w 2676569"/>
              <a:gd name="connsiteY2" fmla="*/ 54770 h 5987071"/>
              <a:gd name="connsiteX3" fmla="*/ 2674951 w 2676569"/>
              <a:gd name="connsiteY3" fmla="*/ 5987071 h 5987071"/>
              <a:gd name="connsiteX4" fmla="*/ 0 w 2676569"/>
              <a:gd name="connsiteY4" fmla="*/ 5987071 h 5987071"/>
              <a:gd name="connsiteX5" fmla="*/ 0 w 2676569"/>
              <a:gd name="connsiteY5" fmla="*/ 242 h 5987071"/>
              <a:gd name="connsiteX0" fmla="*/ 0 w 2679329"/>
              <a:gd name="connsiteY0" fmla="*/ 397251 h 6384080"/>
              <a:gd name="connsiteX1" fmla="*/ 2633676 w 2679329"/>
              <a:gd name="connsiteY1" fmla="*/ 397009 h 6384080"/>
              <a:gd name="connsiteX2" fmla="*/ 2676539 w 2679329"/>
              <a:gd name="connsiteY2" fmla="*/ 451779 h 6384080"/>
              <a:gd name="connsiteX3" fmla="*/ 2674951 w 2679329"/>
              <a:gd name="connsiteY3" fmla="*/ 6384080 h 6384080"/>
              <a:gd name="connsiteX4" fmla="*/ 0 w 2679329"/>
              <a:gd name="connsiteY4" fmla="*/ 6384080 h 6384080"/>
              <a:gd name="connsiteX5" fmla="*/ 0 w 2679329"/>
              <a:gd name="connsiteY5" fmla="*/ 397251 h 6384080"/>
              <a:gd name="connsiteX0" fmla="*/ 0 w 2679329"/>
              <a:gd name="connsiteY0" fmla="*/ 403897 h 6390726"/>
              <a:gd name="connsiteX1" fmla="*/ 2633676 w 2679329"/>
              <a:gd name="connsiteY1" fmla="*/ 403655 h 6390726"/>
              <a:gd name="connsiteX2" fmla="*/ 2676539 w 2679329"/>
              <a:gd name="connsiteY2" fmla="*/ 458425 h 6390726"/>
              <a:gd name="connsiteX3" fmla="*/ 2674951 w 2679329"/>
              <a:gd name="connsiteY3" fmla="*/ 6390726 h 6390726"/>
              <a:gd name="connsiteX4" fmla="*/ 0 w 2679329"/>
              <a:gd name="connsiteY4" fmla="*/ 6390726 h 6390726"/>
              <a:gd name="connsiteX5" fmla="*/ 0 w 2679329"/>
              <a:gd name="connsiteY5" fmla="*/ 403897 h 6390726"/>
              <a:gd name="connsiteX0" fmla="*/ 0 w 2842019"/>
              <a:gd name="connsiteY0" fmla="*/ 401491 h 6388320"/>
              <a:gd name="connsiteX1" fmla="*/ 2633676 w 2842019"/>
              <a:gd name="connsiteY1" fmla="*/ 401249 h 6388320"/>
              <a:gd name="connsiteX2" fmla="*/ 2676539 w 2842019"/>
              <a:gd name="connsiteY2" fmla="*/ 456019 h 6388320"/>
              <a:gd name="connsiteX3" fmla="*/ 2674951 w 2842019"/>
              <a:gd name="connsiteY3" fmla="*/ 6388320 h 6388320"/>
              <a:gd name="connsiteX4" fmla="*/ 0 w 2842019"/>
              <a:gd name="connsiteY4" fmla="*/ 6388320 h 6388320"/>
              <a:gd name="connsiteX5" fmla="*/ 0 w 2842019"/>
              <a:gd name="connsiteY5" fmla="*/ 401491 h 6388320"/>
              <a:gd name="connsiteX0" fmla="*/ 0 w 2843760"/>
              <a:gd name="connsiteY0" fmla="*/ 242 h 5987071"/>
              <a:gd name="connsiteX1" fmla="*/ 2633676 w 2843760"/>
              <a:gd name="connsiteY1" fmla="*/ 0 h 5987071"/>
              <a:gd name="connsiteX2" fmla="*/ 2676539 w 2843760"/>
              <a:gd name="connsiteY2" fmla="*/ 54770 h 5987071"/>
              <a:gd name="connsiteX3" fmla="*/ 2674951 w 2843760"/>
              <a:gd name="connsiteY3" fmla="*/ 5987071 h 5987071"/>
              <a:gd name="connsiteX4" fmla="*/ 0 w 2843760"/>
              <a:gd name="connsiteY4" fmla="*/ 5987071 h 5987071"/>
              <a:gd name="connsiteX5" fmla="*/ 0 w 2843760"/>
              <a:gd name="connsiteY5" fmla="*/ 242 h 5987071"/>
              <a:gd name="connsiteX0" fmla="*/ 0 w 2676543"/>
              <a:gd name="connsiteY0" fmla="*/ 242 h 5987071"/>
              <a:gd name="connsiteX1" fmla="*/ 2633676 w 2676543"/>
              <a:gd name="connsiteY1" fmla="*/ 0 h 5987071"/>
              <a:gd name="connsiteX2" fmla="*/ 2676539 w 2676543"/>
              <a:gd name="connsiteY2" fmla="*/ 54770 h 5987071"/>
              <a:gd name="connsiteX3" fmla="*/ 2674951 w 2676543"/>
              <a:gd name="connsiteY3" fmla="*/ 5987071 h 5987071"/>
              <a:gd name="connsiteX4" fmla="*/ 0 w 2676543"/>
              <a:gd name="connsiteY4" fmla="*/ 5987071 h 5987071"/>
              <a:gd name="connsiteX5" fmla="*/ 0 w 2676543"/>
              <a:gd name="connsiteY5" fmla="*/ 242 h 5987071"/>
              <a:gd name="connsiteX0" fmla="*/ 0 w 2681396"/>
              <a:gd name="connsiteY0" fmla="*/ 403161 h 6389990"/>
              <a:gd name="connsiteX1" fmla="*/ 2605627 w 2681396"/>
              <a:gd name="connsiteY1" fmla="*/ 402919 h 6389990"/>
              <a:gd name="connsiteX2" fmla="*/ 2676539 w 2681396"/>
              <a:gd name="connsiteY2" fmla="*/ 457689 h 6389990"/>
              <a:gd name="connsiteX3" fmla="*/ 2674951 w 2681396"/>
              <a:gd name="connsiteY3" fmla="*/ 6389990 h 6389990"/>
              <a:gd name="connsiteX4" fmla="*/ 0 w 2681396"/>
              <a:gd name="connsiteY4" fmla="*/ 6389990 h 6389990"/>
              <a:gd name="connsiteX5" fmla="*/ 0 w 2681396"/>
              <a:gd name="connsiteY5" fmla="*/ 403161 h 6389990"/>
              <a:gd name="connsiteX0" fmla="*/ 0 w 2818993"/>
              <a:gd name="connsiteY0" fmla="*/ 369538 h 6356367"/>
              <a:gd name="connsiteX1" fmla="*/ 2605627 w 2818993"/>
              <a:gd name="connsiteY1" fmla="*/ 369296 h 6356367"/>
              <a:gd name="connsiteX2" fmla="*/ 2670929 w 2818993"/>
              <a:gd name="connsiteY2" fmla="*/ 466142 h 6356367"/>
              <a:gd name="connsiteX3" fmla="*/ 2674951 w 2818993"/>
              <a:gd name="connsiteY3" fmla="*/ 6356367 h 6356367"/>
              <a:gd name="connsiteX4" fmla="*/ 0 w 2818993"/>
              <a:gd name="connsiteY4" fmla="*/ 6356367 h 6356367"/>
              <a:gd name="connsiteX5" fmla="*/ 0 w 2818993"/>
              <a:gd name="connsiteY5" fmla="*/ 369538 h 6356367"/>
              <a:gd name="connsiteX0" fmla="*/ 0 w 2819705"/>
              <a:gd name="connsiteY0" fmla="*/ 369538 h 6356367"/>
              <a:gd name="connsiteX1" fmla="*/ 2605627 w 2819705"/>
              <a:gd name="connsiteY1" fmla="*/ 369296 h 6356367"/>
              <a:gd name="connsiteX2" fmla="*/ 2670929 w 2819705"/>
              <a:gd name="connsiteY2" fmla="*/ 466142 h 6356367"/>
              <a:gd name="connsiteX3" fmla="*/ 2674951 w 2819705"/>
              <a:gd name="connsiteY3" fmla="*/ 6356367 h 6356367"/>
              <a:gd name="connsiteX4" fmla="*/ 0 w 2819705"/>
              <a:gd name="connsiteY4" fmla="*/ 6356367 h 6356367"/>
              <a:gd name="connsiteX5" fmla="*/ 0 w 2819705"/>
              <a:gd name="connsiteY5" fmla="*/ 369538 h 6356367"/>
              <a:gd name="connsiteX0" fmla="*/ 0 w 2821139"/>
              <a:gd name="connsiteY0" fmla="*/ 242 h 5987071"/>
              <a:gd name="connsiteX1" fmla="*/ 2605627 w 2821139"/>
              <a:gd name="connsiteY1" fmla="*/ 0 h 5987071"/>
              <a:gd name="connsiteX2" fmla="*/ 2670929 w 2821139"/>
              <a:gd name="connsiteY2" fmla="*/ 96846 h 5987071"/>
              <a:gd name="connsiteX3" fmla="*/ 2674951 w 2821139"/>
              <a:gd name="connsiteY3" fmla="*/ 5987071 h 5987071"/>
              <a:gd name="connsiteX4" fmla="*/ 0 w 2821139"/>
              <a:gd name="connsiteY4" fmla="*/ 5987071 h 5987071"/>
              <a:gd name="connsiteX5" fmla="*/ 0 w 2821139"/>
              <a:gd name="connsiteY5" fmla="*/ 242 h 5987071"/>
              <a:gd name="connsiteX0" fmla="*/ 0 w 2742690"/>
              <a:gd name="connsiteY0" fmla="*/ 367521 h 6354350"/>
              <a:gd name="connsiteX1" fmla="*/ 1722081 w 2742690"/>
              <a:gd name="connsiteY1" fmla="*/ 372889 h 6354350"/>
              <a:gd name="connsiteX2" fmla="*/ 2670929 w 2742690"/>
              <a:gd name="connsiteY2" fmla="*/ 464125 h 6354350"/>
              <a:gd name="connsiteX3" fmla="*/ 2674951 w 2742690"/>
              <a:gd name="connsiteY3" fmla="*/ 6354350 h 6354350"/>
              <a:gd name="connsiteX4" fmla="*/ 0 w 2742690"/>
              <a:gd name="connsiteY4" fmla="*/ 6354350 h 6354350"/>
              <a:gd name="connsiteX5" fmla="*/ 0 w 2742690"/>
              <a:gd name="connsiteY5" fmla="*/ 367521 h 6354350"/>
              <a:gd name="connsiteX0" fmla="*/ 0 w 2742690"/>
              <a:gd name="connsiteY0" fmla="*/ 360489 h 6347318"/>
              <a:gd name="connsiteX1" fmla="*/ 1722081 w 2742690"/>
              <a:gd name="connsiteY1" fmla="*/ 365857 h 6347318"/>
              <a:gd name="connsiteX2" fmla="*/ 2670929 w 2742690"/>
              <a:gd name="connsiteY2" fmla="*/ 457093 h 6347318"/>
              <a:gd name="connsiteX3" fmla="*/ 2674951 w 2742690"/>
              <a:gd name="connsiteY3" fmla="*/ 6347318 h 6347318"/>
              <a:gd name="connsiteX4" fmla="*/ 0 w 2742690"/>
              <a:gd name="connsiteY4" fmla="*/ 6347318 h 6347318"/>
              <a:gd name="connsiteX5" fmla="*/ 0 w 2742690"/>
              <a:gd name="connsiteY5" fmla="*/ 360489 h 6347318"/>
              <a:gd name="connsiteX0" fmla="*/ 0 w 2742690"/>
              <a:gd name="connsiteY0" fmla="*/ 371928 h 6358757"/>
              <a:gd name="connsiteX1" fmla="*/ 1722081 w 2742690"/>
              <a:gd name="connsiteY1" fmla="*/ 377296 h 6358757"/>
              <a:gd name="connsiteX2" fmla="*/ 2670929 w 2742690"/>
              <a:gd name="connsiteY2" fmla="*/ 468532 h 6358757"/>
              <a:gd name="connsiteX3" fmla="*/ 2674951 w 2742690"/>
              <a:gd name="connsiteY3" fmla="*/ 6358757 h 6358757"/>
              <a:gd name="connsiteX4" fmla="*/ 0 w 2742690"/>
              <a:gd name="connsiteY4" fmla="*/ 6358757 h 6358757"/>
              <a:gd name="connsiteX5" fmla="*/ 0 w 2742690"/>
              <a:gd name="connsiteY5" fmla="*/ 371928 h 6358757"/>
              <a:gd name="connsiteX0" fmla="*/ 0 w 2742690"/>
              <a:gd name="connsiteY0" fmla="*/ 0 h 5986829"/>
              <a:gd name="connsiteX1" fmla="*/ 1722081 w 2742690"/>
              <a:gd name="connsiteY1" fmla="*/ 5368 h 5986829"/>
              <a:gd name="connsiteX2" fmla="*/ 2670929 w 2742690"/>
              <a:gd name="connsiteY2" fmla="*/ 96604 h 5986829"/>
              <a:gd name="connsiteX3" fmla="*/ 2674951 w 2742690"/>
              <a:gd name="connsiteY3" fmla="*/ 5986829 h 5986829"/>
              <a:gd name="connsiteX4" fmla="*/ 0 w 2742690"/>
              <a:gd name="connsiteY4" fmla="*/ 5986829 h 5986829"/>
              <a:gd name="connsiteX5" fmla="*/ 0 w 2742690"/>
              <a:gd name="connsiteY5" fmla="*/ 0 h 5986829"/>
              <a:gd name="connsiteX0" fmla="*/ 0 w 2751025"/>
              <a:gd name="connsiteY0" fmla="*/ 0 h 5986829"/>
              <a:gd name="connsiteX1" fmla="*/ 1722081 w 2751025"/>
              <a:gd name="connsiteY1" fmla="*/ 5368 h 5986829"/>
              <a:gd name="connsiteX2" fmla="*/ 2682149 w 2751025"/>
              <a:gd name="connsiteY2" fmla="*/ 74163 h 5986829"/>
              <a:gd name="connsiteX3" fmla="*/ 2674951 w 2751025"/>
              <a:gd name="connsiteY3" fmla="*/ 5986829 h 5986829"/>
              <a:gd name="connsiteX4" fmla="*/ 0 w 2751025"/>
              <a:gd name="connsiteY4" fmla="*/ 5986829 h 5986829"/>
              <a:gd name="connsiteX5" fmla="*/ 0 w 2751025"/>
              <a:gd name="connsiteY5" fmla="*/ 0 h 5986829"/>
              <a:gd name="connsiteX0" fmla="*/ 0 w 2697688"/>
              <a:gd name="connsiteY0" fmla="*/ 0 h 5986829"/>
              <a:gd name="connsiteX1" fmla="*/ 1722081 w 2697688"/>
              <a:gd name="connsiteY1" fmla="*/ 5368 h 5986829"/>
              <a:gd name="connsiteX2" fmla="*/ 2600806 w 2697688"/>
              <a:gd name="connsiteY2" fmla="*/ 155509 h 5986829"/>
              <a:gd name="connsiteX3" fmla="*/ 2674951 w 2697688"/>
              <a:gd name="connsiteY3" fmla="*/ 5986829 h 5986829"/>
              <a:gd name="connsiteX4" fmla="*/ 0 w 2697688"/>
              <a:gd name="connsiteY4" fmla="*/ 5986829 h 5986829"/>
              <a:gd name="connsiteX5" fmla="*/ 0 w 2697688"/>
              <a:gd name="connsiteY5" fmla="*/ 0 h 5986829"/>
              <a:gd name="connsiteX0" fmla="*/ 0 w 2748920"/>
              <a:gd name="connsiteY0" fmla="*/ 0 h 5986829"/>
              <a:gd name="connsiteX1" fmla="*/ 1722081 w 2748920"/>
              <a:gd name="connsiteY1" fmla="*/ 5368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52334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71968 w 2748920"/>
              <a:gd name="connsiteY1" fmla="*/ 25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529894 w 2748920"/>
              <a:gd name="connsiteY1" fmla="*/ 58663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428917 w 2748920"/>
              <a:gd name="connsiteY1" fmla="*/ 69884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0 h 5986829"/>
              <a:gd name="connsiteX1" fmla="*/ 2428917 w 2748920"/>
              <a:gd name="connsiteY1" fmla="*/ 69884 h 5986829"/>
              <a:gd name="connsiteX2" fmla="*/ 2679344 w 2748920"/>
              <a:gd name="connsiteY2" fmla="*/ 71358 h 5986829"/>
              <a:gd name="connsiteX3" fmla="*/ 2674951 w 2748920"/>
              <a:gd name="connsiteY3" fmla="*/ 5986829 h 5986829"/>
              <a:gd name="connsiteX4" fmla="*/ 0 w 2748920"/>
              <a:gd name="connsiteY4" fmla="*/ 5986829 h 5986829"/>
              <a:gd name="connsiteX5" fmla="*/ 0 w 2748920"/>
              <a:gd name="connsiteY5" fmla="*/ 0 h 5986829"/>
              <a:gd name="connsiteX0" fmla="*/ 0 w 2748920"/>
              <a:gd name="connsiteY0" fmla="*/ 3137 h 5989966"/>
              <a:gd name="connsiteX1" fmla="*/ 2569162 w 2748920"/>
              <a:gd name="connsiteY1" fmla="*/ 90 h 5989966"/>
              <a:gd name="connsiteX2" fmla="*/ 2679344 w 2748920"/>
              <a:gd name="connsiteY2" fmla="*/ 74495 h 5989966"/>
              <a:gd name="connsiteX3" fmla="*/ 2674951 w 2748920"/>
              <a:gd name="connsiteY3" fmla="*/ 5989966 h 5989966"/>
              <a:gd name="connsiteX4" fmla="*/ 0 w 2748920"/>
              <a:gd name="connsiteY4" fmla="*/ 5989966 h 5989966"/>
              <a:gd name="connsiteX5" fmla="*/ 0 w 2748920"/>
              <a:gd name="connsiteY5" fmla="*/ 3137 h 5989966"/>
              <a:gd name="connsiteX0" fmla="*/ 0 w 2748920"/>
              <a:gd name="connsiteY0" fmla="*/ 3137 h 5989966"/>
              <a:gd name="connsiteX1" fmla="*/ 2569162 w 2748920"/>
              <a:gd name="connsiteY1" fmla="*/ 90 h 5989966"/>
              <a:gd name="connsiteX2" fmla="*/ 2679344 w 2748920"/>
              <a:gd name="connsiteY2" fmla="*/ 74495 h 5989966"/>
              <a:gd name="connsiteX3" fmla="*/ 2674951 w 2748920"/>
              <a:gd name="connsiteY3" fmla="*/ 5989966 h 5989966"/>
              <a:gd name="connsiteX4" fmla="*/ 0 w 2748920"/>
              <a:gd name="connsiteY4" fmla="*/ 5989966 h 5989966"/>
              <a:gd name="connsiteX5" fmla="*/ 0 w 2748920"/>
              <a:gd name="connsiteY5" fmla="*/ 3137 h 5989966"/>
              <a:gd name="connsiteX0" fmla="*/ 0 w 2748920"/>
              <a:gd name="connsiteY0" fmla="*/ 3137 h 5989966"/>
              <a:gd name="connsiteX1" fmla="*/ 2569162 w 2748920"/>
              <a:gd name="connsiteY1" fmla="*/ 90 h 5989966"/>
              <a:gd name="connsiteX2" fmla="*/ 2679344 w 2748920"/>
              <a:gd name="connsiteY2" fmla="*/ 74495 h 5989966"/>
              <a:gd name="connsiteX3" fmla="*/ 2674951 w 2748920"/>
              <a:gd name="connsiteY3" fmla="*/ 5989966 h 5989966"/>
              <a:gd name="connsiteX4" fmla="*/ 0 w 2748920"/>
              <a:gd name="connsiteY4" fmla="*/ 5989966 h 5989966"/>
              <a:gd name="connsiteX5" fmla="*/ 0 w 2748920"/>
              <a:gd name="connsiteY5" fmla="*/ 3137 h 5989966"/>
              <a:gd name="connsiteX0" fmla="*/ 0 w 2679344"/>
              <a:gd name="connsiteY0" fmla="*/ 3137 h 5989966"/>
              <a:gd name="connsiteX1" fmla="*/ 2569162 w 2679344"/>
              <a:gd name="connsiteY1" fmla="*/ 90 h 5989966"/>
              <a:gd name="connsiteX2" fmla="*/ 2679344 w 2679344"/>
              <a:gd name="connsiteY2" fmla="*/ 74495 h 5989966"/>
              <a:gd name="connsiteX3" fmla="*/ 2674951 w 2679344"/>
              <a:gd name="connsiteY3" fmla="*/ 5989966 h 5989966"/>
              <a:gd name="connsiteX4" fmla="*/ 0 w 2679344"/>
              <a:gd name="connsiteY4" fmla="*/ 5989966 h 5989966"/>
              <a:gd name="connsiteX5" fmla="*/ 0 w 2679344"/>
              <a:gd name="connsiteY5" fmla="*/ 3137 h 5989966"/>
              <a:gd name="connsiteX0" fmla="*/ 0 w 2679344"/>
              <a:gd name="connsiteY0" fmla="*/ 3137 h 5989966"/>
              <a:gd name="connsiteX1" fmla="*/ 2569162 w 2679344"/>
              <a:gd name="connsiteY1" fmla="*/ 90 h 5989966"/>
              <a:gd name="connsiteX2" fmla="*/ 2679344 w 2679344"/>
              <a:gd name="connsiteY2" fmla="*/ 74495 h 5989966"/>
              <a:gd name="connsiteX3" fmla="*/ 2674951 w 2679344"/>
              <a:gd name="connsiteY3" fmla="*/ 5989966 h 5989966"/>
              <a:gd name="connsiteX4" fmla="*/ 0 w 2679344"/>
              <a:gd name="connsiteY4" fmla="*/ 5989966 h 5989966"/>
              <a:gd name="connsiteX5" fmla="*/ 0 w 2679344"/>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3137 h 5989966"/>
              <a:gd name="connsiteX1" fmla="*/ 2569162 w 2679350"/>
              <a:gd name="connsiteY1" fmla="*/ 90 h 5989966"/>
              <a:gd name="connsiteX2" fmla="*/ 2679344 w 2679350"/>
              <a:gd name="connsiteY2" fmla="*/ 74495 h 5989966"/>
              <a:gd name="connsiteX3" fmla="*/ 2674951 w 2679350"/>
              <a:gd name="connsiteY3" fmla="*/ 5989966 h 5989966"/>
              <a:gd name="connsiteX4" fmla="*/ 0 w 2679350"/>
              <a:gd name="connsiteY4" fmla="*/ 5989966 h 5989966"/>
              <a:gd name="connsiteX5" fmla="*/ 0 w 2679350"/>
              <a:gd name="connsiteY5" fmla="*/ 3137 h 5989966"/>
              <a:gd name="connsiteX0" fmla="*/ 0 w 2679350"/>
              <a:gd name="connsiteY0" fmla="*/ 0 h 5986829"/>
              <a:gd name="connsiteX1" fmla="*/ 2566780 w 2679350"/>
              <a:gd name="connsiteY1" fmla="*/ 94589 h 5986829"/>
              <a:gd name="connsiteX2" fmla="*/ 2679344 w 2679350"/>
              <a:gd name="connsiteY2" fmla="*/ 71358 h 5986829"/>
              <a:gd name="connsiteX3" fmla="*/ 2674951 w 2679350"/>
              <a:gd name="connsiteY3" fmla="*/ 5986829 h 5986829"/>
              <a:gd name="connsiteX4" fmla="*/ 0 w 2679350"/>
              <a:gd name="connsiteY4" fmla="*/ 5986829 h 5986829"/>
              <a:gd name="connsiteX5" fmla="*/ 0 w 2679350"/>
              <a:gd name="connsiteY5" fmla="*/ 0 h 5986829"/>
              <a:gd name="connsiteX0" fmla="*/ 0 w 2679350"/>
              <a:gd name="connsiteY0" fmla="*/ 761 h 5987590"/>
              <a:gd name="connsiteX1" fmla="*/ 2581068 w 2679350"/>
              <a:gd name="connsiteY1" fmla="*/ 96 h 5987590"/>
              <a:gd name="connsiteX2" fmla="*/ 2679344 w 2679350"/>
              <a:gd name="connsiteY2" fmla="*/ 72119 h 5987590"/>
              <a:gd name="connsiteX3" fmla="*/ 2674951 w 2679350"/>
              <a:gd name="connsiteY3" fmla="*/ 5987590 h 5987590"/>
              <a:gd name="connsiteX4" fmla="*/ 0 w 2679350"/>
              <a:gd name="connsiteY4" fmla="*/ 5987590 h 5987590"/>
              <a:gd name="connsiteX5" fmla="*/ 0 w 2679350"/>
              <a:gd name="connsiteY5" fmla="*/ 761 h 5987590"/>
              <a:gd name="connsiteX0" fmla="*/ 0 w 2679350"/>
              <a:gd name="connsiteY0" fmla="*/ 761 h 5987590"/>
              <a:gd name="connsiteX1" fmla="*/ 2581068 w 2679350"/>
              <a:gd name="connsiteY1" fmla="*/ 96 h 5987590"/>
              <a:gd name="connsiteX2" fmla="*/ 2679344 w 2679350"/>
              <a:gd name="connsiteY2" fmla="*/ 72119 h 5987590"/>
              <a:gd name="connsiteX3" fmla="*/ 2674951 w 2679350"/>
              <a:gd name="connsiteY3" fmla="*/ 5987590 h 5987590"/>
              <a:gd name="connsiteX4" fmla="*/ 0 w 2679350"/>
              <a:gd name="connsiteY4" fmla="*/ 5987590 h 5987590"/>
              <a:gd name="connsiteX5" fmla="*/ 0 w 2679350"/>
              <a:gd name="connsiteY5" fmla="*/ 761 h 5987590"/>
              <a:gd name="connsiteX0" fmla="*/ 0 w 2679350"/>
              <a:gd name="connsiteY0" fmla="*/ 761 h 5987590"/>
              <a:gd name="connsiteX1" fmla="*/ 2581068 w 2679350"/>
              <a:gd name="connsiteY1" fmla="*/ 96 h 5987590"/>
              <a:gd name="connsiteX2" fmla="*/ 2679344 w 2679350"/>
              <a:gd name="connsiteY2" fmla="*/ 72119 h 5987590"/>
              <a:gd name="connsiteX3" fmla="*/ 2674951 w 2679350"/>
              <a:gd name="connsiteY3" fmla="*/ 5987590 h 5987590"/>
              <a:gd name="connsiteX4" fmla="*/ 0 w 2679350"/>
              <a:gd name="connsiteY4" fmla="*/ 5987590 h 5987590"/>
              <a:gd name="connsiteX5" fmla="*/ 0 w 2679350"/>
              <a:gd name="connsiteY5" fmla="*/ 761 h 5987590"/>
              <a:gd name="connsiteX0" fmla="*/ 0 w 2679350"/>
              <a:gd name="connsiteY0" fmla="*/ 0 h 5986829"/>
              <a:gd name="connsiteX1" fmla="*/ 2585830 w 2679350"/>
              <a:gd name="connsiteY1" fmla="*/ 44581 h 5986829"/>
              <a:gd name="connsiteX2" fmla="*/ 2679344 w 2679350"/>
              <a:gd name="connsiteY2" fmla="*/ 71358 h 5986829"/>
              <a:gd name="connsiteX3" fmla="*/ 2674951 w 2679350"/>
              <a:gd name="connsiteY3" fmla="*/ 5986829 h 5986829"/>
              <a:gd name="connsiteX4" fmla="*/ 0 w 2679350"/>
              <a:gd name="connsiteY4" fmla="*/ 5986829 h 5986829"/>
              <a:gd name="connsiteX5" fmla="*/ 0 w 2679350"/>
              <a:gd name="connsiteY5" fmla="*/ 0 h 5986829"/>
              <a:gd name="connsiteX0" fmla="*/ 0 w 2679350"/>
              <a:gd name="connsiteY0" fmla="*/ 0 h 5986829"/>
              <a:gd name="connsiteX1" fmla="*/ 2588212 w 2679350"/>
              <a:gd name="connsiteY1" fmla="*/ 1716 h 5986829"/>
              <a:gd name="connsiteX2" fmla="*/ 2679344 w 2679350"/>
              <a:gd name="connsiteY2" fmla="*/ 71358 h 5986829"/>
              <a:gd name="connsiteX3" fmla="*/ 2674951 w 2679350"/>
              <a:gd name="connsiteY3" fmla="*/ 5986829 h 5986829"/>
              <a:gd name="connsiteX4" fmla="*/ 0 w 2679350"/>
              <a:gd name="connsiteY4" fmla="*/ 5986829 h 5986829"/>
              <a:gd name="connsiteX5" fmla="*/ 0 w 2679350"/>
              <a:gd name="connsiteY5" fmla="*/ 0 h 5986829"/>
              <a:gd name="connsiteX0" fmla="*/ 0 w 2674961"/>
              <a:gd name="connsiteY0" fmla="*/ 0 h 5986829"/>
              <a:gd name="connsiteX1" fmla="*/ 2588212 w 2674961"/>
              <a:gd name="connsiteY1" fmla="*/ 1716 h 5986829"/>
              <a:gd name="connsiteX2" fmla="*/ 2655531 w 2674961"/>
              <a:gd name="connsiteY2" fmla="*/ 78502 h 5986829"/>
              <a:gd name="connsiteX3" fmla="*/ 2674951 w 2674961"/>
              <a:gd name="connsiteY3" fmla="*/ 5986829 h 5986829"/>
              <a:gd name="connsiteX4" fmla="*/ 0 w 2674961"/>
              <a:gd name="connsiteY4" fmla="*/ 5986829 h 5986829"/>
              <a:gd name="connsiteX5" fmla="*/ 0 w 2674961"/>
              <a:gd name="connsiteY5" fmla="*/ 0 h 5986829"/>
              <a:gd name="connsiteX0" fmla="*/ 0 w 2675143"/>
              <a:gd name="connsiteY0" fmla="*/ 0 h 5986829"/>
              <a:gd name="connsiteX1" fmla="*/ 2588212 w 2675143"/>
              <a:gd name="connsiteY1" fmla="*/ 1716 h 5986829"/>
              <a:gd name="connsiteX2" fmla="*/ 2674581 w 2675143"/>
              <a:gd name="connsiteY2" fmla="*/ 80883 h 5986829"/>
              <a:gd name="connsiteX3" fmla="*/ 2674951 w 2675143"/>
              <a:gd name="connsiteY3" fmla="*/ 5986829 h 5986829"/>
              <a:gd name="connsiteX4" fmla="*/ 0 w 2675143"/>
              <a:gd name="connsiteY4" fmla="*/ 5986829 h 5986829"/>
              <a:gd name="connsiteX5" fmla="*/ 0 w 2675143"/>
              <a:gd name="connsiteY5" fmla="*/ 0 h 598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5143" h="5986829">
                <a:moveTo>
                  <a:pt x="0" y="0"/>
                </a:moveTo>
                <a:lnTo>
                  <a:pt x="2588212" y="1716"/>
                </a:lnTo>
                <a:cubicBezTo>
                  <a:pt x="2639095" y="-351"/>
                  <a:pt x="2671381" y="38070"/>
                  <a:pt x="2674581" y="80883"/>
                </a:cubicBezTo>
                <a:cubicBezTo>
                  <a:pt x="2674773" y="1264412"/>
                  <a:pt x="2675480" y="4002251"/>
                  <a:pt x="2674951" y="5986829"/>
                </a:cubicBezTo>
                <a:lnTo>
                  <a:pt x="0" y="5986829"/>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Tijdelijke aanduiding voor datum 3"/>
          <p:cNvSpPr>
            <a:spLocks noGrp="1"/>
          </p:cNvSpPr>
          <p:nvPr>
            <p:ph type="dt" sz="half" idx="10"/>
          </p:nvPr>
        </p:nvSpPr>
        <p:spPr>
          <a:xfrm>
            <a:off x="10676001" y="5401161"/>
            <a:ext cx="1434524" cy="365125"/>
          </a:xfrm>
        </p:spPr>
        <p:txBody>
          <a:bodyPr/>
          <a:lstStyle>
            <a:lvl1pPr>
              <a:defRPr>
                <a:solidFill>
                  <a:schemeClr val="tx2"/>
                </a:solidFill>
              </a:defRPr>
            </a:lvl1pPr>
          </a:lstStyle>
          <a:p>
            <a:fld id="{A6555EF2-FE38-4FB0-859B-5D1749897883}" type="datetime4">
              <a:rPr lang="en-GB" smtClean="0"/>
              <a:t>29 May 2020</a:t>
            </a:fld>
            <a:endParaRPr lang="en-GB" dirty="0"/>
          </a:p>
        </p:txBody>
      </p:sp>
      <p:sp>
        <p:nvSpPr>
          <p:cNvPr id="5" name="Tijdelijke aanduiding voor voettekst 4"/>
          <p:cNvSpPr>
            <a:spLocks noGrp="1"/>
          </p:cNvSpPr>
          <p:nvPr>
            <p:ph type="ftr" sz="quarter" idx="11"/>
          </p:nvPr>
        </p:nvSpPr>
        <p:spPr>
          <a:xfrm>
            <a:off x="9981386" y="5365065"/>
            <a:ext cx="814092" cy="365125"/>
          </a:xfrm>
        </p:spPr>
        <p:txBody>
          <a:bodyPr/>
          <a:lstStyle>
            <a:lvl1pPr>
              <a:defRPr>
                <a:solidFill>
                  <a:schemeClr val="tx2"/>
                </a:solidFill>
              </a:defRPr>
            </a:lvl1pPr>
          </a:lstStyle>
          <a:p>
            <a:r>
              <a:rPr lang="en-GB"/>
              <a:t>|</a:t>
            </a:r>
          </a:p>
        </p:txBody>
      </p:sp>
      <p:sp>
        <p:nvSpPr>
          <p:cNvPr id="6" name="Tijdelijke aanduiding voor dianummer 5"/>
          <p:cNvSpPr>
            <a:spLocks noGrp="1"/>
          </p:cNvSpPr>
          <p:nvPr>
            <p:ph type="sldNum" sz="quarter" idx="12"/>
          </p:nvPr>
        </p:nvSpPr>
        <p:spPr>
          <a:xfrm>
            <a:off x="9560279" y="5401161"/>
            <a:ext cx="540585" cy="365125"/>
          </a:xfrm>
        </p:spPr>
        <p:txBody>
          <a:bodyPr/>
          <a:lstStyle>
            <a:lvl1pPr>
              <a:defRPr>
                <a:solidFill>
                  <a:schemeClr val="tx2"/>
                </a:solidFill>
              </a:defRPr>
            </a:lvl1pPr>
          </a:lstStyle>
          <a:p>
            <a:fld id="{534B5F9C-CFE5-4EC6-9BBB-664E2F56B033}" type="slidenum">
              <a:rPr lang="en-GB" smtClean="0"/>
              <a:pPr/>
              <a:t>‹nr.›</a:t>
            </a:fld>
            <a:endParaRPr lang="en-GB" dirty="0"/>
          </a:p>
        </p:txBody>
      </p:sp>
      <p:sp>
        <p:nvSpPr>
          <p:cNvPr id="28" name="Tijdelijke aanduiding voor afbeelding 2">
            <a:extLst>
              <a:ext uri="{FF2B5EF4-FFF2-40B4-BE49-F238E27FC236}">
                <a16:creationId xmlns:a16="http://schemas.microsoft.com/office/drawing/2014/main" id="{16DBD923-A819-4FA3-8642-E1DC6B8509B0}"/>
              </a:ext>
            </a:extLst>
          </p:cNvPr>
          <p:cNvSpPr>
            <a:spLocks noGrp="1"/>
          </p:cNvSpPr>
          <p:nvPr>
            <p:ph type="pic" idx="13"/>
          </p:nvPr>
        </p:nvSpPr>
        <p:spPr>
          <a:xfrm>
            <a:off x="-2498" y="-2912"/>
            <a:ext cx="9522159" cy="6858478"/>
          </a:xfrm>
          <a:custGeom>
            <a:avLst/>
            <a:gdLst>
              <a:gd name="connsiteX0" fmla="*/ 79964 w 12195175"/>
              <a:gd name="connsiteY0" fmla="*/ 0 h 6858000"/>
              <a:gd name="connsiteX1" fmla="*/ 12115211 w 12195175"/>
              <a:gd name="connsiteY1" fmla="*/ 0 h 6858000"/>
              <a:gd name="connsiteX2" fmla="*/ 12195175 w 12195175"/>
              <a:gd name="connsiteY2" fmla="*/ 79964 h 6858000"/>
              <a:gd name="connsiteX3" fmla="*/ 12195175 w 12195175"/>
              <a:gd name="connsiteY3" fmla="*/ 6858000 h 6858000"/>
              <a:gd name="connsiteX4" fmla="*/ 12195175 w 12195175"/>
              <a:gd name="connsiteY4" fmla="*/ 6858000 h 6858000"/>
              <a:gd name="connsiteX5" fmla="*/ 0 w 12195175"/>
              <a:gd name="connsiteY5" fmla="*/ 6858000 h 6858000"/>
              <a:gd name="connsiteX6" fmla="*/ 0 w 12195175"/>
              <a:gd name="connsiteY6" fmla="*/ 6858000 h 6858000"/>
              <a:gd name="connsiteX7" fmla="*/ 0 w 12195175"/>
              <a:gd name="connsiteY7" fmla="*/ 79964 h 6858000"/>
              <a:gd name="connsiteX8" fmla="*/ 79964 w 12195175"/>
              <a:gd name="connsiteY8"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7673 w 12197673"/>
              <a:gd name="connsiteY3" fmla="*/ 6858000 h 6858000"/>
              <a:gd name="connsiteX4" fmla="*/ 12197673 w 12197673"/>
              <a:gd name="connsiteY4" fmla="*/ 6858000 h 6858000"/>
              <a:gd name="connsiteX5" fmla="*/ 2498 w 12197673"/>
              <a:gd name="connsiteY5" fmla="*/ 6858000 h 6858000"/>
              <a:gd name="connsiteX6" fmla="*/ 2498 w 12197673"/>
              <a:gd name="connsiteY6" fmla="*/ 6858000 h 6858000"/>
              <a:gd name="connsiteX7" fmla="*/ 0 w 12197673"/>
              <a:gd name="connsiteY7" fmla="*/ 6785548 h 6858000"/>
              <a:gd name="connsiteX8" fmla="*/ 2498 w 12197673"/>
              <a:gd name="connsiteY8" fmla="*/ 79964 h 6858000"/>
              <a:gd name="connsiteX9" fmla="*/ 82462 w 12197673"/>
              <a:gd name="connsiteY9"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7673 w 12197673"/>
              <a:gd name="connsiteY3" fmla="*/ 6858000 h 6858000"/>
              <a:gd name="connsiteX4" fmla="*/ 12197673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97673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97673 w 12197673"/>
              <a:gd name="connsiteY5" fmla="*/ 6858000 h 6858000"/>
              <a:gd name="connsiteX6" fmla="*/ 12112052 w 12197673"/>
              <a:gd name="connsiteY6" fmla="*/ 6858000 h 6858000"/>
              <a:gd name="connsiteX7" fmla="*/ 74950 w 12197673"/>
              <a:gd name="connsiteY7" fmla="*/ 6855502 h 6858000"/>
              <a:gd name="connsiteX8" fmla="*/ 2498 w 12197673"/>
              <a:gd name="connsiteY8" fmla="*/ 6858000 h 6858000"/>
              <a:gd name="connsiteX9" fmla="*/ 2498 w 12197673"/>
              <a:gd name="connsiteY9" fmla="*/ 6858000 h 6858000"/>
              <a:gd name="connsiteX10" fmla="*/ 0 w 12197673"/>
              <a:gd name="connsiteY10" fmla="*/ 6785548 h 6858000"/>
              <a:gd name="connsiteX11" fmla="*/ 2498 w 12197673"/>
              <a:gd name="connsiteY11" fmla="*/ 79964 h 6858000"/>
              <a:gd name="connsiteX12" fmla="*/ 82462 w 12197673"/>
              <a:gd name="connsiteY12"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97673 w 12197673"/>
              <a:gd name="connsiteY4" fmla="*/ 6858000 h 6858000"/>
              <a:gd name="connsiteX5" fmla="*/ 12112052 w 12197673"/>
              <a:gd name="connsiteY5" fmla="*/ 6858000 h 6858000"/>
              <a:gd name="connsiteX6" fmla="*/ 74950 w 12197673"/>
              <a:gd name="connsiteY6" fmla="*/ 6855502 h 6858000"/>
              <a:gd name="connsiteX7" fmla="*/ 2498 w 12197673"/>
              <a:gd name="connsiteY7" fmla="*/ 6858000 h 6858000"/>
              <a:gd name="connsiteX8" fmla="*/ 2498 w 12197673"/>
              <a:gd name="connsiteY8" fmla="*/ 6858000 h 6858000"/>
              <a:gd name="connsiteX9" fmla="*/ 0 w 12197673"/>
              <a:gd name="connsiteY9" fmla="*/ 6785548 h 6858000"/>
              <a:gd name="connsiteX10" fmla="*/ 2498 w 12197673"/>
              <a:gd name="connsiteY10" fmla="*/ 79964 h 6858000"/>
              <a:gd name="connsiteX11" fmla="*/ 82462 w 12197673"/>
              <a:gd name="connsiteY11"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000"/>
              <a:gd name="connsiteX1" fmla="*/ 12117709 w 12197673"/>
              <a:gd name="connsiteY1" fmla="*/ 0 h 6858000"/>
              <a:gd name="connsiteX2" fmla="*/ 12197673 w 12197673"/>
              <a:gd name="connsiteY2" fmla="*/ 79964 h 6858000"/>
              <a:gd name="connsiteX3" fmla="*/ 12194498 w 12197673"/>
              <a:gd name="connsiteY3" fmla="*/ 6778052 h 6858000"/>
              <a:gd name="connsiteX4" fmla="*/ 12112052 w 12197673"/>
              <a:gd name="connsiteY4" fmla="*/ 6858000 h 6858000"/>
              <a:gd name="connsiteX5" fmla="*/ 74950 w 12197673"/>
              <a:gd name="connsiteY5" fmla="*/ 6855502 h 6858000"/>
              <a:gd name="connsiteX6" fmla="*/ 2498 w 12197673"/>
              <a:gd name="connsiteY6" fmla="*/ 6858000 h 6858000"/>
              <a:gd name="connsiteX7" fmla="*/ 2498 w 12197673"/>
              <a:gd name="connsiteY7" fmla="*/ 6858000 h 6858000"/>
              <a:gd name="connsiteX8" fmla="*/ 0 w 12197673"/>
              <a:gd name="connsiteY8" fmla="*/ 6785548 h 6858000"/>
              <a:gd name="connsiteX9" fmla="*/ 2498 w 12197673"/>
              <a:gd name="connsiteY9" fmla="*/ 79964 h 6858000"/>
              <a:gd name="connsiteX10" fmla="*/ 82462 w 12197673"/>
              <a:gd name="connsiteY10" fmla="*/ 0 h 6858000"/>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2498 w 12197673"/>
              <a:gd name="connsiteY7" fmla="*/ 6858000 h 6858224"/>
              <a:gd name="connsiteX8" fmla="*/ 0 w 12197673"/>
              <a:gd name="connsiteY8" fmla="*/ 6785548 h 6858224"/>
              <a:gd name="connsiteX9" fmla="*/ 2498 w 12197673"/>
              <a:gd name="connsiteY9" fmla="*/ 79964 h 6858224"/>
              <a:gd name="connsiteX10" fmla="*/ 82462 w 12197673"/>
              <a:gd name="connsiteY10"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2498 w 12197673"/>
              <a:gd name="connsiteY7" fmla="*/ 6858000 h 6858224"/>
              <a:gd name="connsiteX8" fmla="*/ 0 w 12197673"/>
              <a:gd name="connsiteY8" fmla="*/ 6785548 h 6858224"/>
              <a:gd name="connsiteX9" fmla="*/ 2498 w 12197673"/>
              <a:gd name="connsiteY9" fmla="*/ 79964 h 6858224"/>
              <a:gd name="connsiteX10" fmla="*/ 82462 w 12197673"/>
              <a:gd name="connsiteY10"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2498 w 12197673"/>
              <a:gd name="connsiteY6" fmla="*/ 6858000 h 6858224"/>
              <a:gd name="connsiteX7" fmla="*/ 0 w 12197673"/>
              <a:gd name="connsiteY7" fmla="*/ 6785548 h 6858224"/>
              <a:gd name="connsiteX8" fmla="*/ 2498 w 12197673"/>
              <a:gd name="connsiteY8" fmla="*/ 79964 h 6858224"/>
              <a:gd name="connsiteX9" fmla="*/ 82462 w 12197673"/>
              <a:gd name="connsiteY9"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 name="connsiteX0" fmla="*/ 82462 w 12197673"/>
              <a:gd name="connsiteY0" fmla="*/ 0 h 6858224"/>
              <a:gd name="connsiteX1" fmla="*/ 12117709 w 12197673"/>
              <a:gd name="connsiteY1" fmla="*/ 0 h 6858224"/>
              <a:gd name="connsiteX2" fmla="*/ 12197673 w 12197673"/>
              <a:gd name="connsiteY2" fmla="*/ 79964 h 6858224"/>
              <a:gd name="connsiteX3" fmla="*/ 12194498 w 12197673"/>
              <a:gd name="connsiteY3" fmla="*/ 6778052 h 6858224"/>
              <a:gd name="connsiteX4" fmla="*/ 12112052 w 12197673"/>
              <a:gd name="connsiteY4" fmla="*/ 6858000 h 6858224"/>
              <a:gd name="connsiteX5" fmla="*/ 74950 w 12197673"/>
              <a:gd name="connsiteY5" fmla="*/ 6855502 h 6858224"/>
              <a:gd name="connsiteX6" fmla="*/ 0 w 12197673"/>
              <a:gd name="connsiteY6" fmla="*/ 6785548 h 6858224"/>
              <a:gd name="connsiteX7" fmla="*/ 2498 w 12197673"/>
              <a:gd name="connsiteY7" fmla="*/ 79964 h 6858224"/>
              <a:gd name="connsiteX8" fmla="*/ 82462 w 12197673"/>
              <a:gd name="connsiteY8" fmla="*/ 0 h 6858224"/>
              <a:gd name="connsiteX0" fmla="*/ 82462 w 12197673"/>
              <a:gd name="connsiteY0" fmla="*/ 2912 h 6861136"/>
              <a:gd name="connsiteX1" fmla="*/ 9522159 w 12197673"/>
              <a:gd name="connsiteY1" fmla="*/ 0 h 6861136"/>
              <a:gd name="connsiteX2" fmla="*/ 12117709 w 12197673"/>
              <a:gd name="connsiteY2" fmla="*/ 2912 h 6861136"/>
              <a:gd name="connsiteX3" fmla="*/ 12197673 w 12197673"/>
              <a:gd name="connsiteY3" fmla="*/ 82876 h 6861136"/>
              <a:gd name="connsiteX4" fmla="*/ 12194498 w 12197673"/>
              <a:gd name="connsiteY4" fmla="*/ 6780964 h 6861136"/>
              <a:gd name="connsiteX5" fmla="*/ 12112052 w 12197673"/>
              <a:gd name="connsiteY5" fmla="*/ 6860912 h 6861136"/>
              <a:gd name="connsiteX6" fmla="*/ 74950 w 12197673"/>
              <a:gd name="connsiteY6" fmla="*/ 6858414 h 6861136"/>
              <a:gd name="connsiteX7" fmla="*/ 0 w 12197673"/>
              <a:gd name="connsiteY7" fmla="*/ 6788460 h 6861136"/>
              <a:gd name="connsiteX8" fmla="*/ 2498 w 12197673"/>
              <a:gd name="connsiteY8" fmla="*/ 82876 h 6861136"/>
              <a:gd name="connsiteX9" fmla="*/ 82462 w 12197673"/>
              <a:gd name="connsiteY9" fmla="*/ 2912 h 6861136"/>
              <a:gd name="connsiteX0" fmla="*/ 82462 w 12197673"/>
              <a:gd name="connsiteY0" fmla="*/ 2912 h 6861136"/>
              <a:gd name="connsiteX1" fmla="*/ 9522159 w 12197673"/>
              <a:gd name="connsiteY1" fmla="*/ 0 h 6861136"/>
              <a:gd name="connsiteX2" fmla="*/ 12117709 w 12197673"/>
              <a:gd name="connsiteY2" fmla="*/ 2912 h 6861136"/>
              <a:gd name="connsiteX3" fmla="*/ 12197673 w 12197673"/>
              <a:gd name="connsiteY3" fmla="*/ 82876 h 6861136"/>
              <a:gd name="connsiteX4" fmla="*/ 12194498 w 12197673"/>
              <a:gd name="connsiteY4" fmla="*/ 6780964 h 6861136"/>
              <a:gd name="connsiteX5" fmla="*/ 12112052 w 12197673"/>
              <a:gd name="connsiteY5" fmla="*/ 6860912 h 6861136"/>
              <a:gd name="connsiteX6" fmla="*/ 9522159 w 12197673"/>
              <a:gd name="connsiteY6" fmla="*/ 6858000 h 6861136"/>
              <a:gd name="connsiteX7" fmla="*/ 74950 w 12197673"/>
              <a:gd name="connsiteY7" fmla="*/ 6858414 h 6861136"/>
              <a:gd name="connsiteX8" fmla="*/ 0 w 12197673"/>
              <a:gd name="connsiteY8" fmla="*/ 6788460 h 6861136"/>
              <a:gd name="connsiteX9" fmla="*/ 2498 w 12197673"/>
              <a:gd name="connsiteY9" fmla="*/ 82876 h 6861136"/>
              <a:gd name="connsiteX10" fmla="*/ 82462 w 12197673"/>
              <a:gd name="connsiteY10" fmla="*/ 2912 h 6861136"/>
              <a:gd name="connsiteX0" fmla="*/ 82462 w 12334905"/>
              <a:gd name="connsiteY0" fmla="*/ 2912 h 6860912"/>
              <a:gd name="connsiteX1" fmla="*/ 9522159 w 12334905"/>
              <a:gd name="connsiteY1" fmla="*/ 0 h 6860912"/>
              <a:gd name="connsiteX2" fmla="*/ 12117709 w 12334905"/>
              <a:gd name="connsiteY2" fmla="*/ 2912 h 6860912"/>
              <a:gd name="connsiteX3" fmla="*/ 12197673 w 12334905"/>
              <a:gd name="connsiteY3" fmla="*/ 82876 h 6860912"/>
              <a:gd name="connsiteX4" fmla="*/ 12112052 w 12334905"/>
              <a:gd name="connsiteY4" fmla="*/ 6860912 h 6860912"/>
              <a:gd name="connsiteX5" fmla="*/ 9522159 w 12334905"/>
              <a:gd name="connsiteY5" fmla="*/ 6858000 h 6860912"/>
              <a:gd name="connsiteX6" fmla="*/ 74950 w 12334905"/>
              <a:gd name="connsiteY6" fmla="*/ 6858414 h 6860912"/>
              <a:gd name="connsiteX7" fmla="*/ 0 w 12334905"/>
              <a:gd name="connsiteY7" fmla="*/ 6788460 h 6860912"/>
              <a:gd name="connsiteX8" fmla="*/ 2498 w 12334905"/>
              <a:gd name="connsiteY8" fmla="*/ 82876 h 6860912"/>
              <a:gd name="connsiteX9" fmla="*/ 82462 w 12334905"/>
              <a:gd name="connsiteY9" fmla="*/ 2912 h 6860912"/>
              <a:gd name="connsiteX0" fmla="*/ 82462 w 12197673"/>
              <a:gd name="connsiteY0" fmla="*/ 2912 h 6858478"/>
              <a:gd name="connsiteX1" fmla="*/ 9522159 w 12197673"/>
              <a:gd name="connsiteY1" fmla="*/ 0 h 6858478"/>
              <a:gd name="connsiteX2" fmla="*/ 12117709 w 12197673"/>
              <a:gd name="connsiteY2" fmla="*/ 2912 h 6858478"/>
              <a:gd name="connsiteX3" fmla="*/ 12197673 w 12197673"/>
              <a:gd name="connsiteY3" fmla="*/ 82876 h 6858478"/>
              <a:gd name="connsiteX4" fmla="*/ 9522159 w 12197673"/>
              <a:gd name="connsiteY4" fmla="*/ 6858000 h 6858478"/>
              <a:gd name="connsiteX5" fmla="*/ 74950 w 12197673"/>
              <a:gd name="connsiteY5" fmla="*/ 6858414 h 6858478"/>
              <a:gd name="connsiteX6" fmla="*/ 0 w 12197673"/>
              <a:gd name="connsiteY6" fmla="*/ 6788460 h 6858478"/>
              <a:gd name="connsiteX7" fmla="*/ 2498 w 12197673"/>
              <a:gd name="connsiteY7" fmla="*/ 82876 h 6858478"/>
              <a:gd name="connsiteX8" fmla="*/ 82462 w 12197673"/>
              <a:gd name="connsiteY8" fmla="*/ 2912 h 6858478"/>
              <a:gd name="connsiteX0" fmla="*/ 82462 w 12117709"/>
              <a:gd name="connsiteY0" fmla="*/ 2912 h 6858478"/>
              <a:gd name="connsiteX1" fmla="*/ 9522159 w 12117709"/>
              <a:gd name="connsiteY1" fmla="*/ 0 h 6858478"/>
              <a:gd name="connsiteX2" fmla="*/ 12117709 w 12117709"/>
              <a:gd name="connsiteY2" fmla="*/ 2912 h 6858478"/>
              <a:gd name="connsiteX3" fmla="*/ 9522159 w 12117709"/>
              <a:gd name="connsiteY3" fmla="*/ 6858000 h 6858478"/>
              <a:gd name="connsiteX4" fmla="*/ 74950 w 12117709"/>
              <a:gd name="connsiteY4" fmla="*/ 6858414 h 6858478"/>
              <a:gd name="connsiteX5" fmla="*/ 0 w 12117709"/>
              <a:gd name="connsiteY5" fmla="*/ 6788460 h 6858478"/>
              <a:gd name="connsiteX6" fmla="*/ 2498 w 12117709"/>
              <a:gd name="connsiteY6" fmla="*/ 82876 h 6858478"/>
              <a:gd name="connsiteX7" fmla="*/ 82462 w 12117709"/>
              <a:gd name="connsiteY7" fmla="*/ 2912 h 6858478"/>
              <a:gd name="connsiteX0" fmla="*/ 82462 w 12117709"/>
              <a:gd name="connsiteY0" fmla="*/ 2912 h 6858478"/>
              <a:gd name="connsiteX1" fmla="*/ 9522159 w 12117709"/>
              <a:gd name="connsiteY1" fmla="*/ 0 h 6858478"/>
              <a:gd name="connsiteX2" fmla="*/ 12117709 w 12117709"/>
              <a:gd name="connsiteY2" fmla="*/ 2912 h 6858478"/>
              <a:gd name="connsiteX3" fmla="*/ 9522159 w 12117709"/>
              <a:gd name="connsiteY3" fmla="*/ 6858000 h 6858478"/>
              <a:gd name="connsiteX4" fmla="*/ 74950 w 12117709"/>
              <a:gd name="connsiteY4" fmla="*/ 6858414 h 6858478"/>
              <a:gd name="connsiteX5" fmla="*/ 0 w 12117709"/>
              <a:gd name="connsiteY5" fmla="*/ 6788460 h 6858478"/>
              <a:gd name="connsiteX6" fmla="*/ 2498 w 12117709"/>
              <a:gd name="connsiteY6" fmla="*/ 82876 h 6858478"/>
              <a:gd name="connsiteX7" fmla="*/ 82462 w 12117709"/>
              <a:gd name="connsiteY7" fmla="*/ 2912 h 6858478"/>
              <a:gd name="connsiteX0" fmla="*/ 82462 w 9522159"/>
              <a:gd name="connsiteY0" fmla="*/ 2912 h 6858478"/>
              <a:gd name="connsiteX1" fmla="*/ 9522159 w 9522159"/>
              <a:gd name="connsiteY1" fmla="*/ 0 h 6858478"/>
              <a:gd name="connsiteX2" fmla="*/ 9522159 w 9522159"/>
              <a:gd name="connsiteY2" fmla="*/ 6858000 h 6858478"/>
              <a:gd name="connsiteX3" fmla="*/ 74950 w 9522159"/>
              <a:gd name="connsiteY3" fmla="*/ 6858414 h 6858478"/>
              <a:gd name="connsiteX4" fmla="*/ 0 w 9522159"/>
              <a:gd name="connsiteY4" fmla="*/ 6788460 h 6858478"/>
              <a:gd name="connsiteX5" fmla="*/ 2498 w 9522159"/>
              <a:gd name="connsiteY5" fmla="*/ 82876 h 6858478"/>
              <a:gd name="connsiteX6" fmla="*/ 82462 w 9522159"/>
              <a:gd name="connsiteY6" fmla="*/ 2912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2159" h="6858478">
                <a:moveTo>
                  <a:pt x="82462" y="2912"/>
                </a:moveTo>
                <a:lnTo>
                  <a:pt x="9522159" y="0"/>
                </a:lnTo>
                <a:lnTo>
                  <a:pt x="9522159" y="6858000"/>
                </a:lnTo>
                <a:lnTo>
                  <a:pt x="74950" y="6858414"/>
                </a:lnTo>
                <a:cubicBezTo>
                  <a:pt x="37476" y="6860079"/>
                  <a:pt x="-1" y="6829266"/>
                  <a:pt x="0" y="6788460"/>
                </a:cubicBezTo>
                <a:cubicBezTo>
                  <a:pt x="833" y="4553265"/>
                  <a:pt x="1665" y="2318071"/>
                  <a:pt x="2498" y="82876"/>
                </a:cubicBezTo>
                <a:cubicBezTo>
                  <a:pt x="2498" y="38713"/>
                  <a:pt x="38299" y="2912"/>
                  <a:pt x="82462" y="2912"/>
                </a:cubicBezTo>
                <a:close/>
              </a:path>
            </a:pathLst>
          </a:custGeo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8" name="Tijdelijke aanduiding voor tekst 7">
            <a:extLst>
              <a:ext uri="{FF2B5EF4-FFF2-40B4-BE49-F238E27FC236}">
                <a16:creationId xmlns:a16="http://schemas.microsoft.com/office/drawing/2014/main" id="{39BD6526-75E5-4652-A0F9-4ACC8AA0F6C3}"/>
              </a:ext>
            </a:extLst>
          </p:cNvPr>
          <p:cNvSpPr>
            <a:spLocks noGrp="1"/>
          </p:cNvSpPr>
          <p:nvPr>
            <p:ph type="body" sz="quarter" idx="14"/>
          </p:nvPr>
        </p:nvSpPr>
        <p:spPr>
          <a:xfrm>
            <a:off x="9865628" y="358984"/>
            <a:ext cx="2003987" cy="475490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3811685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99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beeldvullend)">
    <p:bg>
      <p:bgPr>
        <a:solidFill>
          <a:schemeClr val="tx1"/>
        </a:solidFill>
        <a:effectLst/>
      </p:bgPr>
    </p:bg>
    <p:spTree>
      <p:nvGrpSpPr>
        <p:cNvPr id="1" name=""/>
        <p:cNvGrpSpPr/>
        <p:nvPr/>
      </p:nvGrpSpPr>
      <p:grpSpPr>
        <a:xfrm>
          <a:off x="0" y="0"/>
          <a:ext cx="0" cy="0"/>
          <a:chOff x="0" y="0"/>
          <a:chExt cx="0" cy="0"/>
        </a:xfrm>
      </p:grpSpPr>
      <p:sp>
        <p:nvSpPr>
          <p:cNvPr id="23" name="Afgeronde rechthoek 7">
            <a:extLst>
              <a:ext uri="{FF2B5EF4-FFF2-40B4-BE49-F238E27FC236}">
                <a16:creationId xmlns:a16="http://schemas.microsoft.com/office/drawing/2014/main" id="{9E686FF5-BE1E-475E-BC37-372393A83A53}"/>
              </a:ext>
            </a:extLst>
          </p:cNvPr>
          <p:cNvSpPr/>
          <p:nvPr userDrawn="1"/>
        </p:nvSpPr>
        <p:spPr>
          <a:xfrm>
            <a:off x="-1538" y="0"/>
            <a:ext cx="12196713" cy="6858000"/>
          </a:xfrm>
          <a:prstGeom prst="roundRect">
            <a:avLst>
              <a:gd name="adj" fmla="val 138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10" name="Tekstvak 9"/>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Video (beeldvullend)</a:t>
            </a:r>
          </a:p>
        </p:txBody>
      </p:sp>
      <p:grpSp>
        <p:nvGrpSpPr>
          <p:cNvPr id="49" name="Groep 48">
            <a:extLst>
              <a:ext uri="{FF2B5EF4-FFF2-40B4-BE49-F238E27FC236}">
                <a16:creationId xmlns:a16="http://schemas.microsoft.com/office/drawing/2014/main" id="{1CB86391-C3A1-48A9-83A9-CDA9762F1594}"/>
              </a:ext>
            </a:extLst>
          </p:cNvPr>
          <p:cNvGrpSpPr/>
          <p:nvPr userDrawn="1"/>
        </p:nvGrpSpPr>
        <p:grpSpPr>
          <a:xfrm>
            <a:off x="12363871" y="-26002"/>
            <a:ext cx="3064812" cy="4530930"/>
            <a:chOff x="15419739" y="-26002"/>
            <a:chExt cx="3064812" cy="4530930"/>
          </a:xfrm>
        </p:grpSpPr>
        <p:sp>
          <p:nvSpPr>
            <p:cNvPr id="50" name="Tekstvak 33">
              <a:extLst>
                <a:ext uri="{FF2B5EF4-FFF2-40B4-BE49-F238E27FC236}">
                  <a16:creationId xmlns:a16="http://schemas.microsoft.com/office/drawing/2014/main" id="{2ADCA6F7-250E-4B72-B0DE-999BA8D650E9}"/>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51" name="Tekstvak 33">
              <a:extLst>
                <a:ext uri="{FF2B5EF4-FFF2-40B4-BE49-F238E27FC236}">
                  <a16:creationId xmlns:a16="http://schemas.microsoft.com/office/drawing/2014/main" id="{3D453C5E-479D-4F1D-9BFA-30110A165968}"/>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52" name="Ovaal 51">
              <a:extLst>
                <a:ext uri="{FF2B5EF4-FFF2-40B4-BE49-F238E27FC236}">
                  <a16:creationId xmlns:a16="http://schemas.microsoft.com/office/drawing/2014/main" id="{59F34422-D145-4BF6-A5D7-5A45F15882CF}"/>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53" name="Ovaal 52">
              <a:extLst>
                <a:ext uri="{FF2B5EF4-FFF2-40B4-BE49-F238E27FC236}">
                  <a16:creationId xmlns:a16="http://schemas.microsoft.com/office/drawing/2014/main" id="{4ADA4B64-59B4-479B-9F6E-5DE33E2E0DCC}"/>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54" name="Picture 3">
              <a:extLst>
                <a:ext uri="{FF2B5EF4-FFF2-40B4-BE49-F238E27FC236}">
                  <a16:creationId xmlns:a16="http://schemas.microsoft.com/office/drawing/2014/main" id="{10A71998-BA22-4DB3-B07F-8262582350FC}"/>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55" name="Picture 3">
              <a:extLst>
                <a:ext uri="{FF2B5EF4-FFF2-40B4-BE49-F238E27FC236}">
                  <a16:creationId xmlns:a16="http://schemas.microsoft.com/office/drawing/2014/main" id="{1267A3F0-F5E6-42C8-8255-B54664104A90}"/>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56" name="Tekstvak 55">
              <a:extLst>
                <a:ext uri="{FF2B5EF4-FFF2-40B4-BE49-F238E27FC236}">
                  <a16:creationId xmlns:a16="http://schemas.microsoft.com/office/drawing/2014/main" id="{5D1F6466-7E88-4C40-A76B-97C83D60BF13}"/>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57" name="Rechthoek 56">
              <a:extLst>
                <a:ext uri="{FF2B5EF4-FFF2-40B4-BE49-F238E27FC236}">
                  <a16:creationId xmlns:a16="http://schemas.microsoft.com/office/drawing/2014/main" id="{10BCE57B-8314-47AB-A6BE-574598C816CC}"/>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58" name="Groep 57">
              <a:extLst>
                <a:ext uri="{FF2B5EF4-FFF2-40B4-BE49-F238E27FC236}">
                  <a16:creationId xmlns:a16="http://schemas.microsoft.com/office/drawing/2014/main" id="{BB7B2A28-7AEE-40D5-9733-8D3A2C919095}"/>
                </a:ext>
              </a:extLst>
            </p:cNvPr>
            <p:cNvGrpSpPr/>
            <p:nvPr userDrawn="1"/>
          </p:nvGrpSpPr>
          <p:grpSpPr>
            <a:xfrm>
              <a:off x="15563079" y="358984"/>
              <a:ext cx="2489424" cy="4145944"/>
              <a:chOff x="15563079" y="358984"/>
              <a:chExt cx="2315772" cy="4145944"/>
            </a:xfrm>
          </p:grpSpPr>
          <p:cxnSp>
            <p:nvCxnSpPr>
              <p:cNvPr id="60" name="Rechte verbindingslijn 59">
                <a:extLst>
                  <a:ext uri="{FF2B5EF4-FFF2-40B4-BE49-F238E27FC236}">
                    <a16:creationId xmlns:a16="http://schemas.microsoft.com/office/drawing/2014/main" id="{01932068-E8F3-44CA-AA82-2D843012EC09}"/>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86E371A4-53F6-4D69-A675-664419DD843B}"/>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03719C9B-17A2-4360-8F5A-F299E9B3973B}"/>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59" name="Afbeelding 58">
              <a:extLst>
                <a:ext uri="{FF2B5EF4-FFF2-40B4-BE49-F238E27FC236}">
                  <a16:creationId xmlns:a16="http://schemas.microsoft.com/office/drawing/2014/main" id="{10AA9EE2-B9F0-4E48-B247-7B2A80B4D54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graphicFrame>
        <p:nvGraphicFramePr>
          <p:cNvPr id="37" name="Tijdelijke aanduiding voor SmartArt 67">
            <a:hlinkClick r:id="rId5" action="ppaction://hlinkfile"/>
            <a:extLst>
              <a:ext uri="{FF2B5EF4-FFF2-40B4-BE49-F238E27FC236}">
                <a16:creationId xmlns:a16="http://schemas.microsoft.com/office/drawing/2014/main" id="{7C94B22E-8EC8-4E2D-A16C-6FCF30056BD5}"/>
              </a:ext>
            </a:extLst>
          </p:cNvPr>
          <p:cNvGraphicFramePr>
            <a:graphicFrameLocks/>
          </p:cNvGraphicFramePr>
          <p:nvPr userDrawn="1">
            <p:extLst>
              <p:ext uri="{D42A27DB-BD31-4B8C-83A1-F6EECF244321}">
                <p14:modId xmlns:p14="http://schemas.microsoft.com/office/powerpoint/2010/main" val="867721672"/>
              </p:ext>
            </p:extLst>
          </p:nvPr>
        </p:nvGraphicFramePr>
        <p:xfrm>
          <a:off x="9936848" y="5159881"/>
          <a:ext cx="1780679" cy="58028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7" name="Tijdelijke aanduiding voor media 6">
            <a:extLst>
              <a:ext uri="{FF2B5EF4-FFF2-40B4-BE49-F238E27FC236}">
                <a16:creationId xmlns:a16="http://schemas.microsoft.com/office/drawing/2014/main" id="{6F7C020B-61A3-47C1-899F-55EED853D356}"/>
              </a:ext>
            </a:extLst>
          </p:cNvPr>
          <p:cNvSpPr>
            <a:spLocks noGrp="1"/>
          </p:cNvSpPr>
          <p:nvPr>
            <p:ph type="media" sz="quarter" idx="14"/>
          </p:nvPr>
        </p:nvSpPr>
        <p:spPr>
          <a:xfrm>
            <a:off x="0" y="-1"/>
            <a:ext cx="12193636" cy="6857999"/>
          </a:xfrm>
        </p:spPr>
        <p:txBody>
          <a:bodyPr anchor="ctr" anchorCtr="0"/>
          <a:lstStyle>
            <a:lvl1pPr algn="ctr">
              <a:defRPr sz="1200"/>
            </a:lvl1pPr>
          </a:lstStyle>
          <a:p>
            <a:endParaRPr lang="nl-NL" dirty="0"/>
          </a:p>
        </p:txBody>
      </p:sp>
    </p:spTree>
    <p:extLst>
      <p:ext uri="{BB962C8B-B14F-4D97-AF65-F5344CB8AC3E}">
        <p14:creationId xmlns:p14="http://schemas.microsoft.com/office/powerpoint/2010/main" val="1901251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629">
          <p15:clr>
            <a:srgbClr val="FBAE40"/>
          </p15:clr>
        </p15:guide>
        <p15:guide id="2" orient="horz" pos="51">
          <p15:clr>
            <a:srgbClr val="FBAE40"/>
          </p15:clr>
        </p15:guide>
        <p15:guide id="3" orient="horz" pos="4269">
          <p15:clr>
            <a:srgbClr val="FBAE40"/>
          </p15:clr>
        </p15:guide>
        <p15:guide id="4" pos="5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Video (beeldvullend) + titel diapositief logo">
    <p:spTree>
      <p:nvGrpSpPr>
        <p:cNvPr id="1" name=""/>
        <p:cNvGrpSpPr/>
        <p:nvPr/>
      </p:nvGrpSpPr>
      <p:grpSpPr>
        <a:xfrm>
          <a:off x="0" y="0"/>
          <a:ext cx="0" cy="0"/>
          <a:chOff x="0" y="0"/>
          <a:chExt cx="0" cy="0"/>
        </a:xfrm>
      </p:grpSpPr>
      <p:sp>
        <p:nvSpPr>
          <p:cNvPr id="23" name="Afgeronde rechthoek 7">
            <a:extLst>
              <a:ext uri="{FF2B5EF4-FFF2-40B4-BE49-F238E27FC236}">
                <a16:creationId xmlns:a16="http://schemas.microsoft.com/office/drawing/2014/main" id="{9E686FF5-BE1E-475E-BC37-372393A83A53}"/>
              </a:ext>
            </a:extLst>
          </p:cNvPr>
          <p:cNvSpPr/>
          <p:nvPr userDrawn="1"/>
        </p:nvSpPr>
        <p:spPr>
          <a:xfrm>
            <a:off x="-1539" y="0"/>
            <a:ext cx="12195175" cy="6858000"/>
          </a:xfrm>
          <a:prstGeom prst="roundRect">
            <a:avLst>
              <a:gd name="adj" fmla="val 138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6" name="Tijdelijke aanduiding voor media 6">
            <a:extLst>
              <a:ext uri="{FF2B5EF4-FFF2-40B4-BE49-F238E27FC236}">
                <a16:creationId xmlns:a16="http://schemas.microsoft.com/office/drawing/2014/main" id="{37656E22-F860-4DBF-BAA0-FF8806A26A89}"/>
              </a:ext>
            </a:extLst>
          </p:cNvPr>
          <p:cNvSpPr>
            <a:spLocks noGrp="1"/>
          </p:cNvSpPr>
          <p:nvPr>
            <p:ph type="media" sz="quarter" idx="15"/>
          </p:nvPr>
        </p:nvSpPr>
        <p:spPr>
          <a:xfrm>
            <a:off x="0" y="-1"/>
            <a:ext cx="12193636" cy="6857999"/>
          </a:xfrm>
        </p:spPr>
        <p:txBody>
          <a:bodyPr anchor="ctr" anchorCtr="0"/>
          <a:lstStyle>
            <a:lvl1pPr algn="ctr">
              <a:defRPr sz="1200"/>
            </a:lvl1pPr>
          </a:lstStyle>
          <a:p>
            <a:endParaRPr lang="nl-NL" dirty="0"/>
          </a:p>
        </p:txBody>
      </p:sp>
      <p:sp>
        <p:nvSpPr>
          <p:cNvPr id="2" name="Titel 1"/>
          <p:cNvSpPr>
            <a:spLocks noGrp="1"/>
          </p:cNvSpPr>
          <p:nvPr>
            <p:ph type="title"/>
          </p:nvPr>
        </p:nvSpPr>
        <p:spPr>
          <a:xfrm>
            <a:off x="471600" y="190800"/>
            <a:ext cx="11250000" cy="648000"/>
          </a:xfrm>
        </p:spPr>
        <p:txBody>
          <a:bodyPr anchor="t" anchorCtr="0"/>
          <a:lstStyle>
            <a:lvl1pPr algn="l">
              <a:defRPr>
                <a:solidFill>
                  <a:schemeClr val="bg1"/>
                </a:solidFill>
              </a:defRPr>
            </a:lvl1pPr>
          </a:lstStyle>
          <a:p>
            <a:r>
              <a:rPr lang="nl-NL" dirty="0"/>
              <a:t>Klik om stijl te bewerken</a:t>
            </a:r>
            <a:endParaRPr lang="en-GB" dirty="0"/>
          </a:p>
        </p:txBody>
      </p:sp>
      <p:sp>
        <p:nvSpPr>
          <p:cNvPr id="4" name="Tijdelijke aanduiding voor datum 3"/>
          <p:cNvSpPr>
            <a:spLocks noGrp="1"/>
          </p:cNvSpPr>
          <p:nvPr>
            <p:ph type="dt" sz="half" idx="10"/>
          </p:nvPr>
        </p:nvSpPr>
        <p:spPr/>
        <p:txBody>
          <a:bodyPr/>
          <a:lstStyle>
            <a:lvl1pPr>
              <a:defRPr>
                <a:solidFill>
                  <a:schemeClr val="bg1"/>
                </a:solidFill>
              </a:defRPr>
            </a:lvl1pPr>
          </a:lstStyle>
          <a:p>
            <a:fld id="{34944385-0B6F-40EC-BEC9-D8CE73769F62}" type="datetime4">
              <a:rPr lang="en-GB" smtClean="0"/>
              <a:t>29 May 2020</a:t>
            </a:fld>
            <a:endParaRPr lang="en-GB"/>
          </a:p>
        </p:txBody>
      </p:sp>
      <p:sp>
        <p:nvSpPr>
          <p:cNvPr id="5" name="Tijdelijke aanduiding voor voettekst 4"/>
          <p:cNvSpPr>
            <a:spLocks noGrp="1"/>
          </p:cNvSpPr>
          <p:nvPr>
            <p:ph type="ftr" sz="quarter" idx="11"/>
          </p:nvPr>
        </p:nvSpPr>
        <p:spPr/>
        <p:txBody>
          <a:bodyPr/>
          <a:lstStyle>
            <a:lvl1pPr>
              <a:defRPr>
                <a:solidFill>
                  <a:schemeClr val="bg1"/>
                </a:solidFill>
              </a:defRPr>
            </a:lvl1pPr>
          </a:lstStyle>
          <a:p>
            <a:r>
              <a:rPr lang="en-GB"/>
              <a:t>|</a:t>
            </a:r>
          </a:p>
        </p:txBody>
      </p:sp>
      <p:sp>
        <p:nvSpPr>
          <p:cNvPr id="6" name="Tijdelijke aanduiding voor dianummer 5"/>
          <p:cNvSpPr>
            <a:spLocks noGrp="1"/>
          </p:cNvSpPr>
          <p:nvPr>
            <p:ph type="sldNum" sz="quarter" idx="12"/>
          </p:nvPr>
        </p:nvSpPr>
        <p:spPr/>
        <p:txBody>
          <a:bodyPr/>
          <a:lstStyle>
            <a:lvl1pPr>
              <a:defRPr>
                <a:solidFill>
                  <a:schemeClr val="bg1"/>
                </a:solidFill>
              </a:defRPr>
            </a:lvl1pPr>
          </a:lstStyle>
          <a:p>
            <a:fld id="{534B5F9C-CFE5-4EC6-9BBB-664E2F56B033}" type="slidenum">
              <a:rPr lang="en-GB" smtClean="0"/>
              <a:pPr/>
              <a:t>‹nr.›</a:t>
            </a:fld>
            <a:endParaRPr lang="en-GB" dirty="0"/>
          </a:p>
        </p:txBody>
      </p:sp>
      <p:sp>
        <p:nvSpPr>
          <p:cNvPr id="10" name="Tekstvak 9"/>
          <p:cNvSpPr txBox="1"/>
          <p:nvPr userDrawn="1"/>
        </p:nvSpPr>
        <p:spPr>
          <a:xfrm>
            <a:off x="-1" y="-521614"/>
            <a:ext cx="4138863" cy="469107"/>
          </a:xfrm>
          <a:prstGeom prst="rect">
            <a:avLst/>
          </a:prstGeom>
          <a:noFill/>
        </p:spPr>
        <p:txBody>
          <a:bodyPr wrap="square" rtlCol="0" anchor="b">
            <a:noAutofit/>
          </a:bodyPr>
          <a:lstStyle/>
          <a:p>
            <a:r>
              <a:rPr lang="nl-NL" sz="1333" b="0" dirty="0">
                <a:solidFill>
                  <a:schemeClr val="accent6"/>
                </a:solidFill>
                <a:latin typeface="+mj-lt"/>
              </a:rPr>
              <a:t>Video (beeldvullend) + Titel + Logo diapositief</a:t>
            </a:r>
          </a:p>
        </p:txBody>
      </p:sp>
      <p:grpSp>
        <p:nvGrpSpPr>
          <p:cNvPr id="49" name="Groep 48">
            <a:extLst>
              <a:ext uri="{FF2B5EF4-FFF2-40B4-BE49-F238E27FC236}">
                <a16:creationId xmlns:a16="http://schemas.microsoft.com/office/drawing/2014/main" id="{1CB86391-C3A1-48A9-83A9-CDA9762F1594}"/>
              </a:ext>
            </a:extLst>
          </p:cNvPr>
          <p:cNvGrpSpPr/>
          <p:nvPr userDrawn="1"/>
        </p:nvGrpSpPr>
        <p:grpSpPr>
          <a:xfrm>
            <a:off x="12363871" y="-26002"/>
            <a:ext cx="3064812" cy="4530930"/>
            <a:chOff x="15419739" y="-26002"/>
            <a:chExt cx="3064812" cy="4530930"/>
          </a:xfrm>
        </p:grpSpPr>
        <p:sp>
          <p:nvSpPr>
            <p:cNvPr id="50" name="Tekstvak 33">
              <a:extLst>
                <a:ext uri="{FF2B5EF4-FFF2-40B4-BE49-F238E27FC236}">
                  <a16:creationId xmlns:a16="http://schemas.microsoft.com/office/drawing/2014/main" id="{2ADCA6F7-250E-4B72-B0DE-999BA8D650E9}"/>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51" name="Tekstvak 33">
              <a:extLst>
                <a:ext uri="{FF2B5EF4-FFF2-40B4-BE49-F238E27FC236}">
                  <a16:creationId xmlns:a16="http://schemas.microsoft.com/office/drawing/2014/main" id="{3D453C5E-479D-4F1D-9BFA-30110A165968}"/>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52" name="Ovaal 51">
              <a:extLst>
                <a:ext uri="{FF2B5EF4-FFF2-40B4-BE49-F238E27FC236}">
                  <a16:creationId xmlns:a16="http://schemas.microsoft.com/office/drawing/2014/main" id="{59F34422-D145-4BF6-A5D7-5A45F15882CF}"/>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53" name="Ovaal 52">
              <a:extLst>
                <a:ext uri="{FF2B5EF4-FFF2-40B4-BE49-F238E27FC236}">
                  <a16:creationId xmlns:a16="http://schemas.microsoft.com/office/drawing/2014/main" id="{4ADA4B64-59B4-479B-9F6E-5DE33E2E0DCC}"/>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54" name="Picture 3">
              <a:extLst>
                <a:ext uri="{FF2B5EF4-FFF2-40B4-BE49-F238E27FC236}">
                  <a16:creationId xmlns:a16="http://schemas.microsoft.com/office/drawing/2014/main" id="{10A71998-BA22-4DB3-B07F-8262582350FC}"/>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55" name="Picture 3">
              <a:extLst>
                <a:ext uri="{FF2B5EF4-FFF2-40B4-BE49-F238E27FC236}">
                  <a16:creationId xmlns:a16="http://schemas.microsoft.com/office/drawing/2014/main" id="{1267A3F0-F5E6-42C8-8255-B54664104A90}"/>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56" name="Tekstvak 55">
              <a:extLst>
                <a:ext uri="{FF2B5EF4-FFF2-40B4-BE49-F238E27FC236}">
                  <a16:creationId xmlns:a16="http://schemas.microsoft.com/office/drawing/2014/main" id="{5D1F6466-7E88-4C40-A76B-97C83D60BF13}"/>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57" name="Rechthoek 56">
              <a:extLst>
                <a:ext uri="{FF2B5EF4-FFF2-40B4-BE49-F238E27FC236}">
                  <a16:creationId xmlns:a16="http://schemas.microsoft.com/office/drawing/2014/main" id="{10BCE57B-8314-47AB-A6BE-574598C816CC}"/>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58" name="Groep 57">
              <a:extLst>
                <a:ext uri="{FF2B5EF4-FFF2-40B4-BE49-F238E27FC236}">
                  <a16:creationId xmlns:a16="http://schemas.microsoft.com/office/drawing/2014/main" id="{BB7B2A28-7AEE-40D5-9733-8D3A2C919095}"/>
                </a:ext>
              </a:extLst>
            </p:cNvPr>
            <p:cNvGrpSpPr/>
            <p:nvPr userDrawn="1"/>
          </p:nvGrpSpPr>
          <p:grpSpPr>
            <a:xfrm>
              <a:off x="15563079" y="358984"/>
              <a:ext cx="2489424" cy="4145944"/>
              <a:chOff x="15563079" y="358984"/>
              <a:chExt cx="2315772" cy="4145944"/>
            </a:xfrm>
          </p:grpSpPr>
          <p:cxnSp>
            <p:nvCxnSpPr>
              <p:cNvPr id="60" name="Rechte verbindingslijn 59">
                <a:extLst>
                  <a:ext uri="{FF2B5EF4-FFF2-40B4-BE49-F238E27FC236}">
                    <a16:creationId xmlns:a16="http://schemas.microsoft.com/office/drawing/2014/main" id="{01932068-E8F3-44CA-AA82-2D843012EC09}"/>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86E371A4-53F6-4D69-A675-664419DD843B}"/>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03719C9B-17A2-4360-8F5A-F299E9B3973B}"/>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59" name="Afbeelding 58">
              <a:extLst>
                <a:ext uri="{FF2B5EF4-FFF2-40B4-BE49-F238E27FC236}">
                  <a16:creationId xmlns:a16="http://schemas.microsoft.com/office/drawing/2014/main" id="{10AA9EE2-B9F0-4E48-B247-7B2A80B4D54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
        <p:nvSpPr>
          <p:cNvPr id="25" name="Tijdelijke aanduiding voor SmartArt 16">
            <a:extLst>
              <a:ext uri="{FF2B5EF4-FFF2-40B4-BE49-F238E27FC236}">
                <a16:creationId xmlns:a16="http://schemas.microsoft.com/office/drawing/2014/main" id="{59244192-AD8C-422E-A891-03B75EF8A706}"/>
              </a:ext>
            </a:extLst>
          </p:cNvPr>
          <p:cNvSpPr>
            <a:spLocks noGrp="1"/>
          </p:cNvSpPr>
          <p:nvPr>
            <p:ph type="dgm" sz="quarter" idx="14" hasCustomPrompt="1"/>
          </p:nvPr>
        </p:nvSpPr>
        <p:spPr>
          <a:xfrm>
            <a:off x="9936848" y="6147174"/>
            <a:ext cx="1778902" cy="580580"/>
          </a:xfrm>
          <a:blipFill>
            <a:blip r:embed="rId5"/>
            <a:stretch>
              <a:fillRect/>
            </a:stretch>
          </a:blipFill>
        </p:spPr>
        <p:txBody>
          <a:bodyPr/>
          <a:lstStyle>
            <a:lvl1pPr>
              <a:defRPr sz="1800"/>
            </a:lvl1pPr>
          </a:lstStyle>
          <a:p>
            <a:r>
              <a:rPr lang="nl-NL" dirty="0"/>
              <a:t>Logo </a:t>
            </a:r>
            <a:r>
              <a:rPr lang="nl-NL" dirty="0" err="1"/>
              <a:t>HbR</a:t>
            </a:r>
            <a:endParaRPr lang="nl-NL" dirty="0"/>
          </a:p>
        </p:txBody>
      </p:sp>
    </p:spTree>
    <p:extLst>
      <p:ext uri="{BB962C8B-B14F-4D97-AF65-F5344CB8AC3E}">
        <p14:creationId xmlns:p14="http://schemas.microsoft.com/office/powerpoint/2010/main" val="3921586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ideo (beeldvullend) Titel B">
    <p:bg>
      <p:bgPr>
        <a:solidFill>
          <a:schemeClr val="tx1"/>
        </a:solidFill>
        <a:effectLst/>
      </p:bgPr>
    </p:bg>
    <p:spTree>
      <p:nvGrpSpPr>
        <p:cNvPr id="1" name=""/>
        <p:cNvGrpSpPr/>
        <p:nvPr/>
      </p:nvGrpSpPr>
      <p:grpSpPr>
        <a:xfrm>
          <a:off x="0" y="0"/>
          <a:ext cx="0" cy="0"/>
          <a:chOff x="0" y="0"/>
          <a:chExt cx="0" cy="0"/>
        </a:xfrm>
      </p:grpSpPr>
      <p:sp>
        <p:nvSpPr>
          <p:cNvPr id="23" name="Afgeronde rechthoek 7">
            <a:extLst>
              <a:ext uri="{FF2B5EF4-FFF2-40B4-BE49-F238E27FC236}">
                <a16:creationId xmlns:a16="http://schemas.microsoft.com/office/drawing/2014/main" id="{9E686FF5-BE1E-475E-BC37-372393A83A53}"/>
              </a:ext>
            </a:extLst>
          </p:cNvPr>
          <p:cNvSpPr/>
          <p:nvPr userDrawn="1"/>
        </p:nvSpPr>
        <p:spPr>
          <a:xfrm>
            <a:off x="-1538" y="0"/>
            <a:ext cx="12196713" cy="6858000"/>
          </a:xfrm>
          <a:prstGeom prst="roundRect">
            <a:avLst>
              <a:gd name="adj" fmla="val 138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10" name="Tekstvak 9"/>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Video (beeldvullend) + Titel </a:t>
            </a:r>
          </a:p>
        </p:txBody>
      </p:sp>
      <p:grpSp>
        <p:nvGrpSpPr>
          <p:cNvPr id="49" name="Groep 48">
            <a:extLst>
              <a:ext uri="{FF2B5EF4-FFF2-40B4-BE49-F238E27FC236}">
                <a16:creationId xmlns:a16="http://schemas.microsoft.com/office/drawing/2014/main" id="{1CB86391-C3A1-48A9-83A9-CDA9762F1594}"/>
              </a:ext>
            </a:extLst>
          </p:cNvPr>
          <p:cNvGrpSpPr/>
          <p:nvPr userDrawn="1"/>
        </p:nvGrpSpPr>
        <p:grpSpPr>
          <a:xfrm>
            <a:off x="12363871" y="-26002"/>
            <a:ext cx="3064812" cy="4530930"/>
            <a:chOff x="15419739" y="-26002"/>
            <a:chExt cx="3064812" cy="4530930"/>
          </a:xfrm>
        </p:grpSpPr>
        <p:sp>
          <p:nvSpPr>
            <p:cNvPr id="50" name="Tekstvak 33">
              <a:extLst>
                <a:ext uri="{FF2B5EF4-FFF2-40B4-BE49-F238E27FC236}">
                  <a16:creationId xmlns:a16="http://schemas.microsoft.com/office/drawing/2014/main" id="{2ADCA6F7-250E-4B72-B0DE-999BA8D650E9}"/>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51" name="Tekstvak 33">
              <a:extLst>
                <a:ext uri="{FF2B5EF4-FFF2-40B4-BE49-F238E27FC236}">
                  <a16:creationId xmlns:a16="http://schemas.microsoft.com/office/drawing/2014/main" id="{3D453C5E-479D-4F1D-9BFA-30110A165968}"/>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52" name="Ovaal 51">
              <a:extLst>
                <a:ext uri="{FF2B5EF4-FFF2-40B4-BE49-F238E27FC236}">
                  <a16:creationId xmlns:a16="http://schemas.microsoft.com/office/drawing/2014/main" id="{59F34422-D145-4BF6-A5D7-5A45F15882CF}"/>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53" name="Ovaal 52">
              <a:extLst>
                <a:ext uri="{FF2B5EF4-FFF2-40B4-BE49-F238E27FC236}">
                  <a16:creationId xmlns:a16="http://schemas.microsoft.com/office/drawing/2014/main" id="{4ADA4B64-59B4-479B-9F6E-5DE33E2E0DCC}"/>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54" name="Picture 3">
              <a:extLst>
                <a:ext uri="{FF2B5EF4-FFF2-40B4-BE49-F238E27FC236}">
                  <a16:creationId xmlns:a16="http://schemas.microsoft.com/office/drawing/2014/main" id="{10A71998-BA22-4DB3-B07F-8262582350FC}"/>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55" name="Picture 3">
              <a:extLst>
                <a:ext uri="{FF2B5EF4-FFF2-40B4-BE49-F238E27FC236}">
                  <a16:creationId xmlns:a16="http://schemas.microsoft.com/office/drawing/2014/main" id="{1267A3F0-F5E6-42C8-8255-B54664104A90}"/>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56" name="Tekstvak 55">
              <a:extLst>
                <a:ext uri="{FF2B5EF4-FFF2-40B4-BE49-F238E27FC236}">
                  <a16:creationId xmlns:a16="http://schemas.microsoft.com/office/drawing/2014/main" id="{5D1F6466-7E88-4C40-A76B-97C83D60BF13}"/>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57" name="Rechthoek 56">
              <a:extLst>
                <a:ext uri="{FF2B5EF4-FFF2-40B4-BE49-F238E27FC236}">
                  <a16:creationId xmlns:a16="http://schemas.microsoft.com/office/drawing/2014/main" id="{10BCE57B-8314-47AB-A6BE-574598C816CC}"/>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58" name="Groep 57">
              <a:extLst>
                <a:ext uri="{FF2B5EF4-FFF2-40B4-BE49-F238E27FC236}">
                  <a16:creationId xmlns:a16="http://schemas.microsoft.com/office/drawing/2014/main" id="{BB7B2A28-7AEE-40D5-9733-8D3A2C919095}"/>
                </a:ext>
              </a:extLst>
            </p:cNvPr>
            <p:cNvGrpSpPr/>
            <p:nvPr userDrawn="1"/>
          </p:nvGrpSpPr>
          <p:grpSpPr>
            <a:xfrm>
              <a:off x="15563079" y="358984"/>
              <a:ext cx="2489424" cy="4145944"/>
              <a:chOff x="15563079" y="358984"/>
              <a:chExt cx="2315772" cy="4145944"/>
            </a:xfrm>
          </p:grpSpPr>
          <p:cxnSp>
            <p:nvCxnSpPr>
              <p:cNvPr id="60" name="Rechte verbindingslijn 59">
                <a:extLst>
                  <a:ext uri="{FF2B5EF4-FFF2-40B4-BE49-F238E27FC236}">
                    <a16:creationId xmlns:a16="http://schemas.microsoft.com/office/drawing/2014/main" id="{01932068-E8F3-44CA-AA82-2D843012EC09}"/>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86E371A4-53F6-4D69-A675-664419DD843B}"/>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03719C9B-17A2-4360-8F5A-F299E9B3973B}"/>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59" name="Afbeelding 58">
              <a:extLst>
                <a:ext uri="{FF2B5EF4-FFF2-40B4-BE49-F238E27FC236}">
                  <a16:creationId xmlns:a16="http://schemas.microsoft.com/office/drawing/2014/main" id="{10AA9EE2-B9F0-4E48-B247-7B2A80B4D54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graphicFrame>
        <p:nvGraphicFramePr>
          <p:cNvPr id="37" name="Tijdelijke aanduiding voor SmartArt 67">
            <a:hlinkClick r:id="rId5" action="ppaction://hlinkfile"/>
            <a:extLst>
              <a:ext uri="{FF2B5EF4-FFF2-40B4-BE49-F238E27FC236}">
                <a16:creationId xmlns:a16="http://schemas.microsoft.com/office/drawing/2014/main" id="{7C94B22E-8EC8-4E2D-A16C-6FCF30056BD5}"/>
              </a:ext>
            </a:extLst>
          </p:cNvPr>
          <p:cNvGraphicFramePr>
            <a:graphicFrameLocks/>
          </p:cNvGraphicFramePr>
          <p:nvPr userDrawn="1">
            <p:extLst>
              <p:ext uri="{D42A27DB-BD31-4B8C-83A1-F6EECF244321}">
                <p14:modId xmlns:p14="http://schemas.microsoft.com/office/powerpoint/2010/main" val="267963023"/>
              </p:ext>
            </p:extLst>
          </p:nvPr>
        </p:nvGraphicFramePr>
        <p:xfrm>
          <a:off x="9936848" y="5159881"/>
          <a:ext cx="1780679" cy="58028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7" name="Tijdelijke aanduiding voor media 6">
            <a:extLst>
              <a:ext uri="{FF2B5EF4-FFF2-40B4-BE49-F238E27FC236}">
                <a16:creationId xmlns:a16="http://schemas.microsoft.com/office/drawing/2014/main" id="{6F7C020B-61A3-47C1-899F-55EED853D356}"/>
              </a:ext>
            </a:extLst>
          </p:cNvPr>
          <p:cNvSpPr>
            <a:spLocks noGrp="1"/>
          </p:cNvSpPr>
          <p:nvPr>
            <p:ph type="media" sz="quarter" idx="14"/>
          </p:nvPr>
        </p:nvSpPr>
        <p:spPr>
          <a:xfrm>
            <a:off x="0" y="-1"/>
            <a:ext cx="12193636" cy="6857999"/>
          </a:xfrm>
        </p:spPr>
        <p:txBody>
          <a:bodyPr anchor="ctr" anchorCtr="0"/>
          <a:lstStyle>
            <a:lvl1pPr algn="ctr">
              <a:defRPr sz="1200"/>
            </a:lvl1pPr>
          </a:lstStyle>
          <a:p>
            <a:endParaRPr lang="nl-NL" dirty="0"/>
          </a:p>
        </p:txBody>
      </p:sp>
      <p:sp>
        <p:nvSpPr>
          <p:cNvPr id="27" name="Tijdelijke aanduiding voor titel 1">
            <a:extLst>
              <a:ext uri="{FF2B5EF4-FFF2-40B4-BE49-F238E27FC236}">
                <a16:creationId xmlns:a16="http://schemas.microsoft.com/office/drawing/2014/main" id="{726137D3-ACD1-414C-8DE5-805FC3FD2A73}"/>
              </a:ext>
            </a:extLst>
          </p:cNvPr>
          <p:cNvSpPr>
            <a:spLocks noGrp="1"/>
          </p:cNvSpPr>
          <p:nvPr>
            <p:ph type="title"/>
          </p:nvPr>
        </p:nvSpPr>
        <p:spPr>
          <a:xfrm>
            <a:off x="472587" y="192001"/>
            <a:ext cx="11250000" cy="648000"/>
          </a:xfrm>
          <a:prstGeom prst="rect">
            <a:avLst/>
          </a:prstGeom>
        </p:spPr>
        <p:txBody>
          <a:bodyPr vert="horz" lIns="72000" tIns="144000" rIns="72000" bIns="144000" rtlCol="0" anchor="t">
            <a:noAutofit/>
          </a:bodyPr>
          <a:lstStyle>
            <a:lvl1pPr>
              <a:defRPr/>
            </a:lvl1pPr>
          </a:lstStyle>
          <a:p>
            <a:endParaRPr lang="en-GB" dirty="0"/>
          </a:p>
        </p:txBody>
      </p:sp>
    </p:spTree>
    <p:extLst>
      <p:ext uri="{BB962C8B-B14F-4D97-AF65-F5344CB8AC3E}">
        <p14:creationId xmlns:p14="http://schemas.microsoft.com/office/powerpoint/2010/main" val="336938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27"/>
                                        </p:tgtEl>
                                        <p:attrNameLst>
                                          <p:attrName>style.visibility</p:attrName>
                                        </p:attrNameLst>
                                      </p:cBhvr>
                                      <p:to>
                                        <p:strVal val="visible"/>
                                      </p:to>
                                    </p:set>
                                    <p:animEffect transition="in" filter="fade">
                                      <p:cBhvr>
                                        <p:cTn id="7" dur="3000"/>
                                        <p:tgtEl>
                                          <p:spTgt spid="27"/>
                                        </p:tgtEl>
                                      </p:cBhvr>
                                    </p:animEffect>
                                  </p:childTnLst>
                                  <p:subTnLst>
                                    <p:set>
                                      <p:cBhvr override="childStyle">
                                        <p:cTn dur="1" fill="hold" display="0" masterRel="sameClick" afterEffect="1">
                                          <p:stCondLst>
                                            <p:cond evt="end" delay="0">
                                              <p:tn val="5"/>
                                            </p:cond>
                                          </p:stCondLst>
                                        </p:cTn>
                                        <p:tgtEl>
                                          <p:spTgt spid="27"/>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extLst>
    <p:ext uri="{DCECCB84-F9BA-43D5-87BE-67443E8EF086}">
      <p15:sldGuideLst xmlns:p15="http://schemas.microsoft.com/office/powerpoint/2012/main">
        <p15:guide id="1" pos="7629">
          <p15:clr>
            <a:srgbClr val="FBAE40"/>
          </p15:clr>
        </p15:guide>
        <p15:guide id="2" orient="horz" pos="51">
          <p15:clr>
            <a:srgbClr val="FBAE40"/>
          </p15:clr>
        </p15:guide>
        <p15:guide id="3" orient="horz" pos="4269">
          <p15:clr>
            <a:srgbClr val="FBAE40"/>
          </p15:clr>
        </p15:guide>
        <p15:guide id="4" pos="5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beeldvullend) Titel M">
    <p:bg>
      <p:bgPr>
        <a:solidFill>
          <a:schemeClr val="tx1"/>
        </a:solidFill>
        <a:effectLst/>
      </p:bgPr>
    </p:bg>
    <p:spTree>
      <p:nvGrpSpPr>
        <p:cNvPr id="1" name=""/>
        <p:cNvGrpSpPr/>
        <p:nvPr/>
      </p:nvGrpSpPr>
      <p:grpSpPr>
        <a:xfrm>
          <a:off x="0" y="0"/>
          <a:ext cx="0" cy="0"/>
          <a:chOff x="0" y="0"/>
          <a:chExt cx="0" cy="0"/>
        </a:xfrm>
      </p:grpSpPr>
      <p:sp>
        <p:nvSpPr>
          <p:cNvPr id="23" name="Afgeronde rechthoek 7">
            <a:extLst>
              <a:ext uri="{FF2B5EF4-FFF2-40B4-BE49-F238E27FC236}">
                <a16:creationId xmlns:a16="http://schemas.microsoft.com/office/drawing/2014/main" id="{9E686FF5-BE1E-475E-BC37-372393A83A53}"/>
              </a:ext>
            </a:extLst>
          </p:cNvPr>
          <p:cNvSpPr/>
          <p:nvPr userDrawn="1"/>
        </p:nvSpPr>
        <p:spPr>
          <a:xfrm>
            <a:off x="-1538" y="0"/>
            <a:ext cx="12196713" cy="6858000"/>
          </a:xfrm>
          <a:prstGeom prst="roundRect">
            <a:avLst>
              <a:gd name="adj" fmla="val 1389"/>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10" name="Tekstvak 9"/>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Video (beeldvullend) + Titel Midden</a:t>
            </a:r>
          </a:p>
        </p:txBody>
      </p:sp>
      <p:grpSp>
        <p:nvGrpSpPr>
          <p:cNvPr id="49" name="Groep 48">
            <a:extLst>
              <a:ext uri="{FF2B5EF4-FFF2-40B4-BE49-F238E27FC236}">
                <a16:creationId xmlns:a16="http://schemas.microsoft.com/office/drawing/2014/main" id="{1CB86391-C3A1-48A9-83A9-CDA9762F1594}"/>
              </a:ext>
            </a:extLst>
          </p:cNvPr>
          <p:cNvGrpSpPr/>
          <p:nvPr userDrawn="1"/>
        </p:nvGrpSpPr>
        <p:grpSpPr>
          <a:xfrm>
            <a:off x="12363871" y="-26002"/>
            <a:ext cx="3064812" cy="4530930"/>
            <a:chOff x="15419739" y="-26002"/>
            <a:chExt cx="3064812" cy="4530930"/>
          </a:xfrm>
        </p:grpSpPr>
        <p:sp>
          <p:nvSpPr>
            <p:cNvPr id="50" name="Tekstvak 33">
              <a:extLst>
                <a:ext uri="{FF2B5EF4-FFF2-40B4-BE49-F238E27FC236}">
                  <a16:creationId xmlns:a16="http://schemas.microsoft.com/office/drawing/2014/main" id="{2ADCA6F7-250E-4B72-B0DE-999BA8D650E9}"/>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51" name="Tekstvak 33">
              <a:extLst>
                <a:ext uri="{FF2B5EF4-FFF2-40B4-BE49-F238E27FC236}">
                  <a16:creationId xmlns:a16="http://schemas.microsoft.com/office/drawing/2014/main" id="{3D453C5E-479D-4F1D-9BFA-30110A165968}"/>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52" name="Ovaal 51">
              <a:extLst>
                <a:ext uri="{FF2B5EF4-FFF2-40B4-BE49-F238E27FC236}">
                  <a16:creationId xmlns:a16="http://schemas.microsoft.com/office/drawing/2014/main" id="{59F34422-D145-4BF6-A5D7-5A45F15882CF}"/>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53" name="Ovaal 52">
              <a:extLst>
                <a:ext uri="{FF2B5EF4-FFF2-40B4-BE49-F238E27FC236}">
                  <a16:creationId xmlns:a16="http://schemas.microsoft.com/office/drawing/2014/main" id="{4ADA4B64-59B4-479B-9F6E-5DE33E2E0DCC}"/>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54" name="Picture 3">
              <a:extLst>
                <a:ext uri="{FF2B5EF4-FFF2-40B4-BE49-F238E27FC236}">
                  <a16:creationId xmlns:a16="http://schemas.microsoft.com/office/drawing/2014/main" id="{10A71998-BA22-4DB3-B07F-8262582350FC}"/>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55" name="Picture 3">
              <a:extLst>
                <a:ext uri="{FF2B5EF4-FFF2-40B4-BE49-F238E27FC236}">
                  <a16:creationId xmlns:a16="http://schemas.microsoft.com/office/drawing/2014/main" id="{1267A3F0-F5E6-42C8-8255-B54664104A90}"/>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56" name="Tekstvak 55">
              <a:extLst>
                <a:ext uri="{FF2B5EF4-FFF2-40B4-BE49-F238E27FC236}">
                  <a16:creationId xmlns:a16="http://schemas.microsoft.com/office/drawing/2014/main" id="{5D1F6466-7E88-4C40-A76B-97C83D60BF13}"/>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57" name="Rechthoek 56">
              <a:extLst>
                <a:ext uri="{FF2B5EF4-FFF2-40B4-BE49-F238E27FC236}">
                  <a16:creationId xmlns:a16="http://schemas.microsoft.com/office/drawing/2014/main" id="{10BCE57B-8314-47AB-A6BE-574598C816CC}"/>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58" name="Groep 57">
              <a:extLst>
                <a:ext uri="{FF2B5EF4-FFF2-40B4-BE49-F238E27FC236}">
                  <a16:creationId xmlns:a16="http://schemas.microsoft.com/office/drawing/2014/main" id="{BB7B2A28-7AEE-40D5-9733-8D3A2C919095}"/>
                </a:ext>
              </a:extLst>
            </p:cNvPr>
            <p:cNvGrpSpPr/>
            <p:nvPr userDrawn="1"/>
          </p:nvGrpSpPr>
          <p:grpSpPr>
            <a:xfrm>
              <a:off x="15563079" y="358984"/>
              <a:ext cx="2489424" cy="4145944"/>
              <a:chOff x="15563079" y="358984"/>
              <a:chExt cx="2315772" cy="4145944"/>
            </a:xfrm>
          </p:grpSpPr>
          <p:cxnSp>
            <p:nvCxnSpPr>
              <p:cNvPr id="60" name="Rechte verbindingslijn 59">
                <a:extLst>
                  <a:ext uri="{FF2B5EF4-FFF2-40B4-BE49-F238E27FC236}">
                    <a16:creationId xmlns:a16="http://schemas.microsoft.com/office/drawing/2014/main" id="{01932068-E8F3-44CA-AA82-2D843012EC09}"/>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86E371A4-53F6-4D69-A675-664419DD843B}"/>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03719C9B-17A2-4360-8F5A-F299E9B3973B}"/>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59" name="Afbeelding 58">
              <a:extLst>
                <a:ext uri="{FF2B5EF4-FFF2-40B4-BE49-F238E27FC236}">
                  <a16:creationId xmlns:a16="http://schemas.microsoft.com/office/drawing/2014/main" id="{10AA9EE2-B9F0-4E48-B247-7B2A80B4D54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graphicFrame>
        <p:nvGraphicFramePr>
          <p:cNvPr id="37" name="Tijdelijke aanduiding voor SmartArt 67">
            <a:hlinkClick r:id="rId5" action="ppaction://hlinkfile"/>
            <a:extLst>
              <a:ext uri="{FF2B5EF4-FFF2-40B4-BE49-F238E27FC236}">
                <a16:creationId xmlns:a16="http://schemas.microsoft.com/office/drawing/2014/main" id="{7C94B22E-8EC8-4E2D-A16C-6FCF30056BD5}"/>
              </a:ext>
            </a:extLst>
          </p:cNvPr>
          <p:cNvGraphicFramePr>
            <a:graphicFrameLocks/>
          </p:cNvGraphicFramePr>
          <p:nvPr userDrawn="1">
            <p:extLst>
              <p:ext uri="{D42A27DB-BD31-4B8C-83A1-F6EECF244321}">
                <p14:modId xmlns:p14="http://schemas.microsoft.com/office/powerpoint/2010/main" val="4121244025"/>
              </p:ext>
            </p:extLst>
          </p:nvPr>
        </p:nvGraphicFramePr>
        <p:xfrm>
          <a:off x="9936848" y="5159881"/>
          <a:ext cx="1780679" cy="58028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7" name="Tijdelijke aanduiding voor media 6">
            <a:extLst>
              <a:ext uri="{FF2B5EF4-FFF2-40B4-BE49-F238E27FC236}">
                <a16:creationId xmlns:a16="http://schemas.microsoft.com/office/drawing/2014/main" id="{6F7C020B-61A3-47C1-899F-55EED853D356}"/>
              </a:ext>
            </a:extLst>
          </p:cNvPr>
          <p:cNvSpPr>
            <a:spLocks noGrp="1"/>
          </p:cNvSpPr>
          <p:nvPr>
            <p:ph type="media" sz="quarter" idx="14"/>
          </p:nvPr>
        </p:nvSpPr>
        <p:spPr>
          <a:xfrm>
            <a:off x="0" y="-1"/>
            <a:ext cx="12193636" cy="6857999"/>
          </a:xfrm>
        </p:spPr>
        <p:txBody>
          <a:bodyPr anchor="ctr" anchorCtr="0"/>
          <a:lstStyle>
            <a:lvl1pPr algn="ctr">
              <a:defRPr sz="1200"/>
            </a:lvl1pPr>
          </a:lstStyle>
          <a:p>
            <a:endParaRPr lang="nl-NL" dirty="0"/>
          </a:p>
        </p:txBody>
      </p:sp>
      <p:sp>
        <p:nvSpPr>
          <p:cNvPr id="27" name="Tijdelijke aanduiding voor titel 1">
            <a:extLst>
              <a:ext uri="{FF2B5EF4-FFF2-40B4-BE49-F238E27FC236}">
                <a16:creationId xmlns:a16="http://schemas.microsoft.com/office/drawing/2014/main" id="{726137D3-ACD1-414C-8DE5-805FC3FD2A73}"/>
              </a:ext>
            </a:extLst>
          </p:cNvPr>
          <p:cNvSpPr>
            <a:spLocks noGrp="1"/>
          </p:cNvSpPr>
          <p:nvPr>
            <p:ph type="title"/>
          </p:nvPr>
        </p:nvSpPr>
        <p:spPr>
          <a:xfrm>
            <a:off x="472587" y="3104998"/>
            <a:ext cx="11250000" cy="648000"/>
          </a:xfrm>
          <a:prstGeom prst="rect">
            <a:avLst/>
          </a:prstGeom>
        </p:spPr>
        <p:txBody>
          <a:bodyPr vert="horz" lIns="72000" tIns="144000" rIns="72000" bIns="144000" rtlCol="0" anchor="t">
            <a:noAutofit/>
          </a:bodyPr>
          <a:lstStyle>
            <a:lvl1pPr algn="ctr">
              <a:defRPr sz="3600"/>
            </a:lvl1pPr>
          </a:lstStyle>
          <a:p>
            <a:endParaRPr lang="en-GB" dirty="0"/>
          </a:p>
        </p:txBody>
      </p:sp>
    </p:spTree>
    <p:extLst>
      <p:ext uri="{BB962C8B-B14F-4D97-AF65-F5344CB8AC3E}">
        <p14:creationId xmlns:p14="http://schemas.microsoft.com/office/powerpoint/2010/main" val="3016449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xit" presetSubtype="32" fill="hold" grpId="0" nodeType="withEffect" nodePh="1">
                                  <p:stCondLst>
                                    <p:cond delay="2000"/>
                                  </p:stCondLst>
                                  <p:endCondLst>
                                    <p:cond evt="begin" delay="0">
                                      <p:tn val="5"/>
                                    </p:cond>
                                  </p:endCondLst>
                                  <p:childTnLst>
                                    <p:anim calcmode="lin" valueType="num">
                                      <p:cBhvr>
                                        <p:cTn id="6" dur="500"/>
                                        <p:tgtEl>
                                          <p:spTgt spid="27"/>
                                        </p:tgtEl>
                                        <p:attrNameLst>
                                          <p:attrName>ppt_w</p:attrName>
                                        </p:attrNameLst>
                                      </p:cBhvr>
                                      <p:tavLst>
                                        <p:tav tm="0">
                                          <p:val>
                                            <p:strVal val="ppt_w"/>
                                          </p:val>
                                        </p:tav>
                                        <p:tav tm="100000">
                                          <p:val>
                                            <p:fltVal val="0"/>
                                          </p:val>
                                        </p:tav>
                                      </p:tavLst>
                                    </p:anim>
                                    <p:anim calcmode="lin" valueType="num">
                                      <p:cBhvr>
                                        <p:cTn id="7" dur="500"/>
                                        <p:tgtEl>
                                          <p:spTgt spid="27"/>
                                        </p:tgtEl>
                                        <p:attrNameLst>
                                          <p:attrName>ppt_h</p:attrName>
                                        </p:attrNameLst>
                                      </p:cBhvr>
                                      <p:tavLst>
                                        <p:tav tm="0">
                                          <p:val>
                                            <p:strVal val="ppt_h"/>
                                          </p:val>
                                        </p:tav>
                                        <p:tav tm="100000">
                                          <p:val>
                                            <p:fltVal val="0"/>
                                          </p:val>
                                        </p:tav>
                                      </p:tavLst>
                                    </p:anim>
                                    <p:animEffect transition="out" filter="fade">
                                      <p:cBhvr>
                                        <p:cTn id="8" dur="500"/>
                                        <p:tgtEl>
                                          <p:spTgt spid="27"/>
                                        </p:tgtEl>
                                      </p:cBhvr>
                                    </p:animEffect>
                                    <p:set>
                                      <p:cBhvr>
                                        <p:cTn id="9" dur="1" fill="hold">
                                          <p:stCondLst>
                                            <p:cond delay="499"/>
                                          </p:stCondLst>
                                        </p:cTn>
                                        <p:tgtEl>
                                          <p:spTgt spid="27"/>
                                        </p:tgtEl>
                                        <p:attrNameLst>
                                          <p:attrName>style.visibility</p:attrName>
                                        </p:attrNameLst>
                                      </p:cBhvr>
                                      <p:to>
                                        <p:strVal val="hidden"/>
                                      </p:to>
                                    </p:set>
                                  </p:childTnLst>
                                  <p:subTnLst>
                                    <p:set>
                                      <p:cBhvr override="childStyle">
                                        <p:cTn dur="1" fill="hold" display="0" masterRel="sameClick" afterEffect="1">
                                          <p:stCondLst>
                                            <p:cond evt="end" delay="0">
                                              <p:tn val="5"/>
                                            </p:cond>
                                          </p:stCondLst>
                                        </p:cTn>
                                        <p:tgtEl>
                                          <p:spTgt spid="27"/>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extLst>
    <p:ext uri="{DCECCB84-F9BA-43D5-87BE-67443E8EF086}">
      <p15:sldGuideLst xmlns:p15="http://schemas.microsoft.com/office/powerpoint/2012/main">
        <p15:guide id="1" pos="7629">
          <p15:clr>
            <a:srgbClr val="FBAE40"/>
          </p15:clr>
        </p15:guide>
        <p15:guide id="2" orient="horz" pos="51">
          <p15:clr>
            <a:srgbClr val="FBAE40"/>
          </p15:clr>
        </p15:guide>
        <p15:guide id="3" orient="horz" pos="4269">
          <p15:clr>
            <a:srgbClr val="FBAE40"/>
          </p15:clr>
        </p15:guide>
        <p15:guide id="4" pos="53">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kst slide (wit) 1 gele kaderlijn">
    <p:spTree>
      <p:nvGrpSpPr>
        <p:cNvPr id="1" name=""/>
        <p:cNvGrpSpPr/>
        <p:nvPr/>
      </p:nvGrpSpPr>
      <p:grpSpPr>
        <a:xfrm>
          <a:off x="0" y="0"/>
          <a:ext cx="0" cy="0"/>
          <a:chOff x="0" y="0"/>
          <a:chExt cx="0" cy="0"/>
        </a:xfrm>
      </p:grpSpPr>
      <p:sp>
        <p:nvSpPr>
          <p:cNvPr id="147" name="Rechthoek 146">
            <a:extLst>
              <a:ext uri="{FF2B5EF4-FFF2-40B4-BE49-F238E27FC236}">
                <a16:creationId xmlns:a16="http://schemas.microsoft.com/office/drawing/2014/main" id="{568A9149-25D5-4F32-A9B0-31AF1E964462}"/>
              </a:ext>
            </a:extLst>
          </p:cNvPr>
          <p:cNvSpPr/>
          <p:nvPr userDrawn="1"/>
        </p:nvSpPr>
        <p:spPr>
          <a:xfrm>
            <a:off x="0" y="1422382"/>
            <a:ext cx="12195175" cy="45569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tel 1"/>
          <p:cNvSpPr>
            <a:spLocks noGrp="1"/>
          </p:cNvSpPr>
          <p:nvPr>
            <p:ph type="title"/>
          </p:nvPr>
        </p:nvSpPr>
        <p:spPr/>
        <p:txBody>
          <a:bodyPr/>
          <a:lstStyle>
            <a:lvl1pPr>
              <a:defRPr/>
            </a:lvl1pPr>
          </a:lstStyle>
          <a:p>
            <a:r>
              <a:rPr lang="nl-NL" dirty="0"/>
              <a:t>Klik om stijl te bewerken</a:t>
            </a:r>
            <a:endParaRPr lang="en-GB" dirty="0"/>
          </a:p>
        </p:txBody>
      </p:sp>
      <p:sp>
        <p:nvSpPr>
          <p:cNvPr id="3" name="Tijdelijke aanduiding voor verticale tekst 2"/>
          <p:cNvSpPr>
            <a:spLocks noGrp="1"/>
          </p:cNvSpPr>
          <p:nvPr>
            <p:ph type="body" orient="vert" idx="1"/>
          </p:nvPr>
        </p:nvSpPr>
        <p:spPr>
          <a:xfrm>
            <a:off x="472587" y="1420099"/>
            <a:ext cx="11250000" cy="4553403"/>
          </a:xfrm>
        </p:spPr>
        <p:txBody>
          <a:bodyPr vert="horz"/>
          <a:lstStyle>
            <a:lvl1pPr>
              <a:defRPr i="0"/>
            </a:lvl1pPr>
            <a:lvl2pPr>
              <a:defRPr b="0"/>
            </a:lvl2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10"/>
          </p:nvPr>
        </p:nvSpPr>
        <p:spPr/>
        <p:txBody>
          <a:bodyPr/>
          <a:lstStyle/>
          <a:p>
            <a:fld id="{EAA650C2-3E65-47B1-802B-AA95394EDF12}" type="datetime4">
              <a:rPr lang="en-GB" smtClean="0"/>
              <a:t>29 May 2020</a:t>
            </a:fld>
            <a:endParaRPr lang="en-GB" dirty="0"/>
          </a:p>
        </p:txBody>
      </p:sp>
      <p:sp>
        <p:nvSpPr>
          <p:cNvPr id="5" name="Tijdelijke aanduiding voor voettekst 4"/>
          <p:cNvSpPr>
            <a:spLocks noGrp="1"/>
          </p:cNvSpPr>
          <p:nvPr>
            <p:ph type="ftr" sz="quarter" idx="11"/>
          </p:nvPr>
        </p:nvSpPr>
        <p:spPr/>
        <p:txBody>
          <a:bodyPr/>
          <a:lstStyle/>
          <a:p>
            <a:r>
              <a:rPr lang="en-GB" dirty="0"/>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dirty="0"/>
          </a:p>
        </p:txBody>
      </p:sp>
      <p:sp>
        <p:nvSpPr>
          <p:cNvPr id="8" name="Tekstvak 7"/>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 Alleen tekst</a:t>
            </a:r>
          </a:p>
        </p:txBody>
      </p:sp>
      <p:grpSp>
        <p:nvGrpSpPr>
          <p:cNvPr id="78" name="Groep 77"/>
          <p:cNvGrpSpPr/>
          <p:nvPr userDrawn="1"/>
        </p:nvGrpSpPr>
        <p:grpSpPr>
          <a:xfrm>
            <a:off x="-2973833" y="0"/>
            <a:ext cx="2808312" cy="5805264"/>
            <a:chOff x="-2973833" y="0"/>
            <a:chExt cx="2808312" cy="5805264"/>
          </a:xfrm>
        </p:grpSpPr>
        <p:sp>
          <p:nvSpPr>
            <p:cNvPr id="79" name="Rechthoek 78"/>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80" name="Textfield placeholde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81" name="Ovaal 80"/>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82" name="Ovaal 81"/>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83" name="Ovaal 82"/>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84" name="Ovaal 83"/>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85" name="Textfield placeholde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86" name="Textfield placeholde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87" name="Textfield placeholde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88" name="Rechte verbindingslijn 87"/>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9" name="Rechte verbindingslijn 88"/>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0" name="Rechte verbindingslijn 89"/>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91"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 name="Picture 4"/>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3" name="Groep 92"/>
            <p:cNvGrpSpPr/>
            <p:nvPr userDrawn="1"/>
          </p:nvGrpSpPr>
          <p:grpSpPr>
            <a:xfrm>
              <a:off x="-2098870" y="523279"/>
              <a:ext cx="435437" cy="427699"/>
              <a:chOff x="-1085063" y="758027"/>
              <a:chExt cx="633800" cy="622540"/>
            </a:xfrm>
          </p:grpSpPr>
          <p:sp>
            <p:nvSpPr>
              <p:cNvPr id="134" name="Afgeronde rechthoek 133"/>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135" name="Groep 134"/>
              <p:cNvGrpSpPr/>
              <p:nvPr userDrawn="1"/>
            </p:nvGrpSpPr>
            <p:grpSpPr>
              <a:xfrm>
                <a:off x="-977746" y="864082"/>
                <a:ext cx="419166" cy="410430"/>
                <a:chOff x="6366933" y="309013"/>
                <a:chExt cx="1901295" cy="1861668"/>
              </a:xfrm>
              <a:solidFill>
                <a:schemeClr val="tx1"/>
              </a:solidFill>
            </p:grpSpPr>
            <p:sp>
              <p:nvSpPr>
                <p:cNvPr id="136" name="Rechthoek 135"/>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37" name="Rechthoek 136"/>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38" name="Rechthoek 137"/>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39" name="Rechthoek 138"/>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0" name="Rechthoek 139"/>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1" name="Rechthoek 140"/>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2" name="Rechthoek 141"/>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3" name="Rechthoek 142"/>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4" name="Rechthoek 143"/>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5" name="Rechthoek 144"/>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6" name="Vrije vorm 145"/>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94" name="Groep 93"/>
            <p:cNvGrpSpPr/>
            <p:nvPr userDrawn="1"/>
          </p:nvGrpSpPr>
          <p:grpSpPr>
            <a:xfrm>
              <a:off x="-2095303" y="1071657"/>
              <a:ext cx="435437" cy="427699"/>
              <a:chOff x="-1845083" y="758027"/>
              <a:chExt cx="633800" cy="622540"/>
            </a:xfrm>
          </p:grpSpPr>
          <p:sp>
            <p:nvSpPr>
              <p:cNvPr id="121" name="Afgeronde rechthoek 120"/>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122" name="Groep 121"/>
              <p:cNvGrpSpPr/>
              <p:nvPr userDrawn="1"/>
            </p:nvGrpSpPr>
            <p:grpSpPr>
              <a:xfrm>
                <a:off x="-1737766" y="864082"/>
                <a:ext cx="419166" cy="410430"/>
                <a:chOff x="3708400" y="309013"/>
                <a:chExt cx="1901295" cy="1861668"/>
              </a:xfrm>
              <a:solidFill>
                <a:schemeClr val="tx1"/>
              </a:solidFill>
            </p:grpSpPr>
            <p:sp>
              <p:nvSpPr>
                <p:cNvPr id="123" name="Rechthoek 122"/>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24" name="Rechthoek 123"/>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25" name="Rechthoek 124"/>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26" name="Rechthoek 125"/>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27" name="Rechthoek 126"/>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28" name="Rechthoek 127"/>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29" name="Rechthoek 128"/>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30" name="Rechthoek 129"/>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31" name="Rechthoek 130"/>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32" name="Rechthoek 131"/>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33" name="Vrije vorm 132"/>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95" name="Rechte verbindingslijn 94"/>
            <p:cNvCxnSpPr>
              <a:stCxn id="97" idx="2"/>
              <a:endCxn id="121"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6" name="Rechte verbindingslijn 95"/>
            <p:cNvCxnSpPr>
              <a:stCxn id="98" idx="3"/>
              <a:endCxn id="134"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97" name="Ovaal 96"/>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8" name="Ovaal 97"/>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9" name="Textfield placeholde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100" name="Textfield placeholde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101" name="Ovaal 100"/>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102" name="Ovaal 101"/>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103" name="Ovaal 102"/>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104" name="Ovaal 103"/>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105" name="Ovaal 104"/>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106" name="Textfield placeholde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107" name="Textfield placeholde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108" name="Textfield placeholde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109" name="Textfield placeholde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110" name="Textfield placeholde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111" name="Groep 110"/>
            <p:cNvGrpSpPr/>
            <p:nvPr userDrawn="1"/>
          </p:nvGrpSpPr>
          <p:grpSpPr>
            <a:xfrm>
              <a:off x="-950342" y="1837957"/>
              <a:ext cx="687412" cy="3758146"/>
              <a:chOff x="-740196" y="1837957"/>
              <a:chExt cx="1374825" cy="3758146"/>
            </a:xfrm>
          </p:grpSpPr>
          <p:sp>
            <p:nvSpPr>
              <p:cNvPr id="112" name="Textfield placeholde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113" name="Textfield placeholde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114" name="Textfield placeholde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115" name="Textfield placeholde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116" name="Textfield placeholde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117" name="Textfield placeholde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118" name="Textfield placeholde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119" name="Textfield placeholde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120" name="Textfield placeholde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sp>
        <p:nvSpPr>
          <p:cNvPr id="148" name="Tijdelijke aanduiding voor tekst 8">
            <a:extLst>
              <a:ext uri="{FF2B5EF4-FFF2-40B4-BE49-F238E27FC236}">
                <a16:creationId xmlns:a16="http://schemas.microsoft.com/office/drawing/2014/main" id="{93CAB523-31C4-42AD-A6F7-5BD8287CB5D2}"/>
              </a:ext>
            </a:extLst>
          </p:cNvPr>
          <p:cNvSpPr>
            <a:spLocks noGrp="1"/>
          </p:cNvSpPr>
          <p:nvPr>
            <p:ph type="body" sz="quarter" idx="14" hasCustomPrompt="1"/>
          </p:nvPr>
        </p:nvSpPr>
        <p:spPr>
          <a:xfrm>
            <a:off x="-3079" y="5943525"/>
            <a:ext cx="12204000" cy="72000"/>
          </a:xfrm>
          <a:solidFill>
            <a:schemeClr val="bg2"/>
          </a:solidFill>
        </p:spPr>
        <p:txBody>
          <a:bodyPr anchor="ctr"/>
          <a:lstStyle>
            <a:lvl1pPr algn="ctr">
              <a:defRPr sz="700"/>
            </a:lvl1pPr>
          </a:lstStyle>
          <a:p>
            <a:pPr lvl="0"/>
            <a:r>
              <a:rPr lang="nl-NL" noProof="0" dirty="0"/>
              <a:t>Vormgeving (niet verwijderen!)</a:t>
            </a:r>
          </a:p>
        </p:txBody>
      </p:sp>
    </p:spTree>
    <p:extLst>
      <p:ext uri="{BB962C8B-B14F-4D97-AF65-F5344CB8AC3E}">
        <p14:creationId xmlns:p14="http://schemas.microsoft.com/office/powerpoint/2010/main" val="641450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ustom (wit) met gele kaderlijnen">
    <p:spTree>
      <p:nvGrpSpPr>
        <p:cNvPr id="1" name=""/>
        <p:cNvGrpSpPr/>
        <p:nvPr/>
      </p:nvGrpSpPr>
      <p:grpSpPr>
        <a:xfrm>
          <a:off x="0" y="0"/>
          <a:ext cx="0" cy="0"/>
          <a:chOff x="0" y="0"/>
          <a:chExt cx="0" cy="0"/>
        </a:xfrm>
      </p:grpSpPr>
      <p:sp>
        <p:nvSpPr>
          <p:cNvPr id="27" name="Rechthoek 26">
            <a:extLst>
              <a:ext uri="{FF2B5EF4-FFF2-40B4-BE49-F238E27FC236}">
                <a16:creationId xmlns:a16="http://schemas.microsoft.com/office/drawing/2014/main" id="{75502DE0-7BFC-40C2-8542-0ABDA09F2DF3}"/>
              </a:ext>
            </a:extLst>
          </p:cNvPr>
          <p:cNvSpPr/>
          <p:nvPr userDrawn="1"/>
        </p:nvSpPr>
        <p:spPr>
          <a:xfrm>
            <a:off x="0" y="1447332"/>
            <a:ext cx="12195175" cy="4530296"/>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14" name="Tijdelijke aanduiding voor afbeelding 2"/>
          <p:cNvSpPr>
            <a:spLocks noGrp="1"/>
          </p:cNvSpPr>
          <p:nvPr>
            <p:ph type="pic" idx="15"/>
          </p:nvPr>
        </p:nvSpPr>
        <p:spPr>
          <a:xfrm>
            <a:off x="1" y="1461023"/>
            <a:ext cx="12195174" cy="4516605"/>
          </a:xfrm>
          <a:solidFill>
            <a:schemeClr val="bg1"/>
          </a:solid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2" name="Titel 1"/>
          <p:cNvSpPr>
            <a:spLocks noGrp="1"/>
          </p:cNvSpPr>
          <p:nvPr>
            <p:ph type="title"/>
          </p:nvPr>
        </p:nvSpPr>
        <p:spPr/>
        <p:txBody>
          <a:bodyPr/>
          <a:lstStyle/>
          <a:p>
            <a:r>
              <a:rPr lang="nl-NL"/>
              <a:t>Klik om stijl te bewerken</a:t>
            </a:r>
            <a:endParaRPr lang="en-GB"/>
          </a:p>
        </p:txBody>
      </p:sp>
      <p:sp>
        <p:nvSpPr>
          <p:cNvPr id="4" name="Tijdelijke aanduiding voor datum 3"/>
          <p:cNvSpPr>
            <a:spLocks noGrp="1"/>
          </p:cNvSpPr>
          <p:nvPr>
            <p:ph type="dt" sz="half" idx="10"/>
          </p:nvPr>
        </p:nvSpPr>
        <p:spPr/>
        <p:txBody>
          <a:bodyPr/>
          <a:lstStyle/>
          <a:p>
            <a:fld id="{AAE80E69-F5FB-4E82-BC6C-6EE00B987C93}"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ekstvak 6"/>
          <p:cNvSpPr txBox="1"/>
          <p:nvPr userDrawn="1"/>
        </p:nvSpPr>
        <p:spPr>
          <a:xfrm>
            <a:off x="0" y="-521614"/>
            <a:ext cx="3504624" cy="469107"/>
          </a:xfrm>
          <a:prstGeom prst="rect">
            <a:avLst/>
          </a:prstGeom>
          <a:noFill/>
        </p:spPr>
        <p:txBody>
          <a:bodyPr wrap="square" rtlCol="0" anchor="b">
            <a:noAutofit/>
          </a:bodyPr>
          <a:lstStyle/>
          <a:p>
            <a:pPr marL="0" marR="0" indent="0" algn="l" defTabSz="1219352" rtl="0" eaLnBrk="1" fontAlgn="auto" latinLnBrk="0" hangingPunct="1">
              <a:lnSpc>
                <a:spcPct val="100000"/>
              </a:lnSpc>
              <a:spcBef>
                <a:spcPts val="0"/>
              </a:spcBef>
              <a:spcAft>
                <a:spcPts val="0"/>
              </a:spcAft>
              <a:buClrTx/>
              <a:buSzTx/>
              <a:buFontTx/>
              <a:buNone/>
              <a:tabLst/>
              <a:defRPr/>
            </a:pPr>
            <a:r>
              <a:rPr lang="nl-NL" sz="1333" b="0" dirty="0">
                <a:solidFill>
                  <a:schemeClr val="accent6"/>
                </a:solidFill>
                <a:latin typeface="+mj-lt"/>
              </a:rPr>
              <a:t>Afbeelding (XL) tussen kaders</a:t>
            </a:r>
          </a:p>
        </p:txBody>
      </p:sp>
      <p:sp>
        <p:nvSpPr>
          <p:cNvPr id="9" name="Tijdelijke aanduiding voor tekst 8"/>
          <p:cNvSpPr>
            <a:spLocks noGrp="1"/>
          </p:cNvSpPr>
          <p:nvPr>
            <p:ph type="body" sz="quarter" idx="13" hasCustomPrompt="1"/>
          </p:nvPr>
        </p:nvSpPr>
        <p:spPr>
          <a:xfrm>
            <a:off x="-7018" y="1424764"/>
            <a:ext cx="12204000" cy="72000"/>
          </a:xfrm>
          <a:solidFill>
            <a:schemeClr val="bg2"/>
          </a:solidFill>
        </p:spPr>
        <p:txBody>
          <a:bodyPr anchor="ctr"/>
          <a:lstStyle>
            <a:lvl1pPr marL="0" marR="0" indent="0" algn="ctr" defTabSz="914400" rtl="0" eaLnBrk="1" fontAlgn="auto" latinLnBrk="0" hangingPunct="1">
              <a:lnSpc>
                <a:spcPct val="90000"/>
              </a:lnSpc>
              <a:spcBef>
                <a:spcPts val="700"/>
              </a:spcBef>
              <a:spcAft>
                <a:spcPts val="700"/>
              </a:spcAft>
              <a:buClrTx/>
              <a:buSzTx/>
              <a:buFont typeface="Arial" panose="020B0604020202020204" pitchFamily="34" charset="0"/>
              <a:buNone/>
              <a:tabLst/>
              <a:defRPr sz="700"/>
            </a:lvl1pPr>
          </a:lstStyle>
          <a:p>
            <a:pPr marL="0" marR="0" lvl="0" indent="0" algn="ctr" defTabSz="914400" rtl="0" eaLnBrk="1" fontAlgn="auto" latinLnBrk="0" hangingPunct="1">
              <a:lnSpc>
                <a:spcPct val="90000"/>
              </a:lnSpc>
              <a:spcBef>
                <a:spcPts val="700"/>
              </a:spcBef>
              <a:spcAft>
                <a:spcPts val="700"/>
              </a:spcAft>
              <a:buClrTx/>
              <a:buSzTx/>
              <a:buFont typeface="Arial" panose="020B0604020202020204" pitchFamily="34" charset="0"/>
              <a:buNone/>
              <a:tabLst/>
              <a:defRPr/>
            </a:pPr>
            <a:r>
              <a:rPr lang="nl-NL" noProof="0" dirty="0"/>
              <a:t>Vormgeving (niet verwijderen!)</a:t>
            </a:r>
          </a:p>
        </p:txBody>
      </p:sp>
      <p:sp>
        <p:nvSpPr>
          <p:cNvPr id="10" name="Tijdelijke aanduiding voor tekst 8"/>
          <p:cNvSpPr>
            <a:spLocks noGrp="1"/>
          </p:cNvSpPr>
          <p:nvPr>
            <p:ph type="body" sz="quarter" idx="14" hasCustomPrompt="1"/>
          </p:nvPr>
        </p:nvSpPr>
        <p:spPr>
          <a:xfrm>
            <a:off x="-3079" y="5943525"/>
            <a:ext cx="12204000" cy="72000"/>
          </a:xfrm>
          <a:solidFill>
            <a:schemeClr val="bg2"/>
          </a:solidFill>
        </p:spPr>
        <p:txBody>
          <a:bodyPr anchor="ctr"/>
          <a:lstStyle>
            <a:lvl1pPr algn="ctr">
              <a:defRPr sz="700"/>
            </a:lvl1pPr>
          </a:lstStyle>
          <a:p>
            <a:pPr lvl="0"/>
            <a:r>
              <a:rPr lang="nl-NL" noProof="0" dirty="0"/>
              <a:t>Vormgeving (niet verwijderen!)</a:t>
            </a:r>
          </a:p>
        </p:txBody>
      </p:sp>
      <p:grpSp>
        <p:nvGrpSpPr>
          <p:cNvPr id="42" name="Groep 41">
            <a:extLst>
              <a:ext uri="{FF2B5EF4-FFF2-40B4-BE49-F238E27FC236}">
                <a16:creationId xmlns:a16="http://schemas.microsoft.com/office/drawing/2014/main" id="{E8A09566-9889-4D4B-8F7D-2057955320AF}"/>
              </a:ext>
            </a:extLst>
          </p:cNvPr>
          <p:cNvGrpSpPr/>
          <p:nvPr userDrawn="1"/>
        </p:nvGrpSpPr>
        <p:grpSpPr>
          <a:xfrm>
            <a:off x="12363871" y="-26002"/>
            <a:ext cx="3064812" cy="4530930"/>
            <a:chOff x="15419739" y="-26002"/>
            <a:chExt cx="3064812" cy="4530930"/>
          </a:xfrm>
        </p:grpSpPr>
        <p:sp>
          <p:nvSpPr>
            <p:cNvPr id="43" name="Tekstvak 33">
              <a:extLst>
                <a:ext uri="{FF2B5EF4-FFF2-40B4-BE49-F238E27FC236}">
                  <a16:creationId xmlns:a16="http://schemas.microsoft.com/office/drawing/2014/main" id="{E9F05EBC-3B86-4BBF-AEEE-B0BA1A7B05DE}"/>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44" name="Tekstvak 33">
              <a:extLst>
                <a:ext uri="{FF2B5EF4-FFF2-40B4-BE49-F238E27FC236}">
                  <a16:creationId xmlns:a16="http://schemas.microsoft.com/office/drawing/2014/main" id="{DBA78016-188C-40E2-BC00-4F2C1DFD72FB}"/>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45" name="Ovaal 44">
              <a:extLst>
                <a:ext uri="{FF2B5EF4-FFF2-40B4-BE49-F238E27FC236}">
                  <a16:creationId xmlns:a16="http://schemas.microsoft.com/office/drawing/2014/main" id="{F20AF76B-E7E6-41E9-9F1B-A5D278E4CC2F}"/>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46" name="Ovaal 45">
              <a:extLst>
                <a:ext uri="{FF2B5EF4-FFF2-40B4-BE49-F238E27FC236}">
                  <a16:creationId xmlns:a16="http://schemas.microsoft.com/office/drawing/2014/main" id="{30247C17-A786-4EC5-8083-16A1FCD41C38}"/>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47" name="Picture 3">
              <a:extLst>
                <a:ext uri="{FF2B5EF4-FFF2-40B4-BE49-F238E27FC236}">
                  <a16:creationId xmlns:a16="http://schemas.microsoft.com/office/drawing/2014/main" id="{0D626A5F-7A8A-492C-BBBE-291294FC7276}"/>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48" name="Picture 3">
              <a:extLst>
                <a:ext uri="{FF2B5EF4-FFF2-40B4-BE49-F238E27FC236}">
                  <a16:creationId xmlns:a16="http://schemas.microsoft.com/office/drawing/2014/main" id="{11EEC445-51CF-4E10-AC89-07441C5041DB}"/>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49" name="Tekstvak 48">
              <a:extLst>
                <a:ext uri="{FF2B5EF4-FFF2-40B4-BE49-F238E27FC236}">
                  <a16:creationId xmlns:a16="http://schemas.microsoft.com/office/drawing/2014/main" id="{975D50D2-690D-4C69-BA2A-A5205B60A634}"/>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50" name="Rechthoek 49">
              <a:extLst>
                <a:ext uri="{FF2B5EF4-FFF2-40B4-BE49-F238E27FC236}">
                  <a16:creationId xmlns:a16="http://schemas.microsoft.com/office/drawing/2014/main" id="{F091C8DA-005A-413D-BA95-768C3D578593}"/>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51" name="Groep 50">
              <a:extLst>
                <a:ext uri="{FF2B5EF4-FFF2-40B4-BE49-F238E27FC236}">
                  <a16:creationId xmlns:a16="http://schemas.microsoft.com/office/drawing/2014/main" id="{5FE19541-A5C2-4B47-8B73-4A45022BFED7}"/>
                </a:ext>
              </a:extLst>
            </p:cNvPr>
            <p:cNvGrpSpPr/>
            <p:nvPr userDrawn="1"/>
          </p:nvGrpSpPr>
          <p:grpSpPr>
            <a:xfrm>
              <a:off x="15563079" y="358984"/>
              <a:ext cx="2489424" cy="4145944"/>
              <a:chOff x="15563079" y="358984"/>
              <a:chExt cx="2315772" cy="4145944"/>
            </a:xfrm>
          </p:grpSpPr>
          <p:cxnSp>
            <p:nvCxnSpPr>
              <p:cNvPr id="53" name="Rechte verbindingslijn 52">
                <a:extLst>
                  <a:ext uri="{FF2B5EF4-FFF2-40B4-BE49-F238E27FC236}">
                    <a16:creationId xmlns:a16="http://schemas.microsoft.com/office/drawing/2014/main" id="{3B86C899-3666-48A4-88C0-8C83B673758D}"/>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4" name="Rechte verbindingslijn 53">
                <a:extLst>
                  <a:ext uri="{FF2B5EF4-FFF2-40B4-BE49-F238E27FC236}">
                    <a16:creationId xmlns:a16="http://schemas.microsoft.com/office/drawing/2014/main" id="{3F922B0A-7056-4E63-A71C-A27D85A3630A}"/>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5" name="Rechte verbindingslijn 54">
                <a:extLst>
                  <a:ext uri="{FF2B5EF4-FFF2-40B4-BE49-F238E27FC236}">
                    <a16:creationId xmlns:a16="http://schemas.microsoft.com/office/drawing/2014/main" id="{E68BD956-D875-432A-9017-8B7F8968C33F}"/>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52" name="Afbeelding 51">
              <a:extLst>
                <a:ext uri="{FF2B5EF4-FFF2-40B4-BE49-F238E27FC236}">
                  <a16:creationId xmlns:a16="http://schemas.microsoft.com/office/drawing/2014/main" id="{C2A80AC5-70B4-440E-90B8-9100269E810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3306235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angepaste indeling">
    <p:spTree>
      <p:nvGrpSpPr>
        <p:cNvPr id="1" name=""/>
        <p:cNvGrpSpPr/>
        <p:nvPr/>
      </p:nvGrpSpPr>
      <p:grpSpPr>
        <a:xfrm>
          <a:off x="0" y="0"/>
          <a:ext cx="0" cy="0"/>
          <a:chOff x="0" y="0"/>
          <a:chExt cx="0" cy="0"/>
        </a:xfrm>
      </p:grpSpPr>
      <p:sp>
        <p:nvSpPr>
          <p:cNvPr id="7" name="Afgeronde rechthoek 7">
            <a:extLst>
              <a:ext uri="{FF2B5EF4-FFF2-40B4-BE49-F238E27FC236}">
                <a16:creationId xmlns:a16="http://schemas.microsoft.com/office/drawing/2014/main" id="{E3EC24EF-BCCE-42D6-B2EC-FF6F8BC9482C}"/>
              </a:ext>
            </a:extLst>
          </p:cNvPr>
          <p:cNvSpPr/>
          <p:nvPr userDrawn="1"/>
        </p:nvSpPr>
        <p:spPr>
          <a:xfrm>
            <a:off x="-1539" y="0"/>
            <a:ext cx="12195175" cy="6858000"/>
          </a:xfrm>
          <a:prstGeom prst="roundRect">
            <a:avLst>
              <a:gd name="adj" fmla="val 1389"/>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pic>
        <p:nvPicPr>
          <p:cNvPr id="9" name="Afbeelding 8">
            <a:extLst>
              <a:ext uri="{FF2B5EF4-FFF2-40B4-BE49-F238E27FC236}">
                <a16:creationId xmlns:a16="http://schemas.microsoft.com/office/drawing/2014/main" id="{E0DD3235-13E9-484A-97A5-D4672A2BC0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16337" y="2319337"/>
            <a:ext cx="4762500" cy="2219325"/>
          </a:xfrm>
          <a:prstGeom prst="rect">
            <a:avLst/>
          </a:prstGeom>
        </p:spPr>
      </p:pic>
      <p:sp>
        <p:nvSpPr>
          <p:cNvPr id="10" name="Tijdelijke aanduiding voor tekst 8">
            <a:extLst>
              <a:ext uri="{FF2B5EF4-FFF2-40B4-BE49-F238E27FC236}">
                <a16:creationId xmlns:a16="http://schemas.microsoft.com/office/drawing/2014/main" id="{90FE4CFE-3368-46C8-A47E-65E9E156647B}"/>
              </a:ext>
            </a:extLst>
          </p:cNvPr>
          <p:cNvSpPr>
            <a:spLocks noGrp="1"/>
          </p:cNvSpPr>
          <p:nvPr>
            <p:ph type="body" sz="quarter" idx="13" hasCustomPrompt="1"/>
          </p:nvPr>
        </p:nvSpPr>
        <p:spPr>
          <a:xfrm>
            <a:off x="4554458" y="2029829"/>
            <a:ext cx="7920703" cy="72000"/>
          </a:xfrm>
          <a:solidFill>
            <a:schemeClr val="bg2"/>
          </a:solidFill>
        </p:spPr>
        <p:txBody>
          <a:bodyPr anchor="ctr"/>
          <a:lstStyle>
            <a:lvl1pPr marL="0" marR="0" indent="0" algn="ctr" defTabSz="914400" rtl="0" eaLnBrk="1" fontAlgn="auto" latinLnBrk="0" hangingPunct="1">
              <a:lnSpc>
                <a:spcPct val="90000"/>
              </a:lnSpc>
              <a:spcBef>
                <a:spcPts val="700"/>
              </a:spcBef>
              <a:spcAft>
                <a:spcPts val="700"/>
              </a:spcAft>
              <a:buClrTx/>
              <a:buSzTx/>
              <a:buFont typeface="Arial" panose="020B0604020202020204" pitchFamily="34" charset="0"/>
              <a:buNone/>
              <a:tabLst/>
              <a:defRPr sz="700"/>
            </a:lvl1pPr>
          </a:lstStyle>
          <a:p>
            <a:pPr marL="0" marR="0" lvl="0" indent="0" algn="ctr" defTabSz="914400" rtl="0" eaLnBrk="1" fontAlgn="auto" latinLnBrk="0" hangingPunct="1">
              <a:lnSpc>
                <a:spcPct val="90000"/>
              </a:lnSpc>
              <a:spcBef>
                <a:spcPts val="700"/>
              </a:spcBef>
              <a:spcAft>
                <a:spcPts val="700"/>
              </a:spcAft>
              <a:buClrTx/>
              <a:buSzTx/>
              <a:buFont typeface="Arial" panose="020B0604020202020204" pitchFamily="34" charset="0"/>
              <a:buNone/>
              <a:tabLst/>
              <a:defRPr/>
            </a:pPr>
            <a:r>
              <a:rPr lang="nl-NL" noProof="0" dirty="0"/>
              <a:t>Vormgeving (niet verwijderen!)</a:t>
            </a:r>
          </a:p>
        </p:txBody>
      </p:sp>
      <p:sp>
        <p:nvSpPr>
          <p:cNvPr id="12" name="Tijdelijke aanduiding voor tekst 8">
            <a:extLst>
              <a:ext uri="{FF2B5EF4-FFF2-40B4-BE49-F238E27FC236}">
                <a16:creationId xmlns:a16="http://schemas.microsoft.com/office/drawing/2014/main" id="{5496F815-9420-4F08-9EB3-DE2672CE5099}"/>
              </a:ext>
            </a:extLst>
          </p:cNvPr>
          <p:cNvSpPr>
            <a:spLocks noGrp="1"/>
          </p:cNvSpPr>
          <p:nvPr>
            <p:ph type="body" sz="quarter" idx="15" hasCustomPrompt="1"/>
          </p:nvPr>
        </p:nvSpPr>
        <p:spPr>
          <a:xfrm>
            <a:off x="-272565" y="4757976"/>
            <a:ext cx="7920703" cy="72000"/>
          </a:xfrm>
          <a:solidFill>
            <a:schemeClr val="bg2"/>
          </a:solidFill>
        </p:spPr>
        <p:txBody>
          <a:bodyPr anchor="ctr"/>
          <a:lstStyle>
            <a:lvl1pPr marL="0" marR="0" indent="0" algn="ctr" defTabSz="914400" rtl="0" eaLnBrk="1" fontAlgn="auto" latinLnBrk="0" hangingPunct="1">
              <a:lnSpc>
                <a:spcPct val="90000"/>
              </a:lnSpc>
              <a:spcBef>
                <a:spcPts val="700"/>
              </a:spcBef>
              <a:spcAft>
                <a:spcPts val="700"/>
              </a:spcAft>
              <a:buClrTx/>
              <a:buSzTx/>
              <a:buFont typeface="Arial" panose="020B0604020202020204" pitchFamily="34" charset="0"/>
              <a:buNone/>
              <a:tabLst/>
              <a:defRPr sz="700"/>
            </a:lvl1pPr>
          </a:lstStyle>
          <a:p>
            <a:pPr marL="0" marR="0" lvl="0" indent="0" algn="ctr" defTabSz="914400" rtl="0" eaLnBrk="1" fontAlgn="auto" latinLnBrk="0" hangingPunct="1">
              <a:lnSpc>
                <a:spcPct val="90000"/>
              </a:lnSpc>
              <a:spcBef>
                <a:spcPts val="700"/>
              </a:spcBef>
              <a:spcAft>
                <a:spcPts val="700"/>
              </a:spcAft>
              <a:buClrTx/>
              <a:buSzTx/>
              <a:buFont typeface="Arial" panose="020B0604020202020204" pitchFamily="34" charset="0"/>
              <a:buNone/>
              <a:tabLst/>
              <a:defRPr/>
            </a:pPr>
            <a:r>
              <a:rPr lang="nl-NL" noProof="0" dirty="0"/>
              <a:t>Vormgeving (niet verwijderen!)</a:t>
            </a:r>
          </a:p>
        </p:txBody>
      </p:sp>
    </p:spTree>
    <p:extLst>
      <p:ext uri="{BB962C8B-B14F-4D97-AF65-F5344CB8AC3E}">
        <p14:creationId xmlns:p14="http://schemas.microsoft.com/office/powerpoint/2010/main" val="3877681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0">
                                            <p:bg/>
                                          </p:spTgt>
                                        </p:tgtEl>
                                        <p:attrNameLst>
                                          <p:attrName>style.visibility</p:attrName>
                                        </p:attrNameLst>
                                      </p:cBhvr>
                                      <p:to>
                                        <p:strVal val="visible"/>
                                      </p:to>
                                    </p:set>
                                    <p:anim calcmode="lin" valueType="num">
                                      <p:cBhvr additive="base">
                                        <p:cTn id="7" dur="1000" fill="hold"/>
                                        <p:tgtEl>
                                          <p:spTgt spid="10">
                                            <p:bg/>
                                          </p:spTgt>
                                        </p:tgtEl>
                                        <p:attrNameLst>
                                          <p:attrName>ppt_x</p:attrName>
                                        </p:attrNameLst>
                                      </p:cBhvr>
                                      <p:tavLst>
                                        <p:tav tm="0">
                                          <p:val>
                                            <p:strVal val="0-#ppt_w/2"/>
                                          </p:val>
                                        </p:tav>
                                        <p:tav tm="100000">
                                          <p:val>
                                            <p:strVal val="#ppt_x"/>
                                          </p:val>
                                        </p:tav>
                                      </p:tavLst>
                                    </p:anim>
                                    <p:anim calcmode="lin" valueType="num">
                                      <p:cBhvr additive="base">
                                        <p:cTn id="8" dur="1000" fill="hold"/>
                                        <p:tgtEl>
                                          <p:spTgt spid="10">
                                            <p:bg/>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 calcmode="lin" valueType="num">
                                      <p:cBhvr additive="base">
                                        <p:cTn id="11" dur="10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12" dur="1000" fill="hold"/>
                                        <p:tgtEl>
                                          <p:spTgt spid="10">
                                            <p:txEl>
                                              <p:pRg st="0" end="0"/>
                                            </p:txEl>
                                          </p:spTgt>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12">
                                            <p:bg/>
                                          </p:spTgt>
                                        </p:tgtEl>
                                        <p:attrNameLst>
                                          <p:attrName>style.visibility</p:attrName>
                                        </p:attrNameLst>
                                      </p:cBhvr>
                                      <p:to>
                                        <p:strVal val="visible"/>
                                      </p:to>
                                    </p:set>
                                    <p:anim calcmode="lin" valueType="num">
                                      <p:cBhvr additive="base">
                                        <p:cTn id="15" dur="1000" fill="hold"/>
                                        <p:tgtEl>
                                          <p:spTgt spid="12">
                                            <p:bg/>
                                          </p:spTgt>
                                        </p:tgtEl>
                                        <p:attrNameLst>
                                          <p:attrName>ppt_x</p:attrName>
                                        </p:attrNameLst>
                                      </p:cBhvr>
                                      <p:tavLst>
                                        <p:tav tm="0">
                                          <p:val>
                                            <p:strVal val="1+#ppt_w/2"/>
                                          </p:val>
                                        </p:tav>
                                        <p:tav tm="100000">
                                          <p:val>
                                            <p:strVal val="#ppt_x"/>
                                          </p:val>
                                        </p:tav>
                                      </p:tavLst>
                                    </p:anim>
                                    <p:anim calcmode="lin" valueType="num">
                                      <p:cBhvr additive="base">
                                        <p:cTn id="16" dur="1000" fill="hold"/>
                                        <p:tgtEl>
                                          <p:spTgt spid="12">
                                            <p:bg/>
                                          </p:spTgt>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12">
                                            <p:txEl>
                                              <p:pRg st="0" end="0"/>
                                            </p:txEl>
                                          </p:spTgt>
                                        </p:tgtEl>
                                        <p:attrNameLst>
                                          <p:attrName>style.visibility</p:attrName>
                                        </p:attrNameLst>
                                      </p:cBhvr>
                                      <p:to>
                                        <p:strVal val="visible"/>
                                      </p:to>
                                    </p:set>
                                    <p:anim calcmode="lin" valueType="num">
                                      <p:cBhvr additive="base">
                                        <p:cTn id="19" dur="1000" fill="hold"/>
                                        <p:tgtEl>
                                          <p:spTgt spid="12">
                                            <p:txEl>
                                              <p:pRg st="0" end="0"/>
                                            </p:txEl>
                                          </p:spTgt>
                                        </p:tgtEl>
                                        <p:attrNameLst>
                                          <p:attrName>ppt_x</p:attrName>
                                        </p:attrNameLst>
                                      </p:cBhvr>
                                      <p:tavLst>
                                        <p:tav tm="0">
                                          <p:val>
                                            <p:strVal val="1+#ppt_w/2"/>
                                          </p:val>
                                        </p:tav>
                                        <p:tav tm="100000">
                                          <p:val>
                                            <p:strVal val="#ppt_x"/>
                                          </p:val>
                                        </p:tav>
                                      </p:tavLst>
                                    </p:anim>
                                    <p:anim calcmode="lin" valueType="num">
                                      <p:cBhvr additive="base">
                                        <p:cTn id="20" dur="1000" fill="hold"/>
                                        <p:tgtEl>
                                          <p:spTgt spid="12">
                                            <p:txEl>
                                              <p:pRg st="0" end="0"/>
                                            </p:txEl>
                                          </p:spTgt>
                                        </p:tgtEl>
                                        <p:attrNameLst>
                                          <p:attrName>ppt_y</p:attrName>
                                        </p:attrNameLst>
                                      </p:cBhvr>
                                      <p:tavLst>
                                        <p:tav tm="0">
                                          <p:val>
                                            <p:strVal val="#ppt_y"/>
                                          </p:val>
                                        </p:tav>
                                        <p:tav tm="100000">
                                          <p:val>
                                            <p:strVal val="#ppt_y"/>
                                          </p:val>
                                        </p:tav>
                                      </p:tavLst>
                                    </p:anim>
                                  </p:childTnLst>
                                </p:cTn>
                              </p:par>
                            </p:childTnLst>
                          </p:cTn>
                        </p:par>
                        <p:par>
                          <p:cTn id="21" fill="hold">
                            <p:stCondLst>
                              <p:cond delay="1000"/>
                            </p:stCondLst>
                            <p:childTnLst>
                              <p:par>
                                <p:cTn id="22" presetID="53" presetClass="entr" presetSubtype="16" fill="hold" nodeType="afterEffect">
                                  <p:stCondLst>
                                    <p:cond delay="0"/>
                                  </p:stCondLst>
                                  <p:childTnLst>
                                    <p:set>
                                      <p:cBhvr>
                                        <p:cTn id="23" dur="1" fill="hold">
                                          <p:stCondLst>
                                            <p:cond delay="0"/>
                                          </p:stCondLst>
                                        </p:cTn>
                                        <p:tgtEl>
                                          <p:spTgt spid="9"/>
                                        </p:tgtEl>
                                        <p:attrNameLst>
                                          <p:attrName>style.visibility</p:attrName>
                                        </p:attrNameLst>
                                      </p:cBhvr>
                                      <p:to>
                                        <p:strVal val="visible"/>
                                      </p:to>
                                    </p:set>
                                    <p:anim calcmode="lin" valueType="num">
                                      <p:cBhvr>
                                        <p:cTn id="24" dur="500" fill="hold"/>
                                        <p:tgtEl>
                                          <p:spTgt spid="9"/>
                                        </p:tgtEl>
                                        <p:attrNameLst>
                                          <p:attrName>ppt_w</p:attrName>
                                        </p:attrNameLst>
                                      </p:cBhvr>
                                      <p:tavLst>
                                        <p:tav tm="0">
                                          <p:val>
                                            <p:fltVal val="0"/>
                                          </p:val>
                                        </p:tav>
                                        <p:tav tm="100000">
                                          <p:val>
                                            <p:strVal val="#ppt_w"/>
                                          </p:val>
                                        </p:tav>
                                      </p:tavLst>
                                    </p:anim>
                                    <p:anim calcmode="lin" valueType="num">
                                      <p:cBhvr>
                                        <p:cTn id="25" dur="500" fill="hold"/>
                                        <p:tgtEl>
                                          <p:spTgt spid="9"/>
                                        </p:tgtEl>
                                        <p:attrNameLst>
                                          <p:attrName>ppt_h</p:attrName>
                                        </p:attrNameLst>
                                      </p:cBhvr>
                                      <p:tavLst>
                                        <p:tav tm="0">
                                          <p:val>
                                            <p:fltVal val="0"/>
                                          </p:val>
                                        </p:tav>
                                        <p:tav tm="100000">
                                          <p:val>
                                            <p:strVal val="#ppt_h"/>
                                          </p:val>
                                        </p:tav>
                                      </p:tavLst>
                                    </p:anim>
                                    <p:animEffect transition="in" filter="fade">
                                      <p:cBhvr>
                                        <p:cTn id="2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animBg="1">
        <p:tmplLst>
          <p:tmpl>
            <p:tnLst>
              <p:par>
                <p:cTn presetID="2" presetClass="entr" presetSubtype="8"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1000" fill="hold"/>
                        <p:tgtEl>
                          <p:spTgt spid="10"/>
                        </p:tgtEl>
                        <p:attrNameLst>
                          <p:attrName>ppt_x</p:attrName>
                        </p:attrNameLst>
                      </p:cBhvr>
                      <p:tavLst>
                        <p:tav tm="0">
                          <p:val>
                            <p:strVal val="0-#ppt_w/2"/>
                          </p:val>
                        </p:tav>
                        <p:tav tm="100000">
                          <p:val>
                            <p:strVal val="#ppt_x"/>
                          </p:val>
                        </p:tav>
                      </p:tavLst>
                    </p:anim>
                    <p:anim calcmode="lin" valueType="num">
                      <p:cBhvr additive="base">
                        <p:cTn dur="1000" fill="hold"/>
                        <p:tgtEl>
                          <p:spTgt spid="10"/>
                        </p:tgtEl>
                        <p:attrNameLst>
                          <p:attrName>ppt_y</p:attrName>
                        </p:attrNameLst>
                      </p:cBhvr>
                      <p:tavLst>
                        <p:tav tm="0">
                          <p:val>
                            <p:strVal val="#ppt_y"/>
                          </p:val>
                        </p:tav>
                        <p:tav tm="100000">
                          <p:val>
                            <p:strVal val="#ppt_y"/>
                          </p:val>
                        </p:tav>
                      </p:tavLst>
                    </p:anim>
                  </p:childTnLst>
                </p:cTn>
              </p:par>
            </p:tnLst>
          </p:tmpl>
          <p:tmpl lvl="1">
            <p:tnLst>
              <p:par>
                <p:cTn presetID="2" presetClass="entr" presetSubtype="8" fill="hold" nodeType="with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1000" fill="hold"/>
                        <p:tgtEl>
                          <p:spTgt spid="10"/>
                        </p:tgtEl>
                        <p:attrNameLst>
                          <p:attrName>ppt_x</p:attrName>
                        </p:attrNameLst>
                      </p:cBhvr>
                      <p:tavLst>
                        <p:tav tm="0">
                          <p:val>
                            <p:strVal val="0-#ppt_w/2"/>
                          </p:val>
                        </p:tav>
                        <p:tav tm="100000">
                          <p:val>
                            <p:strVal val="#ppt_x"/>
                          </p:val>
                        </p:tav>
                      </p:tavLst>
                    </p:anim>
                    <p:anim calcmode="lin" valueType="num">
                      <p:cBhvr additive="base">
                        <p:cTn dur="1000" fill="hold"/>
                        <p:tgtEl>
                          <p:spTgt spid="10"/>
                        </p:tgtEl>
                        <p:attrNameLst>
                          <p:attrName>ppt_y</p:attrName>
                        </p:attrNameLst>
                      </p:cBhvr>
                      <p:tavLst>
                        <p:tav tm="0">
                          <p:val>
                            <p:strVal val="#ppt_y"/>
                          </p:val>
                        </p:tav>
                        <p:tav tm="100000">
                          <p:val>
                            <p:strVal val="#ppt_y"/>
                          </p:val>
                        </p:tav>
                      </p:tavLst>
                    </p:anim>
                  </p:childTnLst>
                </p:cTn>
              </p:par>
            </p:tnLst>
          </p:tmpl>
        </p:tmplLst>
      </p:bldP>
      <p:bldP spid="12" grpId="0" uiExpand="1" build="p" animBg="1">
        <p:tmplLst>
          <p:tmpl>
            <p:tnLst>
              <p:par>
                <p:cTn presetID="2" presetClass="entr" presetSubtype="2" fill="hold" nodeType="withEffect">
                  <p:stCondLst>
                    <p:cond delay="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1000" fill="hold"/>
                        <p:tgtEl>
                          <p:spTgt spid="12"/>
                        </p:tgtEl>
                        <p:attrNameLst>
                          <p:attrName>ppt_x</p:attrName>
                        </p:attrNameLst>
                      </p:cBhvr>
                      <p:tavLst>
                        <p:tav tm="0">
                          <p:val>
                            <p:strVal val="1+#ppt_w/2"/>
                          </p:val>
                        </p:tav>
                        <p:tav tm="100000">
                          <p:val>
                            <p:strVal val="#ppt_x"/>
                          </p:val>
                        </p:tav>
                      </p:tavLst>
                    </p:anim>
                    <p:anim calcmode="lin" valueType="num">
                      <p:cBhvr additive="base">
                        <p:cTn dur="1000" fill="hold"/>
                        <p:tgtEl>
                          <p:spTgt spid="12"/>
                        </p:tgtEl>
                        <p:attrNameLst>
                          <p:attrName>ppt_y</p:attrName>
                        </p:attrNameLst>
                      </p:cBhvr>
                      <p:tavLst>
                        <p:tav tm="0">
                          <p:val>
                            <p:strVal val="#ppt_y"/>
                          </p:val>
                        </p:tav>
                        <p:tav tm="100000">
                          <p:val>
                            <p:strVal val="#ppt_y"/>
                          </p:val>
                        </p:tav>
                      </p:tavLst>
                    </p:anim>
                  </p:childTnLst>
                </p:cTn>
              </p:par>
            </p:tnLst>
          </p:tmpl>
          <p:tmpl lvl="1">
            <p:tnLst>
              <p:par>
                <p:cTn presetID="2" presetClass="entr" presetSubtype="2" fill="hold" nodeType="withEffect">
                  <p:stCondLst>
                    <p:cond delay="0"/>
                  </p:stCondLst>
                  <p:childTnLst>
                    <p:set>
                      <p:cBhvr>
                        <p:cTn dur="1" fill="hold">
                          <p:stCondLst>
                            <p:cond delay="0"/>
                          </p:stCondLst>
                        </p:cTn>
                        <p:tgtEl>
                          <p:spTgt spid="12"/>
                        </p:tgtEl>
                        <p:attrNameLst>
                          <p:attrName>style.visibility</p:attrName>
                        </p:attrNameLst>
                      </p:cBhvr>
                      <p:to>
                        <p:strVal val="visible"/>
                      </p:to>
                    </p:set>
                    <p:anim calcmode="lin" valueType="num">
                      <p:cBhvr additive="base">
                        <p:cTn dur="1000" fill="hold"/>
                        <p:tgtEl>
                          <p:spTgt spid="12"/>
                        </p:tgtEl>
                        <p:attrNameLst>
                          <p:attrName>ppt_x</p:attrName>
                        </p:attrNameLst>
                      </p:cBhvr>
                      <p:tavLst>
                        <p:tav tm="0">
                          <p:val>
                            <p:strVal val="1+#ppt_w/2"/>
                          </p:val>
                        </p:tav>
                        <p:tav tm="100000">
                          <p:val>
                            <p:strVal val="#ppt_x"/>
                          </p:val>
                        </p:tav>
                      </p:tavLst>
                    </p:anim>
                    <p:anim calcmode="lin" valueType="num">
                      <p:cBhvr additive="base">
                        <p:cTn dur="1000" fill="hold"/>
                        <p:tgtEl>
                          <p:spTgt spid="12"/>
                        </p:tgtEl>
                        <p:attrNameLst>
                          <p:attrName>ppt_y</p:attrName>
                        </p:attrNameLst>
                      </p:cBhvr>
                      <p:tavLst>
                        <p:tav tm="0">
                          <p:val>
                            <p:strVal val="#ppt_y"/>
                          </p:val>
                        </p:tav>
                        <p:tav tm="100000">
                          <p:val>
                            <p:strVal val="#ppt_y"/>
                          </p:val>
                        </p:tav>
                      </p:tavLst>
                    </p:anim>
                  </p:childTnLst>
                </p:cTn>
              </p:par>
            </p:tnLst>
          </p:tmpl>
        </p:tmplLst>
      </p:bldP>
    </p:bldLst>
  </p:timing>
  <p:extLst>
    <p:ext uri="{DCECCB84-F9BA-43D5-87BE-67443E8EF086}">
      <p15:sldGuideLst xmlns:p15="http://schemas.microsoft.com/office/powerpoint/2012/main">
        <p15:guide id="1" pos="4816" userDrawn="1">
          <p15:clr>
            <a:srgbClr val="FBAE40"/>
          </p15:clr>
        </p15:guide>
        <p15:guide id="2" pos="2866"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8_Alleen tekst">
    <p:spTree>
      <p:nvGrpSpPr>
        <p:cNvPr id="1" name=""/>
        <p:cNvGrpSpPr/>
        <p:nvPr/>
      </p:nvGrpSpPr>
      <p:grpSpPr>
        <a:xfrm>
          <a:off x="0" y="0"/>
          <a:ext cx="0" cy="0"/>
          <a:chOff x="0" y="0"/>
          <a:chExt cx="0" cy="0"/>
        </a:xfrm>
      </p:grpSpPr>
      <p:sp>
        <p:nvSpPr>
          <p:cNvPr id="72" name="Afgeronde rechthoek 7"/>
          <p:cNvSpPr/>
          <p:nvPr userDrawn="1"/>
        </p:nvSpPr>
        <p:spPr>
          <a:xfrm>
            <a:off x="0" y="0"/>
            <a:ext cx="12195175" cy="6858000"/>
          </a:xfrm>
          <a:prstGeom prst="roundRect">
            <a:avLst>
              <a:gd name="adj" fmla="val 13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dirty="0">
              <a:latin typeface="Helvetica" pitchFamily="34" charset="0"/>
            </a:endParaRPr>
          </a:p>
        </p:txBody>
      </p:sp>
      <p:sp>
        <p:nvSpPr>
          <p:cNvPr id="74" name="Title 1"/>
          <p:cNvSpPr>
            <a:spLocks noGrp="1"/>
          </p:cNvSpPr>
          <p:nvPr>
            <p:ph type="title" hasCustomPrompt="1"/>
          </p:nvPr>
        </p:nvSpPr>
        <p:spPr>
          <a:xfrm>
            <a:off x="265115" y="333378"/>
            <a:ext cx="11695828" cy="935039"/>
          </a:xfrm>
          <a:prstGeom prst="rect">
            <a:avLst/>
          </a:prstGeom>
        </p:spPr>
        <p:txBody>
          <a:bodyPr/>
          <a:lstStyle>
            <a:lvl1pPr>
              <a:defRPr b="1" i="0">
                <a:ln>
                  <a:noFill/>
                </a:ln>
                <a:solidFill>
                  <a:schemeClr val="bg1"/>
                </a:solidFill>
                <a:latin typeface="Futura Std Book" charset="0"/>
                <a:ea typeface="Futura Std Book" charset="0"/>
                <a:cs typeface="Futura Std Book" charset="0"/>
              </a:defRPr>
            </a:lvl1pPr>
          </a:lstStyle>
          <a:p>
            <a:r>
              <a:rPr lang="en-US" dirty="0"/>
              <a:t>WHY</a:t>
            </a:r>
            <a:br>
              <a:rPr lang="en-US" dirty="0"/>
            </a:br>
            <a:r>
              <a:rPr lang="en-US" dirty="0"/>
              <a:t>ROTTERDAM?</a:t>
            </a:r>
            <a:endParaRPr lang="nl-NL" dirty="0"/>
          </a:p>
        </p:txBody>
      </p:sp>
      <p:sp>
        <p:nvSpPr>
          <p:cNvPr id="3" name="Rectangle 2"/>
          <p:cNvSpPr/>
          <p:nvPr userDrawn="1"/>
        </p:nvSpPr>
        <p:spPr>
          <a:xfrm>
            <a:off x="265115" y="1341440"/>
            <a:ext cx="11930062" cy="714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Text Placeholder 4"/>
          <p:cNvSpPr>
            <a:spLocks noGrp="1"/>
          </p:cNvSpPr>
          <p:nvPr>
            <p:ph type="body" sz="quarter" idx="10"/>
          </p:nvPr>
        </p:nvSpPr>
        <p:spPr>
          <a:xfrm>
            <a:off x="264653" y="1635125"/>
            <a:ext cx="11665871" cy="4924219"/>
          </a:xfrm>
          <a:prstGeom prst="rect">
            <a:avLst/>
          </a:prstGeom>
        </p:spPr>
        <p:txBody>
          <a:bodyPr/>
          <a:lstStyle>
            <a:lvl1pPr>
              <a:lnSpc>
                <a:spcPct val="100000"/>
              </a:lnSpc>
              <a:spcBef>
                <a:spcPts val="0"/>
              </a:spcBef>
              <a:spcAft>
                <a:spcPts val="600"/>
              </a:spcAft>
              <a:defRPr sz="2000" b="0" i="0">
                <a:ln>
                  <a:noFill/>
                </a:ln>
                <a:solidFill>
                  <a:schemeClr val="bg1"/>
                </a:solidFill>
                <a:latin typeface="Futura Std Medium" charset="0"/>
                <a:ea typeface="Futura Std Medium" charset="0"/>
                <a:cs typeface="Futura Std Medium" charset="0"/>
              </a:defRPr>
            </a:lvl1pPr>
            <a:lvl2pPr>
              <a:lnSpc>
                <a:spcPct val="100000"/>
              </a:lnSpc>
              <a:spcBef>
                <a:spcPts val="0"/>
              </a:spcBef>
              <a:spcAft>
                <a:spcPts val="600"/>
              </a:spcAft>
              <a:defRPr sz="2000" b="0" i="0">
                <a:ln>
                  <a:noFill/>
                </a:ln>
                <a:solidFill>
                  <a:schemeClr val="bg1"/>
                </a:solidFill>
                <a:latin typeface="Futura Std Medium" charset="0"/>
                <a:ea typeface="Futura Std Medium" charset="0"/>
                <a:cs typeface="Futura Std Medium" charset="0"/>
              </a:defRPr>
            </a:lvl2pPr>
            <a:lvl3pPr>
              <a:lnSpc>
                <a:spcPct val="100000"/>
              </a:lnSpc>
              <a:spcBef>
                <a:spcPts val="0"/>
              </a:spcBef>
              <a:spcAft>
                <a:spcPts val="600"/>
              </a:spcAft>
              <a:defRPr sz="2000" b="0" i="0">
                <a:ln>
                  <a:noFill/>
                </a:ln>
                <a:solidFill>
                  <a:schemeClr val="bg1"/>
                </a:solidFill>
                <a:latin typeface="Futura Std Medium" charset="0"/>
                <a:ea typeface="Futura Std Medium" charset="0"/>
                <a:cs typeface="Futura Std Medium" charset="0"/>
              </a:defRPr>
            </a:lvl3pPr>
            <a:lvl4pPr>
              <a:lnSpc>
                <a:spcPct val="100000"/>
              </a:lnSpc>
              <a:spcBef>
                <a:spcPts val="0"/>
              </a:spcBef>
              <a:spcAft>
                <a:spcPts val="600"/>
              </a:spcAft>
              <a:defRPr sz="2000" b="0" i="0">
                <a:ln>
                  <a:noFill/>
                </a:ln>
                <a:solidFill>
                  <a:schemeClr val="bg1"/>
                </a:solidFill>
                <a:latin typeface="Futura Std Medium" charset="0"/>
                <a:ea typeface="Futura Std Medium" charset="0"/>
                <a:cs typeface="Futura Std Medium" charset="0"/>
              </a:defRPr>
            </a:lvl4pPr>
            <a:lvl5pPr>
              <a:lnSpc>
                <a:spcPct val="100000"/>
              </a:lnSpc>
              <a:spcBef>
                <a:spcPts val="0"/>
              </a:spcBef>
              <a:spcAft>
                <a:spcPts val="600"/>
              </a:spcAft>
              <a:defRPr sz="2000" b="0" i="0">
                <a:ln>
                  <a:noFill/>
                </a:ln>
                <a:solidFill>
                  <a:schemeClr val="bg1"/>
                </a:solidFill>
                <a:latin typeface="Futura Std Medium" charset="0"/>
                <a:ea typeface="Futura Std Medium" charset="0"/>
                <a:cs typeface="Futura Std Medium"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pic>
        <p:nvPicPr>
          <p:cNvPr id="7" name="Picture 6" descr="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16636" y="6273158"/>
            <a:ext cx="1113887" cy="324493"/>
          </a:xfrm>
          <a:prstGeom prst="rect">
            <a:avLst/>
          </a:prstGeom>
        </p:spPr>
      </p:pic>
    </p:spTree>
    <p:extLst>
      <p:ext uri="{BB962C8B-B14F-4D97-AF65-F5344CB8AC3E}">
        <p14:creationId xmlns:p14="http://schemas.microsoft.com/office/powerpoint/2010/main" val="4066938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kst Links + afbeelding (M)">
    <p:spTree>
      <p:nvGrpSpPr>
        <p:cNvPr id="1" name=""/>
        <p:cNvGrpSpPr/>
        <p:nvPr/>
      </p:nvGrpSpPr>
      <p:grpSpPr>
        <a:xfrm>
          <a:off x="0" y="0"/>
          <a:ext cx="0" cy="0"/>
          <a:chOff x="0" y="0"/>
          <a:chExt cx="0" cy="0"/>
        </a:xfrm>
      </p:grpSpPr>
      <p:sp>
        <p:nvSpPr>
          <p:cNvPr id="8" name="Rechthoek 7"/>
          <p:cNvSpPr/>
          <p:nvPr userDrawn="1"/>
        </p:nvSpPr>
        <p:spPr>
          <a:xfrm>
            <a:off x="6136696" y="1426494"/>
            <a:ext cx="6058479" cy="455199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p>
        </p:txBody>
      </p:sp>
      <p:sp>
        <p:nvSpPr>
          <p:cNvPr id="2" name="Titel 1"/>
          <p:cNvSpPr>
            <a:spLocks noGrp="1"/>
          </p:cNvSpPr>
          <p:nvPr>
            <p:ph type="title"/>
          </p:nvPr>
        </p:nvSpPr>
        <p:spPr/>
        <p:txBody>
          <a:bodyPr/>
          <a:lstStyle/>
          <a:p>
            <a:r>
              <a:rPr lang="nl-NL"/>
              <a:t>Klik om stijl te bewerken</a:t>
            </a:r>
            <a:endParaRPr lang="en-GB"/>
          </a:p>
        </p:txBody>
      </p:sp>
      <p:sp>
        <p:nvSpPr>
          <p:cNvPr id="3" name="Tijdelijke aanduiding voor verticale tekst 2"/>
          <p:cNvSpPr>
            <a:spLocks noGrp="1"/>
          </p:cNvSpPr>
          <p:nvPr>
            <p:ph type="body" orient="vert" idx="1"/>
          </p:nvPr>
        </p:nvSpPr>
        <p:spPr>
          <a:xfrm>
            <a:off x="472587" y="1420100"/>
            <a:ext cx="5651485" cy="4558364"/>
          </a:xfrm>
        </p:spPr>
        <p:txBody>
          <a:bodyPr vert="horz"/>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10"/>
          </p:nvPr>
        </p:nvSpPr>
        <p:spPr/>
        <p:txBody>
          <a:bodyPr/>
          <a:lstStyle/>
          <a:p>
            <a:fld id="{E3C16A71-1EF7-4CEC-AA2E-8AE1D840E84B}"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ijdelijke aanduiding voor afbeelding 2"/>
          <p:cNvSpPr>
            <a:spLocks noGrp="1"/>
          </p:cNvSpPr>
          <p:nvPr>
            <p:ph type="pic" idx="13"/>
          </p:nvPr>
        </p:nvSpPr>
        <p:spPr>
          <a:xfrm>
            <a:off x="6136694" y="1420100"/>
            <a:ext cx="6058478" cy="4558364"/>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11" name="Tekstvak 10"/>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Tekst Links + afbeelding (M) + onderschrift</a:t>
            </a:r>
          </a:p>
        </p:txBody>
      </p:sp>
      <p:sp>
        <p:nvSpPr>
          <p:cNvPr id="12" name="Tijdelijke aanduiding voor verticale tekst 2"/>
          <p:cNvSpPr>
            <a:spLocks noGrp="1"/>
          </p:cNvSpPr>
          <p:nvPr>
            <p:ph type="body" orient="vert" idx="14" hasCustomPrompt="1"/>
          </p:nvPr>
        </p:nvSpPr>
        <p:spPr>
          <a:xfrm>
            <a:off x="6136693" y="5474465"/>
            <a:ext cx="6058479" cy="504000"/>
          </a:xfrm>
          <a:solidFill>
            <a:schemeClr val="accent2"/>
          </a:solidFill>
        </p:spPr>
        <p:txBody>
          <a:bodyPr vert="horz" lIns="216000" tIns="36000" rIns="216000" bIns="0" anchor="ctr"/>
          <a:lstStyle>
            <a:lvl1pPr algn="l">
              <a:defRPr sz="1800" b="0">
                <a:solidFill>
                  <a:schemeClr val="tx2"/>
                </a:solidFill>
              </a:defRPr>
            </a:lvl1pPr>
          </a:lstStyle>
          <a:p>
            <a:pPr lvl="0"/>
            <a:r>
              <a:rPr lang="nl-NL" dirty="0"/>
              <a:t>Onderschrift</a:t>
            </a:r>
          </a:p>
        </p:txBody>
      </p:sp>
      <p:grpSp>
        <p:nvGrpSpPr>
          <p:cNvPr id="193" name="Groep 192">
            <a:extLst>
              <a:ext uri="{FF2B5EF4-FFF2-40B4-BE49-F238E27FC236}">
                <a16:creationId xmlns:a16="http://schemas.microsoft.com/office/drawing/2014/main" id="{DA537ACB-E0A0-49AD-B0B9-4CBE16FF0674}"/>
              </a:ext>
            </a:extLst>
          </p:cNvPr>
          <p:cNvGrpSpPr/>
          <p:nvPr userDrawn="1"/>
        </p:nvGrpSpPr>
        <p:grpSpPr>
          <a:xfrm>
            <a:off x="-2973833" y="0"/>
            <a:ext cx="2808312" cy="5805264"/>
            <a:chOff x="-2973833" y="0"/>
            <a:chExt cx="2808312" cy="5805264"/>
          </a:xfrm>
        </p:grpSpPr>
        <p:sp>
          <p:nvSpPr>
            <p:cNvPr id="194" name="Rechthoek 193">
              <a:extLst>
                <a:ext uri="{FF2B5EF4-FFF2-40B4-BE49-F238E27FC236}">
                  <a16:creationId xmlns:a16="http://schemas.microsoft.com/office/drawing/2014/main" id="{2AD3EA21-9CB0-44EA-8A31-2A0DAE4BADDF}"/>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195" name="Textfield placeholder">
              <a:extLst>
                <a:ext uri="{FF2B5EF4-FFF2-40B4-BE49-F238E27FC236}">
                  <a16:creationId xmlns:a16="http://schemas.microsoft.com/office/drawing/2014/main" id="{C45D22A4-C6EF-49CD-920F-C1819E89603A}"/>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196" name="Ovaal 195">
              <a:extLst>
                <a:ext uri="{FF2B5EF4-FFF2-40B4-BE49-F238E27FC236}">
                  <a16:creationId xmlns:a16="http://schemas.microsoft.com/office/drawing/2014/main" id="{161DF70D-41C4-465E-8AA5-B795E87F530A}"/>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197" name="Ovaal 196">
              <a:extLst>
                <a:ext uri="{FF2B5EF4-FFF2-40B4-BE49-F238E27FC236}">
                  <a16:creationId xmlns:a16="http://schemas.microsoft.com/office/drawing/2014/main" id="{48EFC259-6ACF-48DE-952E-186821EDEE57}"/>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198" name="Ovaal 197">
              <a:extLst>
                <a:ext uri="{FF2B5EF4-FFF2-40B4-BE49-F238E27FC236}">
                  <a16:creationId xmlns:a16="http://schemas.microsoft.com/office/drawing/2014/main" id="{74BA09FD-0DF1-4ABD-9677-B094F3F0216E}"/>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199" name="Ovaal 198">
              <a:extLst>
                <a:ext uri="{FF2B5EF4-FFF2-40B4-BE49-F238E27FC236}">
                  <a16:creationId xmlns:a16="http://schemas.microsoft.com/office/drawing/2014/main" id="{6A96E760-3B36-4770-B82C-53360311FE92}"/>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200" name="Textfield placeholder">
              <a:extLst>
                <a:ext uri="{FF2B5EF4-FFF2-40B4-BE49-F238E27FC236}">
                  <a16:creationId xmlns:a16="http://schemas.microsoft.com/office/drawing/2014/main" id="{0DECB454-D88F-4454-82ED-FE5F1D55E9E3}"/>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201" name="Textfield placeholder">
              <a:extLst>
                <a:ext uri="{FF2B5EF4-FFF2-40B4-BE49-F238E27FC236}">
                  <a16:creationId xmlns:a16="http://schemas.microsoft.com/office/drawing/2014/main" id="{561787F2-ECF9-45F6-9876-3E500C6CC8C9}"/>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202" name="Textfield placeholder">
              <a:extLst>
                <a:ext uri="{FF2B5EF4-FFF2-40B4-BE49-F238E27FC236}">
                  <a16:creationId xmlns:a16="http://schemas.microsoft.com/office/drawing/2014/main" id="{7EA399E2-3E94-47AC-888C-78140D488E15}"/>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203" name="Rechte verbindingslijn 202">
              <a:extLst>
                <a:ext uri="{FF2B5EF4-FFF2-40B4-BE49-F238E27FC236}">
                  <a16:creationId xmlns:a16="http://schemas.microsoft.com/office/drawing/2014/main" id="{1768CA56-A200-4956-BD78-39C4E6DF9C4F}"/>
                </a:ext>
              </a:extLst>
            </p:cNvPr>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4" name="Rechte verbindingslijn 203">
              <a:extLst>
                <a:ext uri="{FF2B5EF4-FFF2-40B4-BE49-F238E27FC236}">
                  <a16:creationId xmlns:a16="http://schemas.microsoft.com/office/drawing/2014/main" id="{4A762C13-AC6A-4D86-8C33-7529CDD07116}"/>
                </a:ext>
              </a:extLst>
            </p:cNvPr>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5" name="Rechte verbindingslijn 204">
              <a:extLst>
                <a:ext uri="{FF2B5EF4-FFF2-40B4-BE49-F238E27FC236}">
                  <a16:creationId xmlns:a16="http://schemas.microsoft.com/office/drawing/2014/main" id="{43A9FB96-8B7D-460D-98A7-A3D6453A119C}"/>
                </a:ext>
              </a:extLst>
            </p:cNvPr>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206" name="Picture 3">
              <a:extLst>
                <a:ext uri="{FF2B5EF4-FFF2-40B4-BE49-F238E27FC236}">
                  <a16:creationId xmlns:a16="http://schemas.microsoft.com/office/drawing/2014/main" id="{610EC006-1193-4D22-8D9E-52F82A319FA1}"/>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7" name="Picture 4">
              <a:extLst>
                <a:ext uri="{FF2B5EF4-FFF2-40B4-BE49-F238E27FC236}">
                  <a16:creationId xmlns:a16="http://schemas.microsoft.com/office/drawing/2014/main" id="{22E67A9F-ED8E-4529-AA31-D1AFF6D2B530}"/>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08" name="Groep 207">
              <a:extLst>
                <a:ext uri="{FF2B5EF4-FFF2-40B4-BE49-F238E27FC236}">
                  <a16:creationId xmlns:a16="http://schemas.microsoft.com/office/drawing/2014/main" id="{F2CE8BD0-D78D-48AC-B9D2-6A5C3B976094}"/>
                </a:ext>
              </a:extLst>
            </p:cNvPr>
            <p:cNvGrpSpPr/>
            <p:nvPr userDrawn="1"/>
          </p:nvGrpSpPr>
          <p:grpSpPr>
            <a:xfrm>
              <a:off x="-2098870" y="523279"/>
              <a:ext cx="435437" cy="427699"/>
              <a:chOff x="-1085063" y="758027"/>
              <a:chExt cx="633800" cy="622540"/>
            </a:xfrm>
          </p:grpSpPr>
          <p:sp>
            <p:nvSpPr>
              <p:cNvPr id="249" name="Afgeronde rechthoek 133">
                <a:extLst>
                  <a:ext uri="{FF2B5EF4-FFF2-40B4-BE49-F238E27FC236}">
                    <a16:creationId xmlns:a16="http://schemas.microsoft.com/office/drawing/2014/main" id="{057F74A0-D0F1-4154-BB9E-B3BC93094A33}"/>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250" name="Groep 249">
                <a:extLst>
                  <a:ext uri="{FF2B5EF4-FFF2-40B4-BE49-F238E27FC236}">
                    <a16:creationId xmlns:a16="http://schemas.microsoft.com/office/drawing/2014/main" id="{675AD16E-176C-4714-AC5D-8AA5C2F7163B}"/>
                  </a:ext>
                </a:extLst>
              </p:cNvPr>
              <p:cNvGrpSpPr/>
              <p:nvPr userDrawn="1"/>
            </p:nvGrpSpPr>
            <p:grpSpPr>
              <a:xfrm>
                <a:off x="-977746" y="864082"/>
                <a:ext cx="419166" cy="410430"/>
                <a:chOff x="6366933" y="309013"/>
                <a:chExt cx="1901295" cy="1861668"/>
              </a:xfrm>
              <a:solidFill>
                <a:schemeClr val="tx1"/>
              </a:solidFill>
            </p:grpSpPr>
            <p:sp>
              <p:nvSpPr>
                <p:cNvPr id="251" name="Rechthoek 250">
                  <a:extLst>
                    <a:ext uri="{FF2B5EF4-FFF2-40B4-BE49-F238E27FC236}">
                      <a16:creationId xmlns:a16="http://schemas.microsoft.com/office/drawing/2014/main" id="{20B4E5E5-186E-4A57-B122-14D9A3D2090C}"/>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2" name="Rechthoek 251">
                  <a:extLst>
                    <a:ext uri="{FF2B5EF4-FFF2-40B4-BE49-F238E27FC236}">
                      <a16:creationId xmlns:a16="http://schemas.microsoft.com/office/drawing/2014/main" id="{C328DB2F-BE4F-446E-B3BF-3474DDDF7369}"/>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3" name="Rechthoek 252">
                  <a:extLst>
                    <a:ext uri="{FF2B5EF4-FFF2-40B4-BE49-F238E27FC236}">
                      <a16:creationId xmlns:a16="http://schemas.microsoft.com/office/drawing/2014/main" id="{0BDD353E-A7D0-43BC-B246-2EA8D035354D}"/>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4" name="Rechthoek 253">
                  <a:extLst>
                    <a:ext uri="{FF2B5EF4-FFF2-40B4-BE49-F238E27FC236}">
                      <a16:creationId xmlns:a16="http://schemas.microsoft.com/office/drawing/2014/main" id="{31E3E667-20CA-43BF-9985-142DF1BA3C89}"/>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5" name="Rechthoek 254">
                  <a:extLst>
                    <a:ext uri="{FF2B5EF4-FFF2-40B4-BE49-F238E27FC236}">
                      <a16:creationId xmlns:a16="http://schemas.microsoft.com/office/drawing/2014/main" id="{3E6BA722-3FD0-4B4B-975E-5901D54B1024}"/>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6" name="Rechthoek 255">
                  <a:extLst>
                    <a:ext uri="{FF2B5EF4-FFF2-40B4-BE49-F238E27FC236}">
                      <a16:creationId xmlns:a16="http://schemas.microsoft.com/office/drawing/2014/main" id="{8EA8A461-EB78-419A-B405-F0C3203E8CB3}"/>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7" name="Rechthoek 256">
                  <a:extLst>
                    <a:ext uri="{FF2B5EF4-FFF2-40B4-BE49-F238E27FC236}">
                      <a16:creationId xmlns:a16="http://schemas.microsoft.com/office/drawing/2014/main" id="{A47A76A1-D80B-451E-BE3D-CB3FAA4807A6}"/>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8" name="Rechthoek 257">
                  <a:extLst>
                    <a:ext uri="{FF2B5EF4-FFF2-40B4-BE49-F238E27FC236}">
                      <a16:creationId xmlns:a16="http://schemas.microsoft.com/office/drawing/2014/main" id="{0DD87204-AEC1-43D1-B18A-2D54B7129735}"/>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9" name="Rechthoek 258">
                  <a:extLst>
                    <a:ext uri="{FF2B5EF4-FFF2-40B4-BE49-F238E27FC236}">
                      <a16:creationId xmlns:a16="http://schemas.microsoft.com/office/drawing/2014/main" id="{3E97A309-C26D-4ED4-8A8C-4E75120F17D0}"/>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60" name="Rechthoek 259">
                  <a:extLst>
                    <a:ext uri="{FF2B5EF4-FFF2-40B4-BE49-F238E27FC236}">
                      <a16:creationId xmlns:a16="http://schemas.microsoft.com/office/drawing/2014/main" id="{E76B1E9C-EE62-4899-945B-DE147EC8E87E}"/>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61" name="Vrije vorm 145">
                  <a:extLst>
                    <a:ext uri="{FF2B5EF4-FFF2-40B4-BE49-F238E27FC236}">
                      <a16:creationId xmlns:a16="http://schemas.microsoft.com/office/drawing/2014/main" id="{A39749A6-6249-4180-A5B4-D056207B766C}"/>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209" name="Groep 208">
              <a:extLst>
                <a:ext uri="{FF2B5EF4-FFF2-40B4-BE49-F238E27FC236}">
                  <a16:creationId xmlns:a16="http://schemas.microsoft.com/office/drawing/2014/main" id="{4C6F4EAD-137C-4F28-B613-1E2389BB5A23}"/>
                </a:ext>
              </a:extLst>
            </p:cNvPr>
            <p:cNvGrpSpPr/>
            <p:nvPr userDrawn="1"/>
          </p:nvGrpSpPr>
          <p:grpSpPr>
            <a:xfrm>
              <a:off x="-2095303" y="1071657"/>
              <a:ext cx="435437" cy="427699"/>
              <a:chOff x="-1845083" y="758027"/>
              <a:chExt cx="633800" cy="622540"/>
            </a:xfrm>
          </p:grpSpPr>
          <p:sp>
            <p:nvSpPr>
              <p:cNvPr id="236" name="Afgeronde rechthoek 120">
                <a:extLst>
                  <a:ext uri="{FF2B5EF4-FFF2-40B4-BE49-F238E27FC236}">
                    <a16:creationId xmlns:a16="http://schemas.microsoft.com/office/drawing/2014/main" id="{ABC9D4DA-23F0-46C5-9991-373C2488B646}"/>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237" name="Groep 236">
                <a:extLst>
                  <a:ext uri="{FF2B5EF4-FFF2-40B4-BE49-F238E27FC236}">
                    <a16:creationId xmlns:a16="http://schemas.microsoft.com/office/drawing/2014/main" id="{49B2B4A6-EDB4-4BD5-9BB4-FD6377784A27}"/>
                  </a:ext>
                </a:extLst>
              </p:cNvPr>
              <p:cNvGrpSpPr/>
              <p:nvPr userDrawn="1"/>
            </p:nvGrpSpPr>
            <p:grpSpPr>
              <a:xfrm>
                <a:off x="-1737766" y="864082"/>
                <a:ext cx="419166" cy="410430"/>
                <a:chOff x="3708400" y="309013"/>
                <a:chExt cx="1901295" cy="1861668"/>
              </a:xfrm>
              <a:solidFill>
                <a:schemeClr val="tx1"/>
              </a:solidFill>
            </p:grpSpPr>
            <p:sp>
              <p:nvSpPr>
                <p:cNvPr id="238" name="Rechthoek 237">
                  <a:extLst>
                    <a:ext uri="{FF2B5EF4-FFF2-40B4-BE49-F238E27FC236}">
                      <a16:creationId xmlns:a16="http://schemas.microsoft.com/office/drawing/2014/main" id="{53D64158-3C12-4631-A43D-D5BB4816FBDC}"/>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9" name="Rechthoek 238">
                  <a:extLst>
                    <a:ext uri="{FF2B5EF4-FFF2-40B4-BE49-F238E27FC236}">
                      <a16:creationId xmlns:a16="http://schemas.microsoft.com/office/drawing/2014/main" id="{B677133F-246F-476B-BA44-7C162899B389}"/>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0" name="Rechthoek 239">
                  <a:extLst>
                    <a:ext uri="{FF2B5EF4-FFF2-40B4-BE49-F238E27FC236}">
                      <a16:creationId xmlns:a16="http://schemas.microsoft.com/office/drawing/2014/main" id="{AF371B08-2169-48DC-87FC-1E74446EC487}"/>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1" name="Rechthoek 240">
                  <a:extLst>
                    <a:ext uri="{FF2B5EF4-FFF2-40B4-BE49-F238E27FC236}">
                      <a16:creationId xmlns:a16="http://schemas.microsoft.com/office/drawing/2014/main" id="{71C1FACD-8EFD-42E7-9BC0-904A010F3658}"/>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2" name="Rechthoek 241">
                  <a:extLst>
                    <a:ext uri="{FF2B5EF4-FFF2-40B4-BE49-F238E27FC236}">
                      <a16:creationId xmlns:a16="http://schemas.microsoft.com/office/drawing/2014/main" id="{0C382542-1386-482F-9AB1-57987706407C}"/>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3" name="Rechthoek 242">
                  <a:extLst>
                    <a:ext uri="{FF2B5EF4-FFF2-40B4-BE49-F238E27FC236}">
                      <a16:creationId xmlns:a16="http://schemas.microsoft.com/office/drawing/2014/main" id="{0F1439A1-2176-49F1-A3A9-EE4C792F424B}"/>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4" name="Rechthoek 243">
                  <a:extLst>
                    <a:ext uri="{FF2B5EF4-FFF2-40B4-BE49-F238E27FC236}">
                      <a16:creationId xmlns:a16="http://schemas.microsoft.com/office/drawing/2014/main" id="{07B30244-F8DD-407A-AEEF-CFE57698A147}"/>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5" name="Rechthoek 244">
                  <a:extLst>
                    <a:ext uri="{FF2B5EF4-FFF2-40B4-BE49-F238E27FC236}">
                      <a16:creationId xmlns:a16="http://schemas.microsoft.com/office/drawing/2014/main" id="{0276CB80-CB70-4ABA-9064-430CE423DA32}"/>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6" name="Rechthoek 245">
                  <a:extLst>
                    <a:ext uri="{FF2B5EF4-FFF2-40B4-BE49-F238E27FC236}">
                      <a16:creationId xmlns:a16="http://schemas.microsoft.com/office/drawing/2014/main" id="{3E2AEE70-7E25-4929-B2C6-AC39082720C2}"/>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7" name="Rechthoek 246">
                  <a:extLst>
                    <a:ext uri="{FF2B5EF4-FFF2-40B4-BE49-F238E27FC236}">
                      <a16:creationId xmlns:a16="http://schemas.microsoft.com/office/drawing/2014/main" id="{D77FBC09-C0CB-4500-AA57-8269AEDB73FB}"/>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8" name="Vrije vorm 132">
                  <a:extLst>
                    <a:ext uri="{FF2B5EF4-FFF2-40B4-BE49-F238E27FC236}">
                      <a16:creationId xmlns:a16="http://schemas.microsoft.com/office/drawing/2014/main" id="{3DFF1050-671A-4D68-BB2F-D2A1BA8306CE}"/>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210" name="Rechte verbindingslijn 209">
              <a:extLst>
                <a:ext uri="{FF2B5EF4-FFF2-40B4-BE49-F238E27FC236}">
                  <a16:creationId xmlns:a16="http://schemas.microsoft.com/office/drawing/2014/main" id="{EC4B8F8E-432F-4A5E-970F-88CA33D2C2B2}"/>
                </a:ext>
              </a:extLst>
            </p:cNvPr>
            <p:cNvCxnSpPr>
              <a:stCxn id="212" idx="2"/>
              <a:endCxn id="236"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11" name="Rechte verbindingslijn 210">
              <a:extLst>
                <a:ext uri="{FF2B5EF4-FFF2-40B4-BE49-F238E27FC236}">
                  <a16:creationId xmlns:a16="http://schemas.microsoft.com/office/drawing/2014/main" id="{D0A39862-EC6D-4E47-9405-BD049DAA97AB}"/>
                </a:ext>
              </a:extLst>
            </p:cNvPr>
            <p:cNvCxnSpPr>
              <a:stCxn id="213" idx="3"/>
              <a:endCxn id="249"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12" name="Ovaal 211">
              <a:extLst>
                <a:ext uri="{FF2B5EF4-FFF2-40B4-BE49-F238E27FC236}">
                  <a16:creationId xmlns:a16="http://schemas.microsoft.com/office/drawing/2014/main" id="{73C1FA09-32F5-4798-9543-26A2636E0B49}"/>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13" name="Ovaal 212">
              <a:extLst>
                <a:ext uri="{FF2B5EF4-FFF2-40B4-BE49-F238E27FC236}">
                  <a16:creationId xmlns:a16="http://schemas.microsoft.com/office/drawing/2014/main" id="{E2FAB600-DBCE-4B56-A8DB-A5FC9893F8C9}"/>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14" name="Textfield placeholder">
              <a:extLst>
                <a:ext uri="{FF2B5EF4-FFF2-40B4-BE49-F238E27FC236}">
                  <a16:creationId xmlns:a16="http://schemas.microsoft.com/office/drawing/2014/main" id="{9BDEE1E5-2711-4A1D-AF98-66006C4897E5}"/>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215" name="Textfield placeholder">
              <a:extLst>
                <a:ext uri="{FF2B5EF4-FFF2-40B4-BE49-F238E27FC236}">
                  <a16:creationId xmlns:a16="http://schemas.microsoft.com/office/drawing/2014/main" id="{F39E803C-A736-4F40-A0A8-BAD606655EF7}"/>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216" name="Ovaal 215">
              <a:extLst>
                <a:ext uri="{FF2B5EF4-FFF2-40B4-BE49-F238E27FC236}">
                  <a16:creationId xmlns:a16="http://schemas.microsoft.com/office/drawing/2014/main" id="{A8B1EA0F-EC1E-410A-9A0D-44986FDE0FFC}"/>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217" name="Ovaal 216">
              <a:extLst>
                <a:ext uri="{FF2B5EF4-FFF2-40B4-BE49-F238E27FC236}">
                  <a16:creationId xmlns:a16="http://schemas.microsoft.com/office/drawing/2014/main" id="{F4133332-FD6D-464F-9F91-2D7C74E5BC87}"/>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218" name="Ovaal 217">
              <a:extLst>
                <a:ext uri="{FF2B5EF4-FFF2-40B4-BE49-F238E27FC236}">
                  <a16:creationId xmlns:a16="http://schemas.microsoft.com/office/drawing/2014/main" id="{68EFC65A-CBF2-454C-B10B-0AF123602640}"/>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219" name="Ovaal 218">
              <a:extLst>
                <a:ext uri="{FF2B5EF4-FFF2-40B4-BE49-F238E27FC236}">
                  <a16:creationId xmlns:a16="http://schemas.microsoft.com/office/drawing/2014/main" id="{6B14F23F-EF6E-443E-8221-681091D5A210}"/>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220" name="Ovaal 219">
              <a:extLst>
                <a:ext uri="{FF2B5EF4-FFF2-40B4-BE49-F238E27FC236}">
                  <a16:creationId xmlns:a16="http://schemas.microsoft.com/office/drawing/2014/main" id="{A9DF95C6-79FF-48B7-9A17-6DAA879007D0}"/>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221" name="Textfield placeholder">
              <a:extLst>
                <a:ext uri="{FF2B5EF4-FFF2-40B4-BE49-F238E27FC236}">
                  <a16:creationId xmlns:a16="http://schemas.microsoft.com/office/drawing/2014/main" id="{13292490-4E2C-40A5-9BDF-49A9576899CA}"/>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22" name="Textfield placeholder">
              <a:extLst>
                <a:ext uri="{FF2B5EF4-FFF2-40B4-BE49-F238E27FC236}">
                  <a16:creationId xmlns:a16="http://schemas.microsoft.com/office/drawing/2014/main" id="{D37A30A6-42CC-4579-989A-39F97AA3F408}"/>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23" name="Textfield placeholder">
              <a:extLst>
                <a:ext uri="{FF2B5EF4-FFF2-40B4-BE49-F238E27FC236}">
                  <a16:creationId xmlns:a16="http://schemas.microsoft.com/office/drawing/2014/main" id="{B9F6ADBC-7D62-4D14-AC9D-CF33EED0A01C}"/>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24" name="Textfield placeholder">
              <a:extLst>
                <a:ext uri="{FF2B5EF4-FFF2-40B4-BE49-F238E27FC236}">
                  <a16:creationId xmlns:a16="http://schemas.microsoft.com/office/drawing/2014/main" id="{B23F86E5-5311-4E42-B648-BC6805ABA2A4}"/>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225" name="Textfield placeholder">
              <a:extLst>
                <a:ext uri="{FF2B5EF4-FFF2-40B4-BE49-F238E27FC236}">
                  <a16:creationId xmlns:a16="http://schemas.microsoft.com/office/drawing/2014/main" id="{2F477FF8-2616-4C0A-B08F-CEEAFF3A1C7B}"/>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26" name="Groep 225">
              <a:extLst>
                <a:ext uri="{FF2B5EF4-FFF2-40B4-BE49-F238E27FC236}">
                  <a16:creationId xmlns:a16="http://schemas.microsoft.com/office/drawing/2014/main" id="{E5540EA9-580E-4564-8470-1FDDD46268E8}"/>
                </a:ext>
              </a:extLst>
            </p:cNvPr>
            <p:cNvGrpSpPr/>
            <p:nvPr userDrawn="1"/>
          </p:nvGrpSpPr>
          <p:grpSpPr>
            <a:xfrm>
              <a:off x="-950342" y="1837957"/>
              <a:ext cx="687412" cy="3758146"/>
              <a:chOff x="-740196" y="1837957"/>
              <a:chExt cx="1374825" cy="3758146"/>
            </a:xfrm>
          </p:grpSpPr>
          <p:sp>
            <p:nvSpPr>
              <p:cNvPr id="227" name="Textfield placeholder">
                <a:extLst>
                  <a:ext uri="{FF2B5EF4-FFF2-40B4-BE49-F238E27FC236}">
                    <a16:creationId xmlns:a16="http://schemas.microsoft.com/office/drawing/2014/main" id="{6B877FFF-E304-4DB6-8F56-32ACDEF46CE5}"/>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28" name="Textfield placeholder">
                <a:extLst>
                  <a:ext uri="{FF2B5EF4-FFF2-40B4-BE49-F238E27FC236}">
                    <a16:creationId xmlns:a16="http://schemas.microsoft.com/office/drawing/2014/main" id="{E4F4A4B0-96A7-4544-B2D2-BAAEE9974378}"/>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29" name="Textfield placeholder">
                <a:extLst>
                  <a:ext uri="{FF2B5EF4-FFF2-40B4-BE49-F238E27FC236}">
                    <a16:creationId xmlns:a16="http://schemas.microsoft.com/office/drawing/2014/main" id="{3CF4D93D-3857-4D76-89C7-1257B51FFE95}"/>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30" name="Textfield placeholder">
                <a:extLst>
                  <a:ext uri="{FF2B5EF4-FFF2-40B4-BE49-F238E27FC236}">
                    <a16:creationId xmlns:a16="http://schemas.microsoft.com/office/drawing/2014/main" id="{A0B75F6E-C75F-442D-95C8-2BD3CC86D444}"/>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231" name="Textfield placeholder">
                <a:extLst>
                  <a:ext uri="{FF2B5EF4-FFF2-40B4-BE49-F238E27FC236}">
                    <a16:creationId xmlns:a16="http://schemas.microsoft.com/office/drawing/2014/main" id="{8500118B-709A-4FE1-B797-9AE06FD59F91}"/>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232" name="Textfield placeholder">
                <a:extLst>
                  <a:ext uri="{FF2B5EF4-FFF2-40B4-BE49-F238E27FC236}">
                    <a16:creationId xmlns:a16="http://schemas.microsoft.com/office/drawing/2014/main" id="{49CE3B45-7ADE-4A2C-BA73-0D4094E47906}"/>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33" name="Textfield placeholder">
                <a:extLst>
                  <a:ext uri="{FF2B5EF4-FFF2-40B4-BE49-F238E27FC236}">
                    <a16:creationId xmlns:a16="http://schemas.microsoft.com/office/drawing/2014/main" id="{9179BDD3-BEEE-4CF4-9DF3-03B9902D934A}"/>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34" name="Textfield placeholder">
                <a:extLst>
                  <a:ext uri="{FF2B5EF4-FFF2-40B4-BE49-F238E27FC236}">
                    <a16:creationId xmlns:a16="http://schemas.microsoft.com/office/drawing/2014/main" id="{01A97E45-1CD7-4FF1-8C53-270B9594B521}"/>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235" name="Textfield placeholder">
                <a:extLst>
                  <a:ext uri="{FF2B5EF4-FFF2-40B4-BE49-F238E27FC236}">
                    <a16:creationId xmlns:a16="http://schemas.microsoft.com/office/drawing/2014/main" id="{BD53674B-FBE4-4B88-AD8F-26BA9FEEA4FC}"/>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grpSp>
        <p:nvGrpSpPr>
          <p:cNvPr id="262" name="Groep 261">
            <a:extLst>
              <a:ext uri="{FF2B5EF4-FFF2-40B4-BE49-F238E27FC236}">
                <a16:creationId xmlns:a16="http://schemas.microsoft.com/office/drawing/2014/main" id="{97CE642F-8439-4C22-AFCB-354C9C3D4B44}"/>
              </a:ext>
            </a:extLst>
          </p:cNvPr>
          <p:cNvGrpSpPr/>
          <p:nvPr userDrawn="1"/>
        </p:nvGrpSpPr>
        <p:grpSpPr>
          <a:xfrm>
            <a:off x="12363871" y="-26002"/>
            <a:ext cx="3064812" cy="4530930"/>
            <a:chOff x="15419739" y="-26002"/>
            <a:chExt cx="3064812" cy="4530930"/>
          </a:xfrm>
        </p:grpSpPr>
        <p:sp>
          <p:nvSpPr>
            <p:cNvPr id="263" name="Tekstvak 33">
              <a:extLst>
                <a:ext uri="{FF2B5EF4-FFF2-40B4-BE49-F238E27FC236}">
                  <a16:creationId xmlns:a16="http://schemas.microsoft.com/office/drawing/2014/main" id="{30C2AE98-196E-4AD7-A7E1-20116671386C}"/>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264" name="Tekstvak 33">
              <a:extLst>
                <a:ext uri="{FF2B5EF4-FFF2-40B4-BE49-F238E27FC236}">
                  <a16:creationId xmlns:a16="http://schemas.microsoft.com/office/drawing/2014/main" id="{31315FA6-03A6-4177-8F08-FF6F3C99EF10}"/>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265" name="Ovaal 264">
              <a:extLst>
                <a:ext uri="{FF2B5EF4-FFF2-40B4-BE49-F238E27FC236}">
                  <a16:creationId xmlns:a16="http://schemas.microsoft.com/office/drawing/2014/main" id="{9668120F-81C8-418F-BB38-B5F203B67F87}"/>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266" name="Ovaal 265">
              <a:extLst>
                <a:ext uri="{FF2B5EF4-FFF2-40B4-BE49-F238E27FC236}">
                  <a16:creationId xmlns:a16="http://schemas.microsoft.com/office/drawing/2014/main" id="{CCE861AD-8C81-48FB-ACB2-A934133302D3}"/>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267" name="Picture 3">
              <a:extLst>
                <a:ext uri="{FF2B5EF4-FFF2-40B4-BE49-F238E27FC236}">
                  <a16:creationId xmlns:a16="http://schemas.microsoft.com/office/drawing/2014/main" id="{759DABC0-A593-45BE-BD57-67809CB928F0}"/>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68" name="Picture 3">
              <a:extLst>
                <a:ext uri="{FF2B5EF4-FFF2-40B4-BE49-F238E27FC236}">
                  <a16:creationId xmlns:a16="http://schemas.microsoft.com/office/drawing/2014/main" id="{B6DA0D88-7544-4277-8460-73A2F1DC22FA}"/>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69" name="Tekstvak 268">
              <a:extLst>
                <a:ext uri="{FF2B5EF4-FFF2-40B4-BE49-F238E27FC236}">
                  <a16:creationId xmlns:a16="http://schemas.microsoft.com/office/drawing/2014/main" id="{2EF96CA6-C30C-45AC-A170-90F1184873F8}"/>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270" name="Rechthoek 269">
              <a:extLst>
                <a:ext uri="{FF2B5EF4-FFF2-40B4-BE49-F238E27FC236}">
                  <a16:creationId xmlns:a16="http://schemas.microsoft.com/office/drawing/2014/main" id="{49D77FF3-0247-4AA5-91B7-EBCCFC5AD5C2}"/>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271" name="Groep 270">
              <a:extLst>
                <a:ext uri="{FF2B5EF4-FFF2-40B4-BE49-F238E27FC236}">
                  <a16:creationId xmlns:a16="http://schemas.microsoft.com/office/drawing/2014/main" id="{413B22E0-EF8E-4789-BC4F-3F9FD16B6125}"/>
                </a:ext>
              </a:extLst>
            </p:cNvPr>
            <p:cNvGrpSpPr/>
            <p:nvPr userDrawn="1"/>
          </p:nvGrpSpPr>
          <p:grpSpPr>
            <a:xfrm>
              <a:off x="15563079" y="358984"/>
              <a:ext cx="2489424" cy="4145944"/>
              <a:chOff x="15563079" y="358984"/>
              <a:chExt cx="2315772" cy="4145944"/>
            </a:xfrm>
          </p:grpSpPr>
          <p:cxnSp>
            <p:nvCxnSpPr>
              <p:cNvPr id="273" name="Rechte verbindingslijn 272">
                <a:extLst>
                  <a:ext uri="{FF2B5EF4-FFF2-40B4-BE49-F238E27FC236}">
                    <a16:creationId xmlns:a16="http://schemas.microsoft.com/office/drawing/2014/main" id="{ED6426FF-A379-4AE6-9357-127B403AAE14}"/>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4" name="Rechte verbindingslijn 273">
                <a:extLst>
                  <a:ext uri="{FF2B5EF4-FFF2-40B4-BE49-F238E27FC236}">
                    <a16:creationId xmlns:a16="http://schemas.microsoft.com/office/drawing/2014/main" id="{6D0CACC0-A765-4871-AE5A-B41E02554D4D}"/>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5" name="Rechte verbindingslijn 274">
                <a:extLst>
                  <a:ext uri="{FF2B5EF4-FFF2-40B4-BE49-F238E27FC236}">
                    <a16:creationId xmlns:a16="http://schemas.microsoft.com/office/drawing/2014/main" id="{1E1BF8FA-304D-450C-9C37-8FBB1F23F7A4}"/>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72" name="Afbeelding 271">
              <a:extLst>
                <a:ext uri="{FF2B5EF4-FFF2-40B4-BE49-F238E27FC236}">
                  <a16:creationId xmlns:a16="http://schemas.microsoft.com/office/drawing/2014/main" id="{3E6E2849-9F60-4ECE-A432-B0BBA4C0035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410174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Alleen tekst">
    <p:spTree>
      <p:nvGrpSpPr>
        <p:cNvPr id="1" name=""/>
        <p:cNvGrpSpPr/>
        <p:nvPr/>
      </p:nvGrpSpPr>
      <p:grpSpPr>
        <a:xfrm>
          <a:off x="0" y="0"/>
          <a:ext cx="0" cy="0"/>
          <a:chOff x="0" y="0"/>
          <a:chExt cx="0" cy="0"/>
        </a:xfrm>
      </p:grpSpPr>
      <p:sp>
        <p:nvSpPr>
          <p:cNvPr id="72" name="Afgeronde rechthoek 7"/>
          <p:cNvSpPr/>
          <p:nvPr userDrawn="1"/>
        </p:nvSpPr>
        <p:spPr>
          <a:xfrm>
            <a:off x="0" y="0"/>
            <a:ext cx="12195175" cy="6858000"/>
          </a:xfrm>
          <a:prstGeom prst="roundRect">
            <a:avLst>
              <a:gd name="adj" fmla="val 13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dirty="0">
              <a:latin typeface="Helvetica" pitchFamily="34" charset="0"/>
            </a:endParaRPr>
          </a:p>
        </p:txBody>
      </p:sp>
      <p:sp>
        <p:nvSpPr>
          <p:cNvPr id="74" name="Title 1"/>
          <p:cNvSpPr>
            <a:spLocks noGrp="1"/>
          </p:cNvSpPr>
          <p:nvPr>
            <p:ph type="title" hasCustomPrompt="1"/>
          </p:nvPr>
        </p:nvSpPr>
        <p:spPr>
          <a:xfrm>
            <a:off x="265115" y="333378"/>
            <a:ext cx="11665409" cy="936625"/>
          </a:xfrm>
          <a:prstGeom prst="rect">
            <a:avLst/>
          </a:prstGeom>
        </p:spPr>
        <p:txBody>
          <a:bodyPr/>
          <a:lstStyle>
            <a:lvl1pPr>
              <a:defRPr b="1" i="0">
                <a:ln>
                  <a:noFill/>
                </a:ln>
                <a:solidFill>
                  <a:schemeClr val="bg1"/>
                </a:solidFill>
                <a:latin typeface="Futura Std Book" charset="0"/>
                <a:ea typeface="Futura Std Book" charset="0"/>
                <a:cs typeface="Futura Std Book" charset="0"/>
              </a:defRPr>
            </a:lvl1pPr>
          </a:lstStyle>
          <a:p>
            <a:r>
              <a:rPr lang="en-US" dirty="0"/>
              <a:t>WHY</a:t>
            </a:r>
            <a:br>
              <a:rPr lang="en-US" dirty="0"/>
            </a:br>
            <a:r>
              <a:rPr lang="en-US" dirty="0"/>
              <a:t>ROTTERDAM?</a:t>
            </a:r>
            <a:endParaRPr lang="nl-NL" dirty="0"/>
          </a:p>
        </p:txBody>
      </p:sp>
      <p:pic>
        <p:nvPicPr>
          <p:cNvPr id="5" name="Picture 4" descr="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16636" y="6273158"/>
            <a:ext cx="1113887" cy="324493"/>
          </a:xfrm>
          <a:prstGeom prst="rect">
            <a:avLst/>
          </a:prstGeom>
        </p:spPr>
      </p:pic>
    </p:spTree>
    <p:extLst>
      <p:ext uri="{BB962C8B-B14F-4D97-AF65-F5344CB8AC3E}">
        <p14:creationId xmlns:p14="http://schemas.microsoft.com/office/powerpoint/2010/main" val="3751059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0_Alleen tekst">
    <p:spTree>
      <p:nvGrpSpPr>
        <p:cNvPr id="1" name=""/>
        <p:cNvGrpSpPr/>
        <p:nvPr/>
      </p:nvGrpSpPr>
      <p:grpSpPr>
        <a:xfrm>
          <a:off x="0" y="0"/>
          <a:ext cx="0" cy="0"/>
          <a:chOff x="0" y="0"/>
          <a:chExt cx="0" cy="0"/>
        </a:xfrm>
      </p:grpSpPr>
      <p:sp>
        <p:nvSpPr>
          <p:cNvPr id="72" name="Afgeronde rechthoek 7"/>
          <p:cNvSpPr/>
          <p:nvPr userDrawn="1"/>
        </p:nvSpPr>
        <p:spPr>
          <a:xfrm>
            <a:off x="0" y="0"/>
            <a:ext cx="12195175" cy="6858000"/>
          </a:xfrm>
          <a:prstGeom prst="roundRect">
            <a:avLst>
              <a:gd name="adj" fmla="val 138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dirty="0">
              <a:latin typeface="Helvetica" pitchFamily="34" charset="0"/>
            </a:endParaRPr>
          </a:p>
        </p:txBody>
      </p:sp>
      <p:sp>
        <p:nvSpPr>
          <p:cNvPr id="74" name="Title 1"/>
          <p:cNvSpPr>
            <a:spLocks noGrp="1"/>
          </p:cNvSpPr>
          <p:nvPr>
            <p:ph type="title" hasCustomPrompt="1"/>
          </p:nvPr>
        </p:nvSpPr>
        <p:spPr>
          <a:xfrm>
            <a:off x="265115" y="333378"/>
            <a:ext cx="5627688" cy="936625"/>
          </a:xfrm>
          <a:prstGeom prst="rect">
            <a:avLst/>
          </a:prstGeom>
        </p:spPr>
        <p:txBody>
          <a:bodyPr/>
          <a:lstStyle>
            <a:lvl1pPr>
              <a:defRPr b="1" i="0">
                <a:ln>
                  <a:noFill/>
                </a:ln>
                <a:solidFill>
                  <a:schemeClr val="bg1"/>
                </a:solidFill>
                <a:latin typeface="Futura Std Book" charset="0"/>
                <a:ea typeface="Futura Std Book" charset="0"/>
                <a:cs typeface="Futura Std Book" charset="0"/>
              </a:defRPr>
            </a:lvl1pPr>
          </a:lstStyle>
          <a:p>
            <a:r>
              <a:rPr lang="en-US" dirty="0"/>
              <a:t>WHY</a:t>
            </a:r>
            <a:br>
              <a:rPr lang="en-US" dirty="0"/>
            </a:br>
            <a:r>
              <a:rPr lang="en-US" dirty="0"/>
              <a:t>ROTTERDAM?</a:t>
            </a:r>
            <a:endParaRPr lang="nl-NL" dirty="0"/>
          </a:p>
        </p:txBody>
      </p:sp>
      <p:pic>
        <p:nvPicPr>
          <p:cNvPr id="5" name="Picture 4" descr="logo.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16636" y="6273158"/>
            <a:ext cx="1113887" cy="324493"/>
          </a:xfrm>
          <a:prstGeom prst="rect">
            <a:avLst/>
          </a:prstGeom>
        </p:spPr>
      </p:pic>
    </p:spTree>
    <p:extLst>
      <p:ext uri="{BB962C8B-B14F-4D97-AF65-F5344CB8AC3E}">
        <p14:creationId xmlns:p14="http://schemas.microsoft.com/office/powerpoint/2010/main" val="587811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9_Alleen tekst">
    <p:spTree>
      <p:nvGrpSpPr>
        <p:cNvPr id="1" name=""/>
        <p:cNvGrpSpPr/>
        <p:nvPr/>
      </p:nvGrpSpPr>
      <p:grpSpPr>
        <a:xfrm>
          <a:off x="0" y="0"/>
          <a:ext cx="0" cy="0"/>
          <a:chOff x="0" y="0"/>
          <a:chExt cx="0" cy="0"/>
        </a:xfrm>
      </p:grpSpPr>
      <p:sp>
        <p:nvSpPr>
          <p:cNvPr id="77" name="Round Same Side Corner Rectangle 76"/>
          <p:cNvSpPr/>
          <p:nvPr userDrawn="1"/>
        </p:nvSpPr>
        <p:spPr>
          <a:xfrm rot="16200000">
            <a:off x="-380205" y="380209"/>
            <a:ext cx="6858003" cy="6097588"/>
          </a:xfrm>
          <a:prstGeom prst="round2SameRect">
            <a:avLst>
              <a:gd name="adj1" fmla="val 1437"/>
              <a:gd name="adj2" fmla="val 0"/>
            </a:avLst>
          </a:prstGeom>
          <a:blipFill dpi="0" rotWithShape="0">
            <a:blip r:embed="rId2"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
        <p:nvSpPr>
          <p:cNvPr id="3" name="Round Same Side Corner Rectangle 2"/>
          <p:cNvSpPr/>
          <p:nvPr userDrawn="1"/>
        </p:nvSpPr>
        <p:spPr>
          <a:xfrm rot="16200000" flipV="1">
            <a:off x="5717381" y="380207"/>
            <a:ext cx="6858003" cy="6097588"/>
          </a:xfrm>
          <a:prstGeom prst="round2SameRect">
            <a:avLst>
              <a:gd name="adj1" fmla="val 1437"/>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
        <p:nvSpPr>
          <p:cNvPr id="8" name="Title 1"/>
          <p:cNvSpPr>
            <a:spLocks noGrp="1"/>
          </p:cNvSpPr>
          <p:nvPr>
            <p:ph type="title" hasCustomPrompt="1"/>
          </p:nvPr>
        </p:nvSpPr>
        <p:spPr>
          <a:xfrm>
            <a:off x="6313488" y="345019"/>
            <a:ext cx="5627688" cy="935039"/>
          </a:xfrm>
          <a:prstGeom prst="rect">
            <a:avLst/>
          </a:prstGeom>
        </p:spPr>
        <p:txBody>
          <a:bodyPr/>
          <a:lstStyle>
            <a:lvl1pPr>
              <a:defRPr b="1" i="0">
                <a:ln>
                  <a:noFill/>
                </a:ln>
                <a:solidFill>
                  <a:schemeClr val="bg1"/>
                </a:solidFill>
                <a:latin typeface="Futura Std Book" charset="0"/>
                <a:ea typeface="Futura Std Book" charset="0"/>
                <a:cs typeface="Futura Std Book" charset="0"/>
              </a:defRPr>
            </a:lvl1pPr>
          </a:lstStyle>
          <a:p>
            <a:r>
              <a:rPr lang="en-US" dirty="0"/>
              <a:t>WHY</a:t>
            </a:r>
            <a:br>
              <a:rPr lang="en-US" dirty="0"/>
            </a:br>
            <a:r>
              <a:rPr lang="en-US" dirty="0"/>
              <a:t>ROTTERDAM?</a:t>
            </a:r>
            <a:endParaRPr lang="nl-NL" dirty="0"/>
          </a:p>
        </p:txBody>
      </p:sp>
      <p:sp>
        <p:nvSpPr>
          <p:cNvPr id="9" name="Text Placeholder 4"/>
          <p:cNvSpPr>
            <a:spLocks noGrp="1"/>
          </p:cNvSpPr>
          <p:nvPr>
            <p:ph type="body" sz="quarter" idx="10"/>
          </p:nvPr>
        </p:nvSpPr>
        <p:spPr>
          <a:xfrm>
            <a:off x="6313488" y="1646767"/>
            <a:ext cx="5627688" cy="4962524"/>
          </a:xfrm>
          <a:prstGeom prst="rect">
            <a:avLst/>
          </a:prstGeom>
        </p:spPr>
        <p:txBody>
          <a:bodyPr/>
          <a:lstStyle>
            <a:lvl1pPr>
              <a:defRPr sz="2000" b="0" i="0">
                <a:ln>
                  <a:noFill/>
                </a:ln>
                <a:solidFill>
                  <a:schemeClr val="bg1"/>
                </a:solidFill>
                <a:latin typeface="Futura Std Medium" charset="0"/>
                <a:ea typeface="Futura Std Medium" charset="0"/>
                <a:cs typeface="Futura Std Medium" charset="0"/>
              </a:defRPr>
            </a:lvl1pPr>
            <a:lvl2pPr>
              <a:defRPr sz="2000" b="0" i="0">
                <a:ln>
                  <a:noFill/>
                </a:ln>
                <a:solidFill>
                  <a:schemeClr val="bg1"/>
                </a:solidFill>
                <a:latin typeface="Futura Std Medium" charset="0"/>
                <a:ea typeface="Futura Std Medium" charset="0"/>
                <a:cs typeface="Futura Std Medium" charset="0"/>
              </a:defRPr>
            </a:lvl2pPr>
            <a:lvl3pPr>
              <a:defRPr sz="2000" b="0" i="0">
                <a:ln>
                  <a:noFill/>
                </a:ln>
                <a:solidFill>
                  <a:schemeClr val="bg1"/>
                </a:solidFill>
                <a:latin typeface="Futura Std Medium" charset="0"/>
                <a:ea typeface="Futura Std Medium" charset="0"/>
                <a:cs typeface="Futura Std Medium" charset="0"/>
              </a:defRPr>
            </a:lvl3pPr>
            <a:lvl4pPr>
              <a:defRPr sz="2000" b="0" i="0">
                <a:ln>
                  <a:noFill/>
                </a:ln>
                <a:solidFill>
                  <a:schemeClr val="bg1"/>
                </a:solidFill>
                <a:latin typeface="Futura Std Medium" charset="0"/>
                <a:ea typeface="Futura Std Medium" charset="0"/>
                <a:cs typeface="Futura Std Medium" charset="0"/>
              </a:defRPr>
            </a:lvl4pPr>
            <a:lvl5pPr>
              <a:defRPr sz="2000" b="0" i="0">
                <a:ln>
                  <a:noFill/>
                </a:ln>
                <a:solidFill>
                  <a:schemeClr val="bg1"/>
                </a:solidFill>
                <a:latin typeface="Futura Std Medium" charset="0"/>
                <a:ea typeface="Futura Std Medium" charset="0"/>
                <a:cs typeface="Futura Std Medium"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
        <p:nvSpPr>
          <p:cNvPr id="10" name="Rectangle 9"/>
          <p:cNvSpPr/>
          <p:nvPr userDrawn="1"/>
        </p:nvSpPr>
        <p:spPr>
          <a:xfrm>
            <a:off x="6313490" y="1341440"/>
            <a:ext cx="5881687" cy="829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descr="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16636" y="6273158"/>
            <a:ext cx="1113887" cy="324493"/>
          </a:xfrm>
          <a:prstGeom prst="rect">
            <a:avLst/>
          </a:prstGeom>
        </p:spPr>
      </p:pic>
    </p:spTree>
    <p:extLst>
      <p:ext uri="{BB962C8B-B14F-4D97-AF65-F5344CB8AC3E}">
        <p14:creationId xmlns:p14="http://schemas.microsoft.com/office/powerpoint/2010/main" val="4077740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Alleen tekst">
    <p:spTree>
      <p:nvGrpSpPr>
        <p:cNvPr id="1" name=""/>
        <p:cNvGrpSpPr/>
        <p:nvPr/>
      </p:nvGrpSpPr>
      <p:grpSpPr>
        <a:xfrm>
          <a:off x="0" y="0"/>
          <a:ext cx="0" cy="0"/>
          <a:chOff x="0" y="0"/>
          <a:chExt cx="0" cy="0"/>
        </a:xfrm>
      </p:grpSpPr>
      <p:sp>
        <p:nvSpPr>
          <p:cNvPr id="77" name="Round Same Side Corner Rectangle 76"/>
          <p:cNvSpPr/>
          <p:nvPr userDrawn="1"/>
        </p:nvSpPr>
        <p:spPr>
          <a:xfrm rot="16200000" flipV="1">
            <a:off x="5717381" y="380207"/>
            <a:ext cx="6858003" cy="6097588"/>
          </a:xfrm>
          <a:prstGeom prst="round2SameRect">
            <a:avLst>
              <a:gd name="adj1" fmla="val 1437"/>
              <a:gd name="adj2" fmla="val 0"/>
            </a:avLst>
          </a:prstGeom>
          <a:blipFill dpi="0" rotWithShape="0">
            <a:blip r:embed="rId2"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
        <p:nvSpPr>
          <p:cNvPr id="3" name="Round Same Side Corner Rectangle 2"/>
          <p:cNvSpPr/>
          <p:nvPr userDrawn="1"/>
        </p:nvSpPr>
        <p:spPr>
          <a:xfrm rot="16200000">
            <a:off x="-380206" y="380206"/>
            <a:ext cx="6858000" cy="6097588"/>
          </a:xfrm>
          <a:prstGeom prst="round2SameRect">
            <a:avLst>
              <a:gd name="adj1" fmla="val 1437"/>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
        <p:nvSpPr>
          <p:cNvPr id="2" name="Title 1"/>
          <p:cNvSpPr>
            <a:spLocks noGrp="1"/>
          </p:cNvSpPr>
          <p:nvPr>
            <p:ph type="title" hasCustomPrompt="1"/>
          </p:nvPr>
        </p:nvSpPr>
        <p:spPr>
          <a:xfrm>
            <a:off x="265115" y="333378"/>
            <a:ext cx="5627688" cy="935039"/>
          </a:xfrm>
          <a:prstGeom prst="rect">
            <a:avLst/>
          </a:prstGeom>
        </p:spPr>
        <p:txBody>
          <a:bodyPr/>
          <a:lstStyle>
            <a:lvl1pPr>
              <a:defRPr b="1" i="0">
                <a:ln>
                  <a:noFill/>
                </a:ln>
                <a:solidFill>
                  <a:schemeClr val="bg1"/>
                </a:solidFill>
                <a:latin typeface="Futura Std Book" charset="0"/>
                <a:ea typeface="Futura Std Book" charset="0"/>
                <a:cs typeface="Futura Std Book" charset="0"/>
              </a:defRPr>
            </a:lvl1pPr>
          </a:lstStyle>
          <a:p>
            <a:r>
              <a:rPr lang="en-US" dirty="0"/>
              <a:t>WHY</a:t>
            </a:r>
            <a:br>
              <a:rPr lang="en-US" dirty="0"/>
            </a:br>
            <a:r>
              <a:rPr lang="en-US" dirty="0"/>
              <a:t>ROTTERDAM?</a:t>
            </a:r>
            <a:endParaRPr lang="nl-NL" dirty="0"/>
          </a:p>
        </p:txBody>
      </p:sp>
      <p:sp>
        <p:nvSpPr>
          <p:cNvPr id="5" name="Text Placeholder 4"/>
          <p:cNvSpPr>
            <a:spLocks noGrp="1"/>
          </p:cNvSpPr>
          <p:nvPr>
            <p:ph type="body" sz="quarter" idx="10"/>
          </p:nvPr>
        </p:nvSpPr>
        <p:spPr>
          <a:xfrm>
            <a:off x="265115" y="1635127"/>
            <a:ext cx="5627688" cy="4962524"/>
          </a:xfrm>
          <a:prstGeom prst="rect">
            <a:avLst/>
          </a:prstGeom>
        </p:spPr>
        <p:txBody>
          <a:bodyPr/>
          <a:lstStyle>
            <a:lvl1pPr>
              <a:defRPr sz="2000" b="0" i="0">
                <a:ln>
                  <a:noFill/>
                </a:ln>
                <a:solidFill>
                  <a:schemeClr val="bg1"/>
                </a:solidFill>
                <a:latin typeface="Futura Std Medium" charset="0"/>
                <a:ea typeface="Futura Std Medium" charset="0"/>
                <a:cs typeface="Futura Std Medium" charset="0"/>
              </a:defRPr>
            </a:lvl1pPr>
            <a:lvl2pPr>
              <a:defRPr sz="2000" b="0" i="0">
                <a:ln>
                  <a:noFill/>
                </a:ln>
                <a:solidFill>
                  <a:schemeClr val="bg1"/>
                </a:solidFill>
                <a:latin typeface="Futura Std Medium" charset="0"/>
                <a:ea typeface="Futura Std Medium" charset="0"/>
                <a:cs typeface="Futura Std Medium" charset="0"/>
              </a:defRPr>
            </a:lvl2pPr>
            <a:lvl3pPr>
              <a:defRPr sz="2000" b="0" i="0">
                <a:ln>
                  <a:noFill/>
                </a:ln>
                <a:solidFill>
                  <a:schemeClr val="bg1"/>
                </a:solidFill>
                <a:latin typeface="Futura Std Medium" charset="0"/>
                <a:ea typeface="Futura Std Medium" charset="0"/>
                <a:cs typeface="Futura Std Medium" charset="0"/>
              </a:defRPr>
            </a:lvl3pPr>
            <a:lvl4pPr>
              <a:defRPr sz="2000" b="0" i="0">
                <a:ln>
                  <a:noFill/>
                </a:ln>
                <a:solidFill>
                  <a:schemeClr val="bg1"/>
                </a:solidFill>
                <a:latin typeface="Futura Std Medium" charset="0"/>
                <a:ea typeface="Futura Std Medium" charset="0"/>
                <a:cs typeface="Futura Std Medium" charset="0"/>
              </a:defRPr>
            </a:lvl4pPr>
            <a:lvl5pPr>
              <a:defRPr sz="2000" b="0" i="0">
                <a:ln>
                  <a:noFill/>
                </a:ln>
                <a:solidFill>
                  <a:schemeClr val="bg1"/>
                </a:solidFill>
                <a:latin typeface="Futura Std Medium" charset="0"/>
                <a:ea typeface="Futura Std Medium" charset="0"/>
                <a:cs typeface="Futura Std Medium"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
        <p:nvSpPr>
          <p:cNvPr id="8" name="Rectangle 7"/>
          <p:cNvSpPr/>
          <p:nvPr userDrawn="1"/>
        </p:nvSpPr>
        <p:spPr>
          <a:xfrm>
            <a:off x="265115" y="1341437"/>
            <a:ext cx="5832474" cy="713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8" descr="logo.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16636" y="6273158"/>
            <a:ext cx="1113887" cy="324493"/>
          </a:xfrm>
          <a:prstGeom prst="rect">
            <a:avLst/>
          </a:prstGeom>
        </p:spPr>
      </p:pic>
    </p:spTree>
    <p:extLst>
      <p:ext uri="{BB962C8B-B14F-4D97-AF65-F5344CB8AC3E}">
        <p14:creationId xmlns:p14="http://schemas.microsoft.com/office/powerpoint/2010/main" val="655883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GROTE FOTO">
    <p:spTree>
      <p:nvGrpSpPr>
        <p:cNvPr id="1" name=""/>
        <p:cNvGrpSpPr/>
        <p:nvPr/>
      </p:nvGrpSpPr>
      <p:grpSpPr>
        <a:xfrm>
          <a:off x="0" y="0"/>
          <a:ext cx="0" cy="0"/>
          <a:chOff x="0" y="0"/>
          <a:chExt cx="0" cy="0"/>
        </a:xfrm>
      </p:grpSpPr>
      <p:sp>
        <p:nvSpPr>
          <p:cNvPr id="3" name="Rechthoek 2"/>
          <p:cNvSpPr/>
          <p:nvPr userDrawn="1"/>
        </p:nvSpPr>
        <p:spPr>
          <a:xfrm>
            <a:off x="987" y="0"/>
            <a:ext cx="1219320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 name="Tijdelijke aanduiding voor afbeelding 2" hidden="1"/>
          <p:cNvSpPr>
            <a:spLocks noGrp="1"/>
          </p:cNvSpPr>
          <p:nvPr>
            <p:ph type="pic" idx="13"/>
          </p:nvPr>
        </p:nvSpPr>
        <p:spPr>
          <a:xfrm>
            <a:off x="0" y="0"/>
            <a:ext cx="12195175" cy="6858000"/>
          </a:xfrm>
          <a:solidFill>
            <a:schemeClr val="accent2"/>
          </a:solidFill>
        </p:spPr>
        <p:txBody>
          <a:bodyPr anchor="ctr"/>
          <a:lstStyle>
            <a:lvl1pPr marL="0" indent="0" algn="ctr">
              <a:buNone/>
              <a:defRPr sz="1200" b="0">
                <a:solidFill>
                  <a:schemeClr val="tx2"/>
                </a:solidFill>
              </a:defRPr>
            </a:lvl1pPr>
            <a:lvl2pPr marL="457051" indent="0">
              <a:buNone/>
              <a:defRPr sz="2799"/>
            </a:lvl2pPr>
            <a:lvl3pPr marL="914104" indent="0">
              <a:buNone/>
              <a:defRPr sz="2399"/>
            </a:lvl3pPr>
            <a:lvl4pPr marL="1371155" indent="0">
              <a:buNone/>
              <a:defRPr sz="1999"/>
            </a:lvl4pPr>
            <a:lvl5pPr marL="1828205" indent="0">
              <a:buNone/>
              <a:defRPr sz="1999"/>
            </a:lvl5pPr>
            <a:lvl6pPr marL="2285258" indent="0">
              <a:buNone/>
              <a:defRPr sz="1999"/>
            </a:lvl6pPr>
            <a:lvl7pPr marL="2742309" indent="0">
              <a:buNone/>
              <a:defRPr sz="1999"/>
            </a:lvl7pPr>
            <a:lvl8pPr marL="3199360" indent="0">
              <a:buNone/>
              <a:defRPr sz="1999"/>
            </a:lvl8pPr>
            <a:lvl9pPr marL="3656411" indent="0">
              <a:buNone/>
              <a:defRPr sz="1999"/>
            </a:lvl9pPr>
          </a:lstStyle>
          <a:p>
            <a:endParaRPr lang="en-GB"/>
          </a:p>
        </p:txBody>
      </p:sp>
      <p:sp>
        <p:nvSpPr>
          <p:cNvPr id="2" name="Titel 1"/>
          <p:cNvSpPr>
            <a:spLocks noGrp="1"/>
          </p:cNvSpPr>
          <p:nvPr>
            <p:ph type="title"/>
          </p:nvPr>
        </p:nvSpPr>
        <p:spPr/>
        <p:txBody>
          <a:bodyPr/>
          <a:lstStyle/>
          <a:p>
            <a:r>
              <a:rPr lang="nl-NL" dirty="0"/>
              <a:t>Klik om de stijl te bewerken</a:t>
            </a:r>
            <a:endParaRPr lang="en-GB" dirty="0"/>
          </a:p>
        </p:txBody>
      </p:sp>
      <p:sp>
        <p:nvSpPr>
          <p:cNvPr id="4" name="Tijdelijke aanduiding voor datum 3"/>
          <p:cNvSpPr>
            <a:spLocks noGrp="1"/>
          </p:cNvSpPr>
          <p:nvPr>
            <p:ph type="dt" sz="half" idx="10"/>
          </p:nvPr>
        </p:nvSpPr>
        <p:spPr>
          <a:xfrm>
            <a:off x="1468584" y="6236032"/>
            <a:ext cx="2744788" cy="365125"/>
          </a:xfrm>
        </p:spPr>
        <p:txBody>
          <a:bodyPr/>
          <a:lstStyle/>
          <a:p>
            <a:fld id="{FDEDFB2B-DFF6-4328-825E-22AC24254A4C}" type="datetime4">
              <a:rPr lang="en-GB" smtClean="0"/>
              <a:t>29 May 2020</a:t>
            </a:fld>
            <a:endParaRPr lang="en-GB"/>
          </a:p>
        </p:txBody>
      </p:sp>
      <p:sp>
        <p:nvSpPr>
          <p:cNvPr id="5" name="Tijdelijke aanduiding voor voettekst 4"/>
          <p:cNvSpPr>
            <a:spLocks noGrp="1"/>
          </p:cNvSpPr>
          <p:nvPr>
            <p:ph type="ftr" sz="quarter" idx="11"/>
          </p:nvPr>
        </p:nvSpPr>
        <p:spPr>
          <a:xfrm>
            <a:off x="728064" y="6199936"/>
            <a:ext cx="814092" cy="365125"/>
          </a:xfrm>
        </p:spPr>
        <p:txBody>
          <a:bodyPr/>
          <a:lstStyle/>
          <a:p>
            <a:r>
              <a:rPr lang="en-GB"/>
              <a:t>|</a:t>
            </a:r>
          </a:p>
        </p:txBody>
      </p:sp>
      <p:sp>
        <p:nvSpPr>
          <p:cNvPr id="6" name="Tijdelijke aanduiding voor dianummer 5"/>
          <p:cNvSpPr>
            <a:spLocks noGrp="1"/>
          </p:cNvSpPr>
          <p:nvPr>
            <p:ph type="sldNum" sz="quarter" idx="12"/>
          </p:nvPr>
        </p:nvSpPr>
        <p:spPr>
          <a:xfrm>
            <a:off x="621284" y="6236032"/>
            <a:ext cx="540585" cy="365125"/>
          </a:xfrm>
        </p:spPr>
        <p:txBody>
          <a:bodyPr/>
          <a:lstStyle>
            <a:lvl1pPr algn="l">
              <a:defRPr/>
            </a:lvl1pPr>
          </a:lstStyle>
          <a:p>
            <a:fld id="{534B5F9C-CFE5-4EC6-9BBB-664E2F56B033}" type="slidenum">
              <a:rPr lang="en-GB" smtClean="0"/>
              <a:pPr/>
              <a:t>‹nr.›</a:t>
            </a:fld>
            <a:endParaRPr lang="en-GB"/>
          </a:p>
        </p:txBody>
      </p:sp>
      <p:sp>
        <p:nvSpPr>
          <p:cNvPr id="10" name="Tekstvak 9"/>
          <p:cNvSpPr txBox="1"/>
          <p:nvPr userDrawn="1"/>
        </p:nvSpPr>
        <p:spPr>
          <a:xfrm>
            <a:off x="0" y="-521614"/>
            <a:ext cx="3504624" cy="469107"/>
          </a:xfrm>
          <a:prstGeom prst="rect">
            <a:avLst/>
          </a:prstGeom>
          <a:noFill/>
        </p:spPr>
        <p:txBody>
          <a:bodyPr wrap="square" rtlCol="0" anchor="b">
            <a:noAutofit/>
          </a:bodyPr>
          <a:lstStyle/>
          <a:p>
            <a:r>
              <a:rPr lang="nl-NL" sz="1333" b="1" dirty="0">
                <a:solidFill>
                  <a:schemeClr val="accent6"/>
                </a:solidFill>
              </a:rPr>
              <a:t>Afbeelding (XL)</a:t>
            </a:r>
          </a:p>
        </p:txBody>
      </p:sp>
      <p:grpSp>
        <p:nvGrpSpPr>
          <p:cNvPr id="12" name="Groep 11"/>
          <p:cNvGrpSpPr/>
          <p:nvPr userDrawn="1"/>
        </p:nvGrpSpPr>
        <p:grpSpPr>
          <a:xfrm>
            <a:off x="12363871" y="-26003"/>
            <a:ext cx="3064813" cy="4530931"/>
            <a:chOff x="15419739" y="-26002"/>
            <a:chExt cx="3064812" cy="4530930"/>
          </a:xfrm>
        </p:grpSpPr>
        <p:sp>
          <p:nvSpPr>
            <p:cNvPr id="13" name="Tekstvak 33"/>
            <p:cNvSpPr txBox="1"/>
            <p:nvPr userDrawn="1"/>
          </p:nvSpPr>
          <p:spPr>
            <a:xfrm>
              <a:off x="15593550" y="1001585"/>
              <a:ext cx="2285303"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04"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1"/>
                </a:solidFill>
                <a:effectLst/>
                <a:uLnTx/>
                <a:uFillTx/>
                <a:latin typeface="Calibri"/>
                <a:ea typeface="Tahoma" pitchFamily="34" charset="0"/>
                <a:cs typeface="Arial" pitchFamily="34" charset="0"/>
              </a:endParaRPr>
            </a:p>
          </p:txBody>
        </p:sp>
        <p:sp>
          <p:nvSpPr>
            <p:cNvPr id="14" name="Tekstvak 33"/>
            <p:cNvSpPr txBox="1"/>
            <p:nvPr userDrawn="1"/>
          </p:nvSpPr>
          <p:spPr>
            <a:xfrm>
              <a:off x="15593550"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04"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dirty="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dirty="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dirty="0">
                <a:ln>
                  <a:noFill/>
                </a:ln>
                <a:solidFill>
                  <a:schemeClr val="tx2"/>
                </a:solidFill>
                <a:effectLst/>
                <a:uLnTx/>
                <a:uFillTx/>
                <a:latin typeface="Calibri"/>
                <a:ea typeface="Tahoma" pitchFamily="34" charset="0"/>
                <a:cs typeface="Arial" pitchFamily="34" charset="0"/>
              </a:endParaRPr>
            </a:p>
          </p:txBody>
        </p:sp>
        <p:sp>
          <p:nvSpPr>
            <p:cNvPr id="15" name="Ovaal 14"/>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04"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Calibri"/>
                </a:rPr>
                <a:t>1</a:t>
              </a:r>
            </a:p>
          </p:txBody>
        </p:sp>
        <p:sp>
          <p:nvSpPr>
            <p:cNvPr id="16" name="Ovaal 15"/>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04"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Calibri"/>
                </a:rPr>
                <a:t>2</a:t>
              </a:r>
            </a:p>
          </p:txBody>
        </p:sp>
        <p:pic>
          <p:nvPicPr>
            <p:cNvPr id="17"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18"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19" name="Tekstvak 18"/>
            <p:cNvSpPr txBox="1"/>
            <p:nvPr userDrawn="1"/>
          </p:nvSpPr>
          <p:spPr>
            <a:xfrm>
              <a:off x="15673080" y="4023943"/>
              <a:ext cx="779464" cy="254044"/>
            </a:xfrm>
            <a:prstGeom prst="rect">
              <a:avLst/>
            </a:prstGeom>
            <a:noFill/>
          </p:spPr>
          <p:txBody>
            <a:bodyPr wrap="square" rtlCol="0" anchor="ctr">
              <a:spAutoFit/>
            </a:bodyPr>
            <a:lstStyle/>
            <a:p>
              <a:pPr marL="0" marR="0" lvl="0" indent="0" algn="ctr" defTabSz="914104" eaLnBrk="1" fontAlgn="auto" latinLnBrk="0" hangingPunct="1">
                <a:lnSpc>
                  <a:spcPct val="100000"/>
                </a:lnSpc>
                <a:spcBef>
                  <a:spcPts val="0"/>
                </a:spcBef>
                <a:spcAft>
                  <a:spcPts val="0"/>
                </a:spcAft>
                <a:buClrTx/>
                <a:buSzTx/>
                <a:buFontTx/>
                <a:buNone/>
                <a:tabLst/>
                <a:defRPr/>
              </a:pPr>
              <a:r>
                <a:rPr kumimoji="0" lang="en-GB" sz="1051" b="1" i="0" u="none" strike="noStrike" kern="0" cap="none" spc="0" normalizeH="0" baseline="0" noProof="0" dirty="0" err="1">
                  <a:ln>
                    <a:noFill/>
                  </a:ln>
                  <a:solidFill>
                    <a:srgbClr val="005634">
                      <a:lumMod val="25000"/>
                    </a:srgbClr>
                  </a:solidFill>
                  <a:effectLst>
                    <a:outerShdw blurRad="25400" algn="ctr" rotWithShape="0">
                      <a:prstClr val="white"/>
                    </a:outerShdw>
                  </a:effectLst>
                  <a:uLnTx/>
                  <a:uFillTx/>
                </a:rPr>
                <a:t>Invoegen</a:t>
              </a:r>
              <a:endParaRPr kumimoji="0" lang="en-GB" sz="1051" b="1" i="0" u="none" strike="noStrike" kern="0" cap="none" spc="0" normalizeH="0" baseline="0" noProof="0" dirty="0">
                <a:ln>
                  <a:noFill/>
                </a:ln>
                <a:solidFill>
                  <a:srgbClr val="005634">
                    <a:lumMod val="25000"/>
                  </a:srgbClr>
                </a:solidFill>
                <a:effectLst>
                  <a:outerShdw blurRad="25400" algn="ctr" rotWithShape="0">
                    <a:prstClr val="white"/>
                  </a:outerShdw>
                </a:effectLst>
                <a:uLnTx/>
                <a:uFillTx/>
              </a:endParaRPr>
            </a:p>
          </p:txBody>
        </p:sp>
        <p:sp>
          <p:nvSpPr>
            <p:cNvPr id="20" name="Rechthoek 19"/>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dirty="0">
                  <a:solidFill>
                    <a:schemeClr val="tx2"/>
                  </a:solidFill>
                </a:rPr>
                <a:t>AFBEELDING INVOEGEN</a:t>
              </a:r>
            </a:p>
          </p:txBody>
        </p:sp>
        <p:grpSp>
          <p:nvGrpSpPr>
            <p:cNvPr id="21" name="Groep 20"/>
            <p:cNvGrpSpPr/>
            <p:nvPr userDrawn="1"/>
          </p:nvGrpSpPr>
          <p:grpSpPr>
            <a:xfrm>
              <a:off x="15563079" y="358984"/>
              <a:ext cx="2489424" cy="4145944"/>
              <a:chOff x="15563079" y="358984"/>
              <a:chExt cx="2315772" cy="4145944"/>
            </a:xfrm>
          </p:grpSpPr>
          <p:cxnSp>
            <p:nvCxnSpPr>
              <p:cNvPr id="23" name="Rechte verbindingslijn 22"/>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2" name="Afbeelding 2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1807781298"/>
      </p:ext>
    </p:extLst>
  </p:cSld>
  <p:clrMapOvr>
    <a:masterClrMapping/>
  </p:clrMapOvr>
  <mc:AlternateContent xmlns:mc="http://schemas.openxmlformats.org/markup-compatibility/2006" xmlns:p14="http://schemas.microsoft.com/office/powerpoint/2010/main">
    <mc:Choice Requires="p14">
      <p:transition spd="med" p14:dur="700" advClick="0" advTm="0">
        <p:fade/>
      </p:transition>
    </mc:Choice>
    <mc:Fallback xmlns="">
      <p:transition spd="med" advClick="0" advTm="0">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6_Alleen tekst">
    <p:spTree>
      <p:nvGrpSpPr>
        <p:cNvPr id="1" name=""/>
        <p:cNvGrpSpPr/>
        <p:nvPr/>
      </p:nvGrpSpPr>
      <p:grpSpPr>
        <a:xfrm>
          <a:off x="0" y="0"/>
          <a:ext cx="0" cy="0"/>
          <a:chOff x="0" y="0"/>
          <a:chExt cx="0" cy="0"/>
        </a:xfrm>
      </p:grpSpPr>
      <p:sp>
        <p:nvSpPr>
          <p:cNvPr id="72" name="Afgeronde rechthoek 7"/>
          <p:cNvSpPr/>
          <p:nvPr userDrawn="1"/>
        </p:nvSpPr>
        <p:spPr>
          <a:xfrm>
            <a:off x="0" y="0"/>
            <a:ext cx="12195175" cy="6858000"/>
          </a:xfrm>
          <a:prstGeom prst="roundRect">
            <a:avLst>
              <a:gd name="adj" fmla="val 1389"/>
            </a:avLst>
          </a:prstGeom>
          <a:solidFill>
            <a:srgbClr val="E9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dirty="0">
              <a:latin typeface="Helvetica" pitchFamily="34" charset="0"/>
            </a:endParaRPr>
          </a:p>
        </p:txBody>
      </p:sp>
      <p:sp>
        <p:nvSpPr>
          <p:cNvPr id="8" name="Title 1"/>
          <p:cNvSpPr>
            <a:spLocks noGrp="1"/>
          </p:cNvSpPr>
          <p:nvPr>
            <p:ph type="title" hasCustomPrompt="1"/>
          </p:nvPr>
        </p:nvSpPr>
        <p:spPr>
          <a:xfrm>
            <a:off x="265115" y="333378"/>
            <a:ext cx="11665409" cy="935039"/>
          </a:xfrm>
          <a:prstGeom prst="rect">
            <a:avLst/>
          </a:prstGeom>
        </p:spPr>
        <p:txBody>
          <a:bodyPr/>
          <a:lstStyle>
            <a:lvl1pPr>
              <a:defRPr b="1" i="0">
                <a:ln>
                  <a:noFill/>
                </a:ln>
                <a:solidFill>
                  <a:schemeClr val="tx2"/>
                </a:solidFill>
                <a:latin typeface="Futura Std Book" charset="0"/>
                <a:ea typeface="Futura Std Book" charset="0"/>
                <a:cs typeface="Futura Std Book" charset="0"/>
              </a:defRPr>
            </a:lvl1pPr>
          </a:lstStyle>
          <a:p>
            <a:r>
              <a:rPr lang="en-US" dirty="0"/>
              <a:t>WHY</a:t>
            </a:r>
            <a:br>
              <a:rPr lang="en-US" dirty="0"/>
            </a:br>
            <a:r>
              <a:rPr lang="en-US" dirty="0"/>
              <a:t>ROTTERDAM?</a:t>
            </a:r>
            <a:endParaRPr lang="nl-NL" dirty="0"/>
          </a:p>
        </p:txBody>
      </p:sp>
      <p:sp>
        <p:nvSpPr>
          <p:cNvPr id="9" name="Rectangle 8"/>
          <p:cNvSpPr/>
          <p:nvPr userDrawn="1"/>
        </p:nvSpPr>
        <p:spPr>
          <a:xfrm>
            <a:off x="265115" y="1341440"/>
            <a:ext cx="11930062" cy="714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10" name="Text Placeholder 4"/>
          <p:cNvSpPr>
            <a:spLocks noGrp="1"/>
          </p:cNvSpPr>
          <p:nvPr>
            <p:ph type="body" sz="quarter" idx="10"/>
          </p:nvPr>
        </p:nvSpPr>
        <p:spPr>
          <a:xfrm>
            <a:off x="264653" y="1635126"/>
            <a:ext cx="11665871" cy="4962525"/>
          </a:xfrm>
          <a:prstGeom prst="rect">
            <a:avLst/>
          </a:prstGeom>
        </p:spPr>
        <p:txBody>
          <a:bodyPr/>
          <a:lstStyle>
            <a:lvl1pPr>
              <a:lnSpc>
                <a:spcPct val="100000"/>
              </a:lnSpc>
              <a:spcBef>
                <a:spcPts val="0"/>
              </a:spcBef>
              <a:spcAft>
                <a:spcPts val="600"/>
              </a:spcAft>
              <a:defRPr sz="2000" b="0" i="0">
                <a:ln>
                  <a:noFill/>
                </a:ln>
                <a:solidFill>
                  <a:schemeClr val="tx2"/>
                </a:solidFill>
                <a:latin typeface="Futura Std Medium" charset="0"/>
                <a:ea typeface="Futura Std Medium" charset="0"/>
                <a:cs typeface="Futura Std Medium" charset="0"/>
              </a:defRPr>
            </a:lvl1pPr>
            <a:lvl2pPr>
              <a:lnSpc>
                <a:spcPct val="100000"/>
              </a:lnSpc>
              <a:spcBef>
                <a:spcPts val="0"/>
              </a:spcBef>
              <a:spcAft>
                <a:spcPts val="600"/>
              </a:spcAft>
              <a:defRPr sz="2000" b="0" i="0">
                <a:ln>
                  <a:noFill/>
                </a:ln>
                <a:solidFill>
                  <a:schemeClr val="tx2"/>
                </a:solidFill>
                <a:latin typeface="Futura Std Medium" charset="0"/>
                <a:ea typeface="Futura Std Medium" charset="0"/>
                <a:cs typeface="Futura Std Medium" charset="0"/>
              </a:defRPr>
            </a:lvl2pPr>
            <a:lvl3pPr>
              <a:lnSpc>
                <a:spcPct val="100000"/>
              </a:lnSpc>
              <a:spcBef>
                <a:spcPts val="0"/>
              </a:spcBef>
              <a:spcAft>
                <a:spcPts val="600"/>
              </a:spcAft>
              <a:defRPr sz="2000" b="0" i="0">
                <a:ln>
                  <a:noFill/>
                </a:ln>
                <a:solidFill>
                  <a:schemeClr val="tx2"/>
                </a:solidFill>
                <a:latin typeface="Futura Std Medium" charset="0"/>
                <a:ea typeface="Futura Std Medium" charset="0"/>
                <a:cs typeface="Futura Std Medium" charset="0"/>
              </a:defRPr>
            </a:lvl3pPr>
            <a:lvl4pPr>
              <a:lnSpc>
                <a:spcPct val="100000"/>
              </a:lnSpc>
              <a:spcBef>
                <a:spcPts val="0"/>
              </a:spcBef>
              <a:spcAft>
                <a:spcPts val="600"/>
              </a:spcAft>
              <a:defRPr sz="2000" b="0" i="0">
                <a:ln>
                  <a:noFill/>
                </a:ln>
                <a:solidFill>
                  <a:schemeClr val="tx2"/>
                </a:solidFill>
                <a:latin typeface="Futura Std Medium" charset="0"/>
                <a:ea typeface="Futura Std Medium" charset="0"/>
                <a:cs typeface="Futura Std Medium" charset="0"/>
              </a:defRPr>
            </a:lvl4pPr>
            <a:lvl5pPr>
              <a:lnSpc>
                <a:spcPct val="100000"/>
              </a:lnSpc>
              <a:spcBef>
                <a:spcPts val="0"/>
              </a:spcBef>
              <a:spcAft>
                <a:spcPts val="600"/>
              </a:spcAft>
              <a:defRPr sz="2000" b="0" i="0">
                <a:ln>
                  <a:noFill/>
                </a:ln>
                <a:solidFill>
                  <a:schemeClr val="tx2"/>
                </a:solidFill>
                <a:latin typeface="Futura Std Medium" charset="0"/>
                <a:ea typeface="Futura Std Medium" charset="0"/>
                <a:cs typeface="Futura Std Medium"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pic>
        <p:nvPicPr>
          <p:cNvPr id="13" name="Afbeelding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96667" y="6274563"/>
            <a:ext cx="1133857" cy="323088"/>
          </a:xfrm>
          <a:prstGeom prst="rect">
            <a:avLst/>
          </a:prstGeom>
        </p:spPr>
      </p:pic>
    </p:spTree>
    <p:extLst>
      <p:ext uri="{BB962C8B-B14F-4D97-AF65-F5344CB8AC3E}">
        <p14:creationId xmlns:p14="http://schemas.microsoft.com/office/powerpoint/2010/main" val="1605307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1_Alleen tekst">
    <p:spTree>
      <p:nvGrpSpPr>
        <p:cNvPr id="1" name=""/>
        <p:cNvGrpSpPr/>
        <p:nvPr/>
      </p:nvGrpSpPr>
      <p:grpSpPr>
        <a:xfrm>
          <a:off x="0" y="0"/>
          <a:ext cx="0" cy="0"/>
          <a:chOff x="0" y="0"/>
          <a:chExt cx="0" cy="0"/>
        </a:xfrm>
      </p:grpSpPr>
      <p:sp>
        <p:nvSpPr>
          <p:cNvPr id="72" name="Afgeronde rechthoek 7"/>
          <p:cNvSpPr/>
          <p:nvPr userDrawn="1"/>
        </p:nvSpPr>
        <p:spPr>
          <a:xfrm>
            <a:off x="0" y="0"/>
            <a:ext cx="12195175" cy="6858000"/>
          </a:xfrm>
          <a:prstGeom prst="roundRect">
            <a:avLst>
              <a:gd name="adj" fmla="val 1389"/>
            </a:avLst>
          </a:prstGeom>
          <a:solidFill>
            <a:srgbClr val="E9F7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dirty="0">
              <a:latin typeface="Helvetica" pitchFamily="34" charset="0"/>
            </a:endParaRPr>
          </a:p>
        </p:txBody>
      </p:sp>
      <p:sp>
        <p:nvSpPr>
          <p:cNvPr id="5" name="Title 1"/>
          <p:cNvSpPr>
            <a:spLocks noGrp="1"/>
          </p:cNvSpPr>
          <p:nvPr>
            <p:ph type="title" hasCustomPrompt="1"/>
          </p:nvPr>
        </p:nvSpPr>
        <p:spPr>
          <a:xfrm>
            <a:off x="265115" y="333378"/>
            <a:ext cx="11695828" cy="935039"/>
          </a:xfrm>
          <a:prstGeom prst="rect">
            <a:avLst/>
          </a:prstGeom>
        </p:spPr>
        <p:txBody>
          <a:bodyPr/>
          <a:lstStyle>
            <a:lvl1pPr>
              <a:defRPr b="1" i="0">
                <a:ln>
                  <a:noFill/>
                </a:ln>
                <a:solidFill>
                  <a:schemeClr val="tx2"/>
                </a:solidFill>
                <a:latin typeface="Futura Std Book" charset="0"/>
                <a:ea typeface="Futura Std Book" charset="0"/>
                <a:cs typeface="Futura Std Book" charset="0"/>
              </a:defRPr>
            </a:lvl1pPr>
          </a:lstStyle>
          <a:p>
            <a:r>
              <a:rPr lang="en-US" dirty="0"/>
              <a:t>WHY</a:t>
            </a:r>
            <a:br>
              <a:rPr lang="en-US" dirty="0"/>
            </a:br>
            <a:r>
              <a:rPr lang="en-US" dirty="0"/>
              <a:t>ROTTERDAM?</a:t>
            </a:r>
            <a:endParaRPr lang="nl-NL" dirty="0"/>
          </a:p>
        </p:txBody>
      </p:sp>
      <p:pic>
        <p:nvPicPr>
          <p:cNvPr id="6" name="Afbeelding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96667" y="6274563"/>
            <a:ext cx="1133857" cy="323088"/>
          </a:xfrm>
          <a:prstGeom prst="rect">
            <a:avLst/>
          </a:prstGeom>
        </p:spPr>
      </p:pic>
    </p:spTree>
    <p:extLst>
      <p:ext uri="{BB962C8B-B14F-4D97-AF65-F5344CB8AC3E}">
        <p14:creationId xmlns:p14="http://schemas.microsoft.com/office/powerpoint/2010/main" val="1234513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Alleen tekst">
    <p:spTree>
      <p:nvGrpSpPr>
        <p:cNvPr id="1" name=""/>
        <p:cNvGrpSpPr/>
        <p:nvPr/>
      </p:nvGrpSpPr>
      <p:grpSpPr>
        <a:xfrm>
          <a:off x="0" y="0"/>
          <a:ext cx="0" cy="0"/>
          <a:chOff x="0" y="0"/>
          <a:chExt cx="0" cy="0"/>
        </a:xfrm>
      </p:grpSpPr>
      <p:sp>
        <p:nvSpPr>
          <p:cNvPr id="72" name="Afgeronde rechthoek 7"/>
          <p:cNvSpPr/>
          <p:nvPr userDrawn="1"/>
        </p:nvSpPr>
        <p:spPr>
          <a:xfrm>
            <a:off x="0" y="0"/>
            <a:ext cx="12195175" cy="6858000"/>
          </a:xfrm>
          <a:prstGeom prst="roundRect">
            <a:avLst>
              <a:gd name="adj" fmla="val 138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dirty="0">
              <a:latin typeface="Helvetica" pitchFamily="34" charset="0"/>
            </a:endParaRPr>
          </a:p>
        </p:txBody>
      </p:sp>
      <p:pic>
        <p:nvPicPr>
          <p:cNvPr id="4" name="Afbeelding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96667" y="6274563"/>
            <a:ext cx="1133857" cy="323088"/>
          </a:xfrm>
          <a:prstGeom prst="rect">
            <a:avLst/>
          </a:prstGeom>
        </p:spPr>
      </p:pic>
    </p:spTree>
    <p:extLst>
      <p:ext uri="{BB962C8B-B14F-4D97-AF65-F5344CB8AC3E}">
        <p14:creationId xmlns:p14="http://schemas.microsoft.com/office/powerpoint/2010/main" val="139805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ekst Rechts + Object (L) blauw">
    <p:spTree>
      <p:nvGrpSpPr>
        <p:cNvPr id="1" name=""/>
        <p:cNvGrpSpPr/>
        <p:nvPr/>
      </p:nvGrpSpPr>
      <p:grpSpPr>
        <a:xfrm>
          <a:off x="0" y="0"/>
          <a:ext cx="0" cy="0"/>
          <a:chOff x="0" y="0"/>
          <a:chExt cx="0" cy="0"/>
        </a:xfrm>
      </p:grpSpPr>
      <p:sp>
        <p:nvSpPr>
          <p:cNvPr id="146" name="Rechthoek 145"/>
          <p:cNvSpPr/>
          <p:nvPr userDrawn="1"/>
        </p:nvSpPr>
        <p:spPr>
          <a:xfrm>
            <a:off x="7545538" y="1420284"/>
            <a:ext cx="4649638" cy="452598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p>
        </p:txBody>
      </p:sp>
      <p:sp>
        <p:nvSpPr>
          <p:cNvPr id="148" name="Rechthoek 147"/>
          <p:cNvSpPr/>
          <p:nvPr userDrawn="1"/>
        </p:nvSpPr>
        <p:spPr>
          <a:xfrm>
            <a:off x="0" y="1424764"/>
            <a:ext cx="7545537" cy="451677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Helvetica" pitchFamily="34" charset="0"/>
            </a:endParaRPr>
          </a:p>
        </p:txBody>
      </p:sp>
      <p:sp>
        <p:nvSpPr>
          <p:cNvPr id="2" name="Titel 1"/>
          <p:cNvSpPr>
            <a:spLocks noGrp="1"/>
          </p:cNvSpPr>
          <p:nvPr>
            <p:ph type="title"/>
          </p:nvPr>
        </p:nvSpPr>
        <p:spPr/>
        <p:txBody>
          <a:bodyPr/>
          <a:lstStyle/>
          <a:p>
            <a:r>
              <a:rPr lang="nl-NL"/>
              <a:t>Klik om de stijl te bewerken</a:t>
            </a:r>
            <a:endParaRPr lang="en-GB"/>
          </a:p>
        </p:txBody>
      </p:sp>
      <p:sp>
        <p:nvSpPr>
          <p:cNvPr id="3" name="Tijdelijke aanduiding voor verticale tekst 2"/>
          <p:cNvSpPr>
            <a:spLocks noGrp="1"/>
          </p:cNvSpPr>
          <p:nvPr>
            <p:ph type="body" orient="vert" idx="1"/>
          </p:nvPr>
        </p:nvSpPr>
        <p:spPr>
          <a:xfrm>
            <a:off x="8035604" y="1420100"/>
            <a:ext cx="4159571" cy="4510800"/>
          </a:xfrm>
        </p:spPr>
        <p:txBody>
          <a:bodyPr vert="horz"/>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dirty="0"/>
          </a:p>
        </p:txBody>
      </p:sp>
      <p:sp>
        <p:nvSpPr>
          <p:cNvPr id="4" name="Tijdelijke aanduiding voor datum 3"/>
          <p:cNvSpPr>
            <a:spLocks noGrp="1"/>
          </p:cNvSpPr>
          <p:nvPr>
            <p:ph type="dt" sz="half" idx="10"/>
          </p:nvPr>
        </p:nvSpPr>
        <p:spPr/>
        <p:txBody>
          <a:bodyPr/>
          <a:lstStyle/>
          <a:p>
            <a:fld id="{CE9CF074-4700-4767-ACC6-21276B16B622}"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9" name="Tijdelijke aanduiding voor inhoud 2"/>
          <p:cNvSpPr>
            <a:spLocks noGrp="1"/>
          </p:cNvSpPr>
          <p:nvPr>
            <p:ph idx="14"/>
          </p:nvPr>
        </p:nvSpPr>
        <p:spPr>
          <a:xfrm>
            <a:off x="384200" y="1641026"/>
            <a:ext cx="6767671" cy="3599714"/>
          </a:xfrm>
          <a:noFill/>
        </p:spPr>
        <p:txBody>
          <a:bodyPr anchor="ctr"/>
          <a:lstStyle>
            <a:lvl1pPr algn="ctr">
              <a:defRPr sz="1200"/>
            </a:lvl1pPr>
          </a:lstStyle>
          <a:p>
            <a:pPr lvl="0"/>
            <a:r>
              <a:rPr lang="nl-NL"/>
              <a:t>Klik om de modelstijlen te bewerken</a:t>
            </a:r>
          </a:p>
        </p:txBody>
      </p:sp>
      <p:sp>
        <p:nvSpPr>
          <p:cNvPr id="11" name="Tekstvak 10"/>
          <p:cNvSpPr txBox="1"/>
          <p:nvPr userDrawn="1"/>
        </p:nvSpPr>
        <p:spPr>
          <a:xfrm>
            <a:off x="0" y="-521614"/>
            <a:ext cx="3504624" cy="469107"/>
          </a:xfrm>
          <a:prstGeom prst="rect">
            <a:avLst/>
          </a:prstGeom>
          <a:noFill/>
        </p:spPr>
        <p:txBody>
          <a:bodyPr wrap="square" rtlCol="0" anchor="b">
            <a:noAutofit/>
          </a:bodyPr>
          <a:lstStyle/>
          <a:p>
            <a:r>
              <a:rPr lang="nl-NL" sz="1333" b="1" dirty="0">
                <a:solidFill>
                  <a:schemeClr val="accent6"/>
                </a:solidFill>
              </a:rPr>
              <a:t>Tekst Rechts + Object (L)</a:t>
            </a:r>
          </a:p>
        </p:txBody>
      </p:sp>
      <p:sp>
        <p:nvSpPr>
          <p:cNvPr id="12" name="Tijdelijke aanduiding voor verticale tekst 2"/>
          <p:cNvSpPr>
            <a:spLocks noGrp="1"/>
          </p:cNvSpPr>
          <p:nvPr>
            <p:ph type="body" orient="vert" idx="15" hasCustomPrompt="1"/>
          </p:nvPr>
        </p:nvSpPr>
        <p:spPr>
          <a:xfrm>
            <a:off x="0" y="5437534"/>
            <a:ext cx="7545537" cy="504000"/>
          </a:xfrm>
          <a:solidFill>
            <a:schemeClr val="accent2">
              <a:lumMod val="60000"/>
              <a:lumOff val="40000"/>
            </a:schemeClr>
          </a:solidFill>
        </p:spPr>
        <p:txBody>
          <a:bodyPr vert="horz" lIns="360000" tIns="36000" rIns="216000" bIns="0" anchor="ctr"/>
          <a:lstStyle>
            <a:lvl1pPr algn="r">
              <a:defRPr sz="1800" b="0">
                <a:solidFill>
                  <a:schemeClr val="tx2"/>
                </a:solidFill>
              </a:defRPr>
            </a:lvl1pPr>
          </a:lstStyle>
          <a:p>
            <a:pPr lvl="0"/>
            <a:r>
              <a:rPr lang="nl-NL" dirty="0"/>
              <a:t>Onderschrift</a:t>
            </a:r>
          </a:p>
        </p:txBody>
      </p:sp>
      <p:grpSp>
        <p:nvGrpSpPr>
          <p:cNvPr id="149" name="Groep 148"/>
          <p:cNvGrpSpPr/>
          <p:nvPr userDrawn="1"/>
        </p:nvGrpSpPr>
        <p:grpSpPr>
          <a:xfrm>
            <a:off x="-3216858" y="-26002"/>
            <a:ext cx="3064812" cy="6864697"/>
            <a:chOff x="12363871" y="-26002"/>
            <a:chExt cx="3064812" cy="6864697"/>
          </a:xfrm>
        </p:grpSpPr>
        <p:sp>
          <p:nvSpPr>
            <p:cNvPr id="150" name="Tekstvak 33"/>
            <p:cNvSpPr txBox="1"/>
            <p:nvPr userDrawn="1"/>
          </p:nvSpPr>
          <p:spPr>
            <a:xfrm>
              <a:off x="12537681" y="1001584"/>
              <a:ext cx="2285302" cy="430887"/>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1"/>
                  </a:solidFill>
                  <a:effectLst/>
                  <a:uLnTx/>
                  <a:uFillTx/>
                  <a:latin typeface="Calibri"/>
                  <a:ea typeface="Tahoma" pitchFamily="34" charset="0"/>
                  <a:cs typeface="Arial" pitchFamily="34" charset="0"/>
                </a:rPr>
                <a:t>Klik op het icoon om een grafiek in te voegen</a:t>
              </a:r>
            </a:p>
          </p:txBody>
        </p:sp>
        <p:sp>
          <p:nvSpPr>
            <p:cNvPr id="151" name="Tekstvak 33"/>
            <p:cNvSpPr txBox="1"/>
            <p:nvPr userDrawn="1"/>
          </p:nvSpPr>
          <p:spPr>
            <a:xfrm>
              <a:off x="12537681"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1"/>
                  </a:solidFill>
                  <a:effectLst/>
                  <a:uLnTx/>
                  <a:uFillTx/>
                  <a:latin typeface="Calibri"/>
                  <a:ea typeface="Tahoma" pitchFamily="34" charset="0"/>
                  <a:cs typeface="Arial" pitchFamily="34" charset="0"/>
                </a:rPr>
                <a:t>Selecteer de grafiek die u wilt </a:t>
              </a:r>
              <a:br>
                <a:rPr kumimoji="0" lang="nl-NL" sz="1400" b="0" i="0" u="none" strike="noStrike" kern="0" cap="none" spc="0" normalizeH="0" baseline="0" noProof="0" dirty="0">
                  <a:ln>
                    <a:noFill/>
                  </a:ln>
                  <a:solidFill>
                    <a:schemeClr val="tx1"/>
                  </a:solidFill>
                  <a:effectLst/>
                  <a:uLnTx/>
                  <a:uFillTx/>
                  <a:latin typeface="Calibri"/>
                  <a:ea typeface="Tahoma" pitchFamily="34" charset="0"/>
                  <a:cs typeface="Arial" pitchFamily="34" charset="0"/>
                </a:rPr>
              </a:br>
              <a:r>
                <a:rPr kumimoji="0" lang="nl-NL" sz="1400" b="0" i="0" u="none" strike="noStrike" kern="0" cap="none" spc="0" normalizeH="0" baseline="0" noProof="0" dirty="0">
                  <a:ln>
                    <a:noFill/>
                  </a:ln>
                  <a:solidFill>
                    <a:schemeClr val="tx1"/>
                  </a:solidFill>
                  <a:effectLst/>
                  <a:uLnTx/>
                  <a:uFillTx/>
                  <a:latin typeface="Calibri"/>
                  <a:ea typeface="Tahoma" pitchFamily="34" charset="0"/>
                  <a:cs typeface="Arial" pitchFamily="34" charset="0"/>
                </a:rPr>
                <a:t>invoegen en klik op </a:t>
              </a:r>
              <a:r>
                <a:rPr kumimoji="0" lang="nl-NL" sz="1400" b="1" i="0" u="none" strike="noStrike" kern="0" cap="none" spc="0" normalizeH="0" baseline="0" noProof="0" dirty="0">
                  <a:ln>
                    <a:noFill/>
                  </a:ln>
                  <a:solidFill>
                    <a:schemeClr val="tx1"/>
                  </a:solidFill>
                  <a:effectLst/>
                  <a:uLnTx/>
                  <a:uFillTx/>
                  <a:latin typeface="Calibri"/>
                  <a:ea typeface="Tahoma" pitchFamily="34" charset="0"/>
                  <a:cs typeface="Arial" pitchFamily="34" charset="0"/>
                </a:rPr>
                <a:t>‘Invoegen’</a:t>
              </a:r>
            </a:p>
          </p:txBody>
        </p:sp>
        <p:sp>
          <p:nvSpPr>
            <p:cNvPr id="152" name="Ovaal 151"/>
            <p:cNvSpPr/>
            <p:nvPr userDrawn="1"/>
          </p:nvSpPr>
          <p:spPr>
            <a:xfrm>
              <a:off x="12494665"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Calibri"/>
                </a:rPr>
                <a:t>1</a:t>
              </a:r>
            </a:p>
          </p:txBody>
        </p:sp>
        <p:sp>
          <p:nvSpPr>
            <p:cNvPr id="153" name="Ovaal 152"/>
            <p:cNvSpPr/>
            <p:nvPr userDrawn="1"/>
          </p:nvSpPr>
          <p:spPr>
            <a:xfrm>
              <a:off x="12494665"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Calibri"/>
                </a:rPr>
                <a:t>2</a:t>
              </a:r>
            </a:p>
          </p:txBody>
        </p:sp>
        <p:pic>
          <p:nvPicPr>
            <p:cNvPr id="154"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2535130"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155"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2604588"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156" name="Tekstvak 155"/>
            <p:cNvSpPr txBox="1"/>
            <p:nvPr userDrawn="1"/>
          </p:nvSpPr>
          <p:spPr>
            <a:xfrm>
              <a:off x="12617212" y="4020160"/>
              <a:ext cx="779464"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dirty="0">
                <a:ln>
                  <a:noFill/>
                </a:ln>
                <a:solidFill>
                  <a:srgbClr val="005634">
                    <a:lumMod val="25000"/>
                  </a:srgbClr>
                </a:solidFill>
                <a:effectLst>
                  <a:outerShdw blurRad="25400" algn="ctr" rotWithShape="0">
                    <a:prstClr val="white"/>
                  </a:outerShdw>
                </a:effectLst>
                <a:uLnTx/>
                <a:uFillTx/>
              </a:endParaRPr>
            </a:p>
          </p:txBody>
        </p:sp>
        <p:sp>
          <p:nvSpPr>
            <p:cNvPr id="157" name="Rechthoek 156"/>
            <p:cNvSpPr/>
            <p:nvPr userDrawn="1"/>
          </p:nvSpPr>
          <p:spPr>
            <a:xfrm>
              <a:off x="12363871"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dirty="0">
                  <a:solidFill>
                    <a:schemeClr val="tx2"/>
                  </a:solidFill>
                </a:rPr>
                <a:t>GRAFIEK INVOEGEN</a:t>
              </a:r>
            </a:p>
          </p:txBody>
        </p:sp>
        <p:cxnSp>
          <p:nvCxnSpPr>
            <p:cNvPr id="158" name="Rechte verbindingslijn 157"/>
            <p:cNvCxnSpPr/>
            <p:nvPr userDrawn="1"/>
          </p:nvCxnSpPr>
          <p:spPr>
            <a:xfrm>
              <a:off x="12507575" y="331688"/>
              <a:ext cx="248906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9" name="Rechte verbindingslijn 158"/>
            <p:cNvCxnSpPr/>
            <p:nvPr userDrawn="1"/>
          </p:nvCxnSpPr>
          <p:spPr>
            <a:xfrm>
              <a:off x="12507211" y="2537608"/>
              <a:ext cx="248906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0" name="Rechte verbindingslijn 159"/>
            <p:cNvCxnSpPr/>
            <p:nvPr userDrawn="1"/>
          </p:nvCxnSpPr>
          <p:spPr>
            <a:xfrm>
              <a:off x="12507575" y="4423040"/>
              <a:ext cx="24890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1" name="Rechte verbindingslijn 160"/>
            <p:cNvCxnSpPr/>
            <p:nvPr userDrawn="1"/>
          </p:nvCxnSpPr>
          <p:spPr>
            <a:xfrm>
              <a:off x="12507575" y="6838695"/>
              <a:ext cx="24890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2" name="Rechte verbindingslijn 161"/>
            <p:cNvCxnSpPr/>
            <p:nvPr userDrawn="1"/>
          </p:nvCxnSpPr>
          <p:spPr>
            <a:xfrm>
              <a:off x="12507211" y="4898666"/>
              <a:ext cx="248906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63" name="Groep 162"/>
            <p:cNvGrpSpPr/>
            <p:nvPr userDrawn="1"/>
          </p:nvGrpSpPr>
          <p:grpSpPr>
            <a:xfrm>
              <a:off x="12436353" y="1728359"/>
              <a:ext cx="689983" cy="573048"/>
              <a:chOff x="15171969" y="1587338"/>
              <a:chExt cx="755407" cy="627385"/>
            </a:xfrm>
          </p:grpSpPr>
          <p:sp>
            <p:nvSpPr>
              <p:cNvPr id="202" name="Rechthoek 962"/>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nvGrpSpPr>
              <p:cNvPr id="203" name="Groep 202"/>
              <p:cNvGrpSpPr/>
              <p:nvPr userDrawn="1"/>
            </p:nvGrpSpPr>
            <p:grpSpPr>
              <a:xfrm>
                <a:off x="15281106" y="1587338"/>
                <a:ext cx="511775" cy="560304"/>
                <a:chOff x="10604642" y="969717"/>
                <a:chExt cx="1290643" cy="1427163"/>
              </a:xfrm>
            </p:grpSpPr>
            <p:grpSp>
              <p:nvGrpSpPr>
                <p:cNvPr id="204" name="Group 879"/>
                <p:cNvGrpSpPr>
                  <a:grpSpLocks noChangeAspect="1"/>
                </p:cNvGrpSpPr>
                <p:nvPr userDrawn="1"/>
              </p:nvGrpSpPr>
              <p:grpSpPr bwMode="auto">
                <a:xfrm>
                  <a:off x="10604642" y="969717"/>
                  <a:ext cx="1290643" cy="1427163"/>
                  <a:chOff x="4798" y="1515"/>
                  <a:chExt cx="813" cy="899"/>
                </a:xfrm>
              </p:grpSpPr>
              <p:sp>
                <p:nvSpPr>
                  <p:cNvPr id="206" name="Freeform 886"/>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207" name="Rectangle 880"/>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208" name="Rectangle 881"/>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209" name="Freeform 882"/>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210" name="Freeform 883"/>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211" name="Freeform 884"/>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212" name="Rectangle 885"/>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213" name="Rectangle 887"/>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214" name="Freeform 888"/>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sp>
              <p:nvSpPr>
                <p:cNvPr id="205" name="Vrije vorm 204"/>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grpSp>
        <p:grpSp>
          <p:nvGrpSpPr>
            <p:cNvPr id="164" name="Groep 163"/>
            <p:cNvGrpSpPr/>
            <p:nvPr userDrawn="1"/>
          </p:nvGrpSpPr>
          <p:grpSpPr>
            <a:xfrm>
              <a:off x="12548778" y="6003628"/>
              <a:ext cx="1980859" cy="542924"/>
              <a:chOff x="12390702" y="6054428"/>
              <a:chExt cx="1980859" cy="542924"/>
            </a:xfrm>
          </p:grpSpPr>
          <p:sp>
            <p:nvSpPr>
              <p:cNvPr id="168" name="Rechthoek 167"/>
              <p:cNvSpPr/>
              <p:nvPr/>
            </p:nvSpPr>
            <p:spPr>
              <a:xfrm>
                <a:off x="12402284" y="6054428"/>
                <a:ext cx="1969277" cy="542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169" name="Rechthoek 168"/>
              <p:cNvSpPr/>
              <p:nvPr/>
            </p:nvSpPr>
            <p:spPr>
              <a:xfrm>
                <a:off x="12662053" y="6062530"/>
                <a:ext cx="1327608" cy="261610"/>
              </a:xfrm>
              <a:prstGeom prst="rect">
                <a:avLst/>
              </a:prstGeom>
            </p:spPr>
            <p:txBody>
              <a:bodyPr wrap="none">
                <a:spAutoFit/>
              </a:bodyPr>
              <a:lstStyle/>
              <a:p>
                <a:r>
                  <a:rPr lang="en-US" sz="1100" dirty="0">
                    <a:latin typeface="Segoe UI Light" panose="020B0502040204020203" pitchFamily="34" charset="0"/>
                    <a:ea typeface="Adobe Heiti Std R" panose="020B0400000000000000" pitchFamily="34" charset="-128"/>
                    <a:cs typeface="Segoe UI Light" panose="020B0502040204020203" pitchFamily="34" charset="0"/>
                  </a:rPr>
                  <a:t>Ander </a:t>
                </a:r>
                <a:r>
                  <a:rPr lang="en-US" sz="1100" dirty="0" err="1">
                    <a:latin typeface="Segoe UI Light" panose="020B0502040204020203" pitchFamily="34" charset="0"/>
                    <a:ea typeface="Adobe Heiti Std R" panose="020B0400000000000000" pitchFamily="34" charset="-128"/>
                    <a:cs typeface="Segoe UI Light" panose="020B0502040204020203" pitchFamily="34" charset="0"/>
                  </a:rPr>
                  <a:t>grafiektype</a:t>
                </a:r>
                <a:r>
                  <a:rPr lang="en-US" sz="1100" dirty="0">
                    <a:latin typeface="Segoe UI Light" panose="020B0502040204020203" pitchFamily="34" charset="0"/>
                    <a:ea typeface="Adobe Heiti Std R" panose="020B0400000000000000" pitchFamily="34" charset="-128"/>
                    <a:cs typeface="Segoe UI Light" panose="020B0502040204020203" pitchFamily="34" charset="0"/>
                  </a:rPr>
                  <a:t>…</a:t>
                </a:r>
              </a:p>
            </p:txBody>
          </p:sp>
          <p:sp>
            <p:nvSpPr>
              <p:cNvPr id="170" name="Gelijkbenige driehoek 169"/>
              <p:cNvSpPr/>
              <p:nvPr/>
            </p:nvSpPr>
            <p:spPr>
              <a:xfrm rot="5400000">
                <a:off x="14210471" y="6150144"/>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171" name="Afgeronde rechthoek 170"/>
              <p:cNvSpPr/>
              <p:nvPr/>
            </p:nvSpPr>
            <p:spPr>
              <a:xfrm>
                <a:off x="12390702" y="6322741"/>
                <a:ext cx="1973675" cy="268314"/>
              </a:xfrm>
              <a:prstGeom prst="roundRect">
                <a:avLst/>
              </a:prstGeom>
              <a:gradFill>
                <a:gsLst>
                  <a:gs pos="0">
                    <a:srgbClr val="FFF2BD"/>
                  </a:gs>
                  <a:gs pos="34000">
                    <a:srgbClr val="FFE98B"/>
                  </a:gs>
                  <a:gs pos="78000">
                    <a:srgbClr val="FFF5C9"/>
                  </a:gs>
                  <a:gs pos="59000">
                    <a:srgbClr val="FFE98B"/>
                  </a:gs>
                </a:gsLst>
                <a:lin ang="5400000" scaled="0"/>
              </a:gra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1200" dirty="0" err="1">
                    <a:solidFill>
                      <a:schemeClr val="tx1"/>
                    </a:solidFill>
                    <a:latin typeface="Segoe UI Light" panose="020B0502040204020203" pitchFamily="34" charset="0"/>
                    <a:ea typeface="Adobe Heiti Std R" panose="020B0400000000000000" pitchFamily="34" charset="-128"/>
                    <a:cs typeface="Segoe UI Light" panose="020B0502040204020203" pitchFamily="34" charset="0"/>
                  </a:rPr>
                  <a:t>Gegevens</a:t>
                </a:r>
                <a:r>
                  <a:rPr lang="en-US" sz="1200" dirty="0">
                    <a:solidFill>
                      <a:schemeClr val="tx1"/>
                    </a:solidFill>
                    <a:latin typeface="Segoe UI Light" panose="020B0502040204020203" pitchFamily="34" charset="0"/>
                    <a:ea typeface="Adobe Heiti Std R" panose="020B0400000000000000" pitchFamily="34" charset="-128"/>
                    <a:cs typeface="Segoe UI Light" panose="020B0502040204020203" pitchFamily="34" charset="0"/>
                  </a:rPr>
                  <a:t> </a:t>
                </a:r>
                <a:r>
                  <a:rPr lang="en-US" sz="1200" dirty="0" err="1">
                    <a:solidFill>
                      <a:schemeClr val="tx1"/>
                    </a:solidFill>
                    <a:latin typeface="Segoe UI Light" panose="020B0502040204020203" pitchFamily="34" charset="0"/>
                    <a:ea typeface="Adobe Heiti Std R" panose="020B0400000000000000" pitchFamily="34" charset="-128"/>
                    <a:cs typeface="Segoe UI Light" panose="020B0502040204020203" pitchFamily="34" charset="0"/>
                  </a:rPr>
                  <a:t>bewerken</a:t>
                </a:r>
                <a:r>
                  <a:rPr lang="en-US" sz="1200" dirty="0">
                    <a:solidFill>
                      <a:schemeClr val="tx1"/>
                    </a:solidFill>
                    <a:latin typeface="Segoe UI Light" panose="020B0502040204020203" pitchFamily="34" charset="0"/>
                    <a:ea typeface="Adobe Heiti Std R" panose="020B0400000000000000" pitchFamily="34" charset="-128"/>
                    <a:cs typeface="Segoe UI Light" panose="020B0502040204020203" pitchFamily="34" charset="0"/>
                  </a:rPr>
                  <a:t>…</a:t>
                </a:r>
              </a:p>
            </p:txBody>
          </p:sp>
          <p:grpSp>
            <p:nvGrpSpPr>
              <p:cNvPr id="172" name="Groep 171"/>
              <p:cNvGrpSpPr/>
              <p:nvPr/>
            </p:nvGrpSpPr>
            <p:grpSpPr>
              <a:xfrm>
                <a:off x="12461788" y="6100223"/>
                <a:ext cx="204691" cy="170000"/>
                <a:chOff x="15171969" y="1587338"/>
                <a:chExt cx="755407" cy="627385"/>
              </a:xfrm>
            </p:grpSpPr>
            <p:sp>
              <p:nvSpPr>
                <p:cNvPr id="189" name="Rechthoek 962"/>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nvGrpSpPr>
                <p:cNvPr id="190" name="Groep 189"/>
                <p:cNvGrpSpPr/>
                <p:nvPr userDrawn="1"/>
              </p:nvGrpSpPr>
              <p:grpSpPr>
                <a:xfrm>
                  <a:off x="15281106" y="1587338"/>
                  <a:ext cx="511775" cy="560304"/>
                  <a:chOff x="10604642" y="969717"/>
                  <a:chExt cx="1290643" cy="1427163"/>
                </a:xfrm>
              </p:grpSpPr>
              <p:grpSp>
                <p:nvGrpSpPr>
                  <p:cNvPr id="191" name="Group 879"/>
                  <p:cNvGrpSpPr>
                    <a:grpSpLocks noChangeAspect="1"/>
                  </p:cNvGrpSpPr>
                  <p:nvPr userDrawn="1"/>
                </p:nvGrpSpPr>
                <p:grpSpPr bwMode="auto">
                  <a:xfrm>
                    <a:off x="10604642" y="969717"/>
                    <a:ext cx="1290643" cy="1427163"/>
                    <a:chOff x="4798" y="1515"/>
                    <a:chExt cx="813" cy="899"/>
                  </a:xfrm>
                </p:grpSpPr>
                <p:sp>
                  <p:nvSpPr>
                    <p:cNvPr id="193" name="Freeform 886"/>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194" name="Rectangle 880"/>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195" name="Rectangle 881"/>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196" name="Freeform 882"/>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197" name="Freeform 883"/>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198" name="Freeform 884"/>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199" name="Rectangle 885"/>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200" name="Rectangle 887"/>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201" name="Freeform 888"/>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sp>
                <p:nvSpPr>
                  <p:cNvPr id="192" name="Vrije vorm 191"/>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grpSp>
          <p:grpSp>
            <p:nvGrpSpPr>
              <p:cNvPr id="173" name="Groep 172"/>
              <p:cNvGrpSpPr/>
              <p:nvPr/>
            </p:nvGrpSpPr>
            <p:grpSpPr>
              <a:xfrm>
                <a:off x="12468521" y="6356844"/>
                <a:ext cx="133446" cy="114786"/>
                <a:chOff x="14587469" y="6356844"/>
                <a:chExt cx="133446" cy="114786"/>
              </a:xfrm>
            </p:grpSpPr>
            <p:sp>
              <p:nvSpPr>
                <p:cNvPr id="179" name="Rectangle 6"/>
                <p:cNvSpPr>
                  <a:spLocks noChangeArrowheads="1"/>
                </p:cNvSpPr>
                <p:nvPr userDrawn="1"/>
              </p:nvSpPr>
              <p:spPr bwMode="auto">
                <a:xfrm>
                  <a:off x="14588703" y="6379233"/>
                  <a:ext cx="130780" cy="91699"/>
                </a:xfrm>
                <a:prstGeom prst="rect">
                  <a:avLst/>
                </a:prstGeom>
                <a:solidFill>
                  <a:srgbClr val="F2FAFF"/>
                </a:solidFill>
                <a:ln w="0">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180" name="Rectangle 15"/>
                <p:cNvSpPr>
                  <a:spLocks noChangeArrowheads="1"/>
                </p:cNvSpPr>
                <p:nvPr userDrawn="1"/>
              </p:nvSpPr>
              <p:spPr bwMode="auto">
                <a:xfrm>
                  <a:off x="14587469" y="6423761"/>
                  <a:ext cx="131076" cy="1446"/>
                </a:xfrm>
                <a:prstGeom prst="rect">
                  <a:avLst/>
                </a:prstGeom>
                <a:gradFill flip="none" rotWithShape="1">
                  <a:gsLst>
                    <a:gs pos="20000">
                      <a:srgbClr val="0039AC"/>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181" name="Freeform 14"/>
                <p:cNvSpPr>
                  <a:spLocks noEditPoints="1"/>
                </p:cNvSpPr>
                <p:nvPr userDrawn="1"/>
              </p:nvSpPr>
              <p:spPr bwMode="auto">
                <a:xfrm>
                  <a:off x="14588901" y="6356844"/>
                  <a:ext cx="132014" cy="114786"/>
                </a:xfrm>
                <a:custGeom>
                  <a:avLst/>
                  <a:gdLst>
                    <a:gd name="T0" fmla="*/ 48 w 5347"/>
                    <a:gd name="T1" fmla="*/ 48 h 4605"/>
                    <a:gd name="T2" fmla="*/ 48 w 5347"/>
                    <a:gd name="T3" fmla="*/ 4557 h 4605"/>
                    <a:gd name="T4" fmla="*/ 5299 w 5347"/>
                    <a:gd name="T5" fmla="*/ 4557 h 4605"/>
                    <a:gd name="T6" fmla="*/ 5299 w 5347"/>
                    <a:gd name="T7" fmla="*/ 48 h 4605"/>
                    <a:gd name="T8" fmla="*/ 48 w 5347"/>
                    <a:gd name="T9" fmla="*/ 48 h 4605"/>
                    <a:gd name="T10" fmla="*/ 0 w 5347"/>
                    <a:gd name="T11" fmla="*/ 0 h 4605"/>
                    <a:gd name="T12" fmla="*/ 5347 w 5347"/>
                    <a:gd name="T13" fmla="*/ 0 h 4605"/>
                    <a:gd name="T14" fmla="*/ 5347 w 5347"/>
                    <a:gd name="T15" fmla="*/ 4605 h 4605"/>
                    <a:gd name="T16" fmla="*/ 0 w 5347"/>
                    <a:gd name="T17" fmla="*/ 4605 h 4605"/>
                    <a:gd name="T18" fmla="*/ 0 w 5347"/>
                    <a:gd name="T19" fmla="*/ 0 h 4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7" h="4605">
                      <a:moveTo>
                        <a:pt x="48" y="48"/>
                      </a:moveTo>
                      <a:lnTo>
                        <a:pt x="48" y="4557"/>
                      </a:lnTo>
                      <a:lnTo>
                        <a:pt x="5299" y="4557"/>
                      </a:lnTo>
                      <a:lnTo>
                        <a:pt x="5299" y="48"/>
                      </a:lnTo>
                      <a:lnTo>
                        <a:pt x="48" y="48"/>
                      </a:lnTo>
                      <a:close/>
                      <a:moveTo>
                        <a:pt x="0" y="0"/>
                      </a:moveTo>
                      <a:lnTo>
                        <a:pt x="5347" y="0"/>
                      </a:lnTo>
                      <a:lnTo>
                        <a:pt x="5347" y="4605"/>
                      </a:lnTo>
                      <a:lnTo>
                        <a:pt x="0" y="4605"/>
                      </a:lnTo>
                      <a:lnTo>
                        <a:pt x="0" y="0"/>
                      </a:lnTo>
                      <a:close/>
                    </a:path>
                  </a:pathLst>
                </a:custGeom>
                <a:solidFill>
                  <a:srgbClr val="2E5D8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00" dirty="0">
                    <a:latin typeface="Segoe UI Light" panose="020B0502040204020203" pitchFamily="34" charset="0"/>
                    <a:ea typeface="Adobe Heiti Std R" panose="020B0400000000000000" pitchFamily="34" charset="-128"/>
                    <a:cs typeface="Segoe UI Light" panose="020B0502040204020203" pitchFamily="34" charset="0"/>
                  </a:endParaRPr>
                </a:p>
              </p:txBody>
            </p:sp>
            <p:cxnSp>
              <p:nvCxnSpPr>
                <p:cNvPr id="182" name="Rechte verbindingslijn 181"/>
                <p:cNvCxnSpPr/>
                <p:nvPr userDrawn="1"/>
              </p:nvCxnSpPr>
              <p:spPr>
                <a:xfrm flipH="1">
                  <a:off x="14654334" y="6382168"/>
                  <a:ext cx="162"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3" name="Rechte verbindingslijn 182"/>
                <p:cNvCxnSpPr/>
                <p:nvPr userDrawn="1"/>
              </p:nvCxnSpPr>
              <p:spPr>
                <a:xfrm>
                  <a:off x="14689188" y="6382168"/>
                  <a:ext cx="0"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4" name="Rechte verbindingslijn 183"/>
                <p:cNvCxnSpPr/>
                <p:nvPr userDrawn="1"/>
              </p:nvCxnSpPr>
              <p:spPr>
                <a:xfrm>
                  <a:off x="14619892" y="6382040"/>
                  <a:ext cx="0" cy="8577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5" name="Rechte verbindingslijn 184"/>
                <p:cNvCxnSpPr/>
                <p:nvPr userDrawn="1"/>
              </p:nvCxnSpPr>
              <p:spPr>
                <a:xfrm flipH="1">
                  <a:off x="14593115" y="6400164"/>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6" name="Rechte verbindingslijn 185"/>
                <p:cNvCxnSpPr/>
                <p:nvPr userDrawn="1"/>
              </p:nvCxnSpPr>
              <p:spPr>
                <a:xfrm flipH="1">
                  <a:off x="14593115" y="6423860"/>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7" name="Rechte verbindingslijn 186"/>
                <p:cNvCxnSpPr/>
                <p:nvPr userDrawn="1"/>
              </p:nvCxnSpPr>
              <p:spPr>
                <a:xfrm flipH="1">
                  <a:off x="14593115" y="6447556"/>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188" name="Rectangle 13"/>
                <p:cNvSpPr>
                  <a:spLocks noChangeArrowheads="1"/>
                </p:cNvSpPr>
                <p:nvPr userDrawn="1"/>
              </p:nvSpPr>
              <p:spPr bwMode="auto">
                <a:xfrm>
                  <a:off x="14590283" y="6359138"/>
                  <a:ext cx="128657" cy="19347"/>
                </a:xfrm>
                <a:prstGeom prst="rect">
                  <a:avLst/>
                </a:prstGeom>
                <a:gradFill flip="none" rotWithShape="1">
                  <a:gsLst>
                    <a:gs pos="0">
                      <a:srgbClr val="1929FF"/>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Segoe UI Light" panose="020B0502040204020203" pitchFamily="34" charset="0"/>
                    <a:ea typeface="Adobe Heiti Std R" panose="020B0400000000000000" pitchFamily="34" charset="-128"/>
                    <a:cs typeface="Segoe UI Light" panose="020B0502040204020203" pitchFamily="34" charset="0"/>
                  </a:endParaRPr>
                </a:p>
              </p:txBody>
            </p:sp>
          </p:grpSp>
          <p:grpSp>
            <p:nvGrpSpPr>
              <p:cNvPr id="174" name="Groep 173"/>
              <p:cNvGrpSpPr/>
              <p:nvPr/>
            </p:nvGrpSpPr>
            <p:grpSpPr>
              <a:xfrm>
                <a:off x="12529899" y="6421402"/>
                <a:ext cx="97399" cy="97399"/>
                <a:chOff x="14546483" y="5323041"/>
                <a:chExt cx="242460" cy="242460"/>
              </a:xfrm>
            </p:grpSpPr>
            <p:sp>
              <p:nvSpPr>
                <p:cNvPr id="175" name="Rechthoek 174"/>
                <p:cNvSpPr/>
                <p:nvPr userDrawn="1"/>
              </p:nvSpPr>
              <p:spPr>
                <a:xfrm>
                  <a:off x="14546483" y="5323041"/>
                  <a:ext cx="242460" cy="242460"/>
                </a:xfrm>
                <a:prstGeom prst="rect">
                  <a:avLst/>
                </a:prstGeom>
                <a:solidFill>
                  <a:schemeClr val="bg1"/>
                </a:solidFill>
                <a:ln w="6350">
                  <a:solidFill>
                    <a:srgbClr val="00A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Light" panose="020B0502040204020203" pitchFamily="34" charset="0"/>
                    <a:ea typeface="Adobe Heiti Std R" panose="020B0400000000000000" pitchFamily="34" charset="-128"/>
                    <a:cs typeface="Segoe UI Light" panose="020B0502040204020203" pitchFamily="34" charset="0"/>
                  </a:endParaRPr>
                </a:p>
              </p:txBody>
            </p:sp>
            <p:grpSp>
              <p:nvGrpSpPr>
                <p:cNvPr id="176" name="Groep 175"/>
                <p:cNvGrpSpPr/>
                <p:nvPr/>
              </p:nvGrpSpPr>
              <p:grpSpPr>
                <a:xfrm>
                  <a:off x="14568035" y="5357818"/>
                  <a:ext cx="199836" cy="175226"/>
                  <a:chOff x="14559757" y="5349611"/>
                  <a:chExt cx="216392" cy="191641"/>
                </a:xfrm>
              </p:grpSpPr>
              <p:sp>
                <p:nvSpPr>
                  <p:cNvPr id="177" name="Parallellogram 176"/>
                  <p:cNvSpPr/>
                  <p:nvPr/>
                </p:nvSpPr>
                <p:spPr>
                  <a:xfrm>
                    <a:off x="14559757" y="5369222"/>
                    <a:ext cx="214316" cy="147762"/>
                  </a:xfrm>
                  <a:prstGeom prst="parallelogram">
                    <a:avLst>
                      <a:gd name="adj" fmla="val 93909"/>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178" name="Parallellogram 177"/>
                  <p:cNvSpPr/>
                  <p:nvPr/>
                </p:nvSpPr>
                <p:spPr>
                  <a:xfrm flipH="1">
                    <a:off x="14561833" y="5349611"/>
                    <a:ext cx="214316" cy="191641"/>
                  </a:xfrm>
                  <a:prstGeom prst="parallelogram">
                    <a:avLst>
                      <a:gd name="adj" fmla="val 68946"/>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Light" panose="020B0502040204020203" pitchFamily="34" charset="0"/>
                      <a:ea typeface="Adobe Heiti Std R" panose="020B0400000000000000" pitchFamily="34" charset="-128"/>
                      <a:cs typeface="Segoe UI Light" panose="020B0502040204020203" pitchFamily="34" charset="0"/>
                    </a:endParaRPr>
                  </a:p>
                </p:txBody>
              </p:sp>
            </p:grpSp>
          </p:grpSp>
        </p:grpSp>
        <p:sp>
          <p:nvSpPr>
            <p:cNvPr id="165" name="Tekstvak 33"/>
            <p:cNvSpPr txBox="1"/>
            <p:nvPr userDrawn="1"/>
          </p:nvSpPr>
          <p:spPr>
            <a:xfrm>
              <a:off x="12537681" y="5123358"/>
              <a:ext cx="2588841" cy="646331"/>
            </a:xfrm>
            <a:prstGeom prst="rect">
              <a:avLst/>
            </a:prstGeom>
            <a:noFill/>
          </p:spPr>
          <p:txBody>
            <a:bodyPr wrap="square" lIns="0" tIns="0" rIns="0" bIns="0" rtlCol="0" anchor="t">
              <a:spAutoFit/>
            </a:bodyPr>
            <a:lstStyle>
              <a:defPPr>
                <a:defRPr lang="nl-NL"/>
              </a:defPPr>
              <a:lvl1pPr marR="0" lvl="0" indent="0" defTabSz="914400" fontAlgn="auto">
                <a:lnSpc>
                  <a:spcPct val="100000"/>
                </a:lnSpc>
                <a:spcBef>
                  <a:spcPts val="0"/>
                </a:spcBef>
                <a:spcAft>
                  <a:spcPts val="0"/>
                </a:spcAft>
                <a:buClrTx/>
                <a:buSzTx/>
                <a:buFontTx/>
                <a:buNone/>
                <a:tabLst/>
                <a:defRPr kumimoji="0" sz="1400" b="0" i="0" u="none" strike="noStrike" kern="0" cap="none" spc="0" normalizeH="0" baseline="0">
                  <a:ln>
                    <a:noFill/>
                  </a:ln>
                  <a:effectLst/>
                  <a:uLnTx/>
                  <a:uFillTx/>
                  <a:latin typeface="Calibri"/>
                  <a:ea typeface="Tahoma" pitchFamily="34" charset="0"/>
                  <a:cs typeface="Arial" pitchFamily="34" charset="0"/>
                </a:defRPr>
              </a:lvl1pPr>
            </a:lstStyle>
            <a:p>
              <a:pPr lvl="0"/>
              <a:r>
                <a:rPr lang="nl-NL" dirty="0"/>
                <a:t>Selecteer de grafiek, klik op de rechter muisknop en kies </a:t>
              </a:r>
              <a:r>
                <a:rPr lang="nl-NL" b="1" dirty="0"/>
                <a:t>‘Gegevens bewerken’</a:t>
              </a:r>
            </a:p>
          </p:txBody>
        </p:sp>
        <p:sp>
          <p:nvSpPr>
            <p:cNvPr id="166" name="Rechthoek 165"/>
            <p:cNvSpPr/>
            <p:nvPr userDrawn="1"/>
          </p:nvSpPr>
          <p:spPr>
            <a:xfrm>
              <a:off x="12363871" y="4529047"/>
              <a:ext cx="2584447" cy="3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lvl="0"/>
              <a:r>
                <a:rPr lang="nl-NL" sz="1600" b="1" dirty="0">
                  <a:solidFill>
                    <a:schemeClr val="tx2"/>
                  </a:solidFill>
                </a:rPr>
                <a:t>GRAFIEK BEWERKEN</a:t>
              </a:r>
            </a:p>
          </p:txBody>
        </p:sp>
        <p:pic>
          <p:nvPicPr>
            <p:cNvPr id="167" name="Picture 3"/>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4262557" y="6394752"/>
              <a:ext cx="158644" cy="256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5" name="Groep 214"/>
          <p:cNvGrpSpPr/>
          <p:nvPr userDrawn="1"/>
        </p:nvGrpSpPr>
        <p:grpSpPr>
          <a:xfrm>
            <a:off x="12345303" y="-26002"/>
            <a:ext cx="2808312" cy="5805264"/>
            <a:chOff x="-2973833" y="0"/>
            <a:chExt cx="2808312" cy="5805264"/>
          </a:xfrm>
        </p:grpSpPr>
        <p:sp>
          <p:nvSpPr>
            <p:cNvPr id="216" name="Rechthoek 215"/>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dirty="0">
                  <a:solidFill>
                    <a:schemeClr val="tx2"/>
                  </a:solidFill>
                </a:rPr>
                <a:t>TEKST LEVELS</a:t>
              </a:r>
            </a:p>
          </p:txBody>
        </p:sp>
        <p:sp>
          <p:nvSpPr>
            <p:cNvPr id="217" name="Textfield placeholde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rPr>
                <a:t>Lees-tekst</a:t>
              </a:r>
            </a:p>
          </p:txBody>
        </p:sp>
        <p:sp>
          <p:nvSpPr>
            <p:cNvPr id="218" name="Ovaal 217"/>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rPr>
                <a:t>1</a:t>
              </a:r>
            </a:p>
          </p:txBody>
        </p:sp>
        <p:sp>
          <p:nvSpPr>
            <p:cNvPr id="219" name="Ovaal 218"/>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rPr>
                <a:t>2</a:t>
              </a:r>
            </a:p>
          </p:txBody>
        </p:sp>
        <p:sp>
          <p:nvSpPr>
            <p:cNvPr id="220" name="Ovaal 219"/>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rPr>
                <a:t>3</a:t>
              </a:r>
            </a:p>
          </p:txBody>
        </p:sp>
        <p:sp>
          <p:nvSpPr>
            <p:cNvPr id="221" name="Ovaal 220"/>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rPr>
                <a:t>4</a:t>
              </a:r>
            </a:p>
          </p:txBody>
        </p:sp>
        <p:sp>
          <p:nvSpPr>
            <p:cNvPr id="222" name="Textfield placeholde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rPr>
                <a:t>Bullet</a:t>
              </a:r>
            </a:p>
          </p:txBody>
        </p:sp>
        <p:sp>
          <p:nvSpPr>
            <p:cNvPr id="223" name="Textfield placeholde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224" name="Textfield placeholde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1" kern="1200" dirty="0">
                  <a:solidFill>
                    <a:schemeClr val="tx2"/>
                  </a:solidFill>
                  <a:latin typeface="+mn-lt"/>
                  <a:ea typeface="+mn-ea"/>
                  <a:cs typeface="+mn-cs"/>
                </a:rPr>
                <a:t>Sub-kop</a:t>
              </a:r>
            </a:p>
          </p:txBody>
        </p:sp>
        <p:cxnSp>
          <p:nvCxnSpPr>
            <p:cNvPr id="225" name="Rechte verbindingslijn 224"/>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6" name="Rechte verbindingslijn 225"/>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7" name="Rechte verbindingslijn 226"/>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228" name="Picture 3"/>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9" name="Picture 4"/>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30" name="Groep 229"/>
            <p:cNvGrpSpPr/>
            <p:nvPr userDrawn="1"/>
          </p:nvGrpSpPr>
          <p:grpSpPr>
            <a:xfrm>
              <a:off x="-2098870" y="523279"/>
              <a:ext cx="435437" cy="427699"/>
              <a:chOff x="-1085063" y="758027"/>
              <a:chExt cx="633800" cy="622540"/>
            </a:xfrm>
          </p:grpSpPr>
          <p:sp>
            <p:nvSpPr>
              <p:cNvPr id="271" name="Afgeronde rechthoek 270"/>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p>
            </p:txBody>
          </p:sp>
          <p:grpSp>
            <p:nvGrpSpPr>
              <p:cNvPr id="272" name="Groep 271"/>
              <p:cNvGrpSpPr/>
              <p:nvPr userDrawn="1"/>
            </p:nvGrpSpPr>
            <p:grpSpPr>
              <a:xfrm>
                <a:off x="-977746" y="864082"/>
                <a:ext cx="419166" cy="410430"/>
                <a:chOff x="6366933" y="309013"/>
                <a:chExt cx="1901295" cy="1861668"/>
              </a:xfrm>
              <a:solidFill>
                <a:schemeClr val="tx1"/>
              </a:solidFill>
            </p:grpSpPr>
            <p:sp>
              <p:nvSpPr>
                <p:cNvPr id="273" name="Rechthoek 272"/>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4" name="Rechthoek 273"/>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5" name="Rechthoek 274"/>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6" name="Rechthoek 275"/>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7" name="Rechthoek 276"/>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8" name="Rechthoek 277"/>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9" name="Rechthoek 278"/>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0" name="Rechthoek 279"/>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1" name="Rechthoek 280"/>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2" name="Rechthoek 281"/>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3" name="Vrije vorm 282"/>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grpSp>
        <p:grpSp>
          <p:nvGrpSpPr>
            <p:cNvPr id="231" name="Groep 230"/>
            <p:cNvGrpSpPr/>
            <p:nvPr userDrawn="1"/>
          </p:nvGrpSpPr>
          <p:grpSpPr>
            <a:xfrm>
              <a:off x="-2095303" y="1071657"/>
              <a:ext cx="435437" cy="427699"/>
              <a:chOff x="-1845083" y="758027"/>
              <a:chExt cx="633800" cy="622540"/>
            </a:xfrm>
          </p:grpSpPr>
          <p:sp>
            <p:nvSpPr>
              <p:cNvPr id="258" name="Afgeronde rechthoek 257"/>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259" name="Groep 258"/>
              <p:cNvGrpSpPr/>
              <p:nvPr userDrawn="1"/>
            </p:nvGrpSpPr>
            <p:grpSpPr>
              <a:xfrm>
                <a:off x="-1737766" y="864082"/>
                <a:ext cx="419166" cy="410430"/>
                <a:chOff x="3708400" y="309013"/>
                <a:chExt cx="1901295" cy="1861668"/>
              </a:xfrm>
              <a:solidFill>
                <a:schemeClr val="tx1"/>
              </a:solidFill>
            </p:grpSpPr>
            <p:sp>
              <p:nvSpPr>
                <p:cNvPr id="260" name="Rechthoek 259"/>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1" name="Rechthoek 260"/>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2" name="Rechthoek 261"/>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3" name="Rechthoek 262"/>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4" name="Rechthoek 263"/>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5" name="Rechthoek 264"/>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6" name="Rechthoek 265"/>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7" name="Rechthoek 266"/>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8" name="Rechthoek 267"/>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9" name="Rechthoek 268"/>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0" name="Vrije vorm 269"/>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grpSp>
        <p:cxnSp>
          <p:nvCxnSpPr>
            <p:cNvPr id="232" name="Rechte verbindingslijn 231"/>
            <p:cNvCxnSpPr>
              <a:stCxn id="234" idx="2"/>
              <a:endCxn id="258"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33" name="Rechte verbindingslijn 232"/>
            <p:cNvCxnSpPr>
              <a:stCxn id="235" idx="3"/>
              <a:endCxn id="271"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34" name="Ovaal 233"/>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5" name="Ovaal 234"/>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6" name="Textfield placeholde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rPr>
                <a:t>Niveau</a:t>
              </a:r>
              <a:r>
                <a:rPr lang="en-GB" sz="1200" b="0" dirty="0">
                  <a:solidFill>
                    <a:schemeClr val="tx1"/>
                  </a:solidFill>
                </a:rPr>
                <a:t> vooruit</a:t>
              </a:r>
            </a:p>
          </p:txBody>
        </p:sp>
        <p:sp>
          <p:nvSpPr>
            <p:cNvPr id="237" name="Textfield placeholde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rPr>
                <a:t>Niveau</a:t>
              </a:r>
              <a:r>
                <a:rPr lang="en-GB" sz="1200" b="0" dirty="0">
                  <a:solidFill>
                    <a:schemeClr val="tx1"/>
                  </a:solidFill>
                </a:rPr>
                <a:t> terug</a:t>
              </a:r>
            </a:p>
          </p:txBody>
        </p:sp>
        <p:sp>
          <p:nvSpPr>
            <p:cNvPr id="238" name="Ovaal 237"/>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rPr>
                <a:t>5</a:t>
              </a:r>
            </a:p>
          </p:txBody>
        </p:sp>
        <p:sp>
          <p:nvSpPr>
            <p:cNvPr id="239" name="Ovaal 238"/>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rPr>
                <a:t>6</a:t>
              </a:r>
            </a:p>
          </p:txBody>
        </p:sp>
        <p:sp>
          <p:nvSpPr>
            <p:cNvPr id="240" name="Ovaal 239"/>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rPr>
                <a:t>7</a:t>
              </a:r>
            </a:p>
          </p:txBody>
        </p:sp>
        <p:sp>
          <p:nvSpPr>
            <p:cNvPr id="241" name="Ovaal 240"/>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rPr>
                <a:t>8</a:t>
              </a:r>
            </a:p>
          </p:txBody>
        </p:sp>
        <p:sp>
          <p:nvSpPr>
            <p:cNvPr id="242" name="Ovaal 241"/>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rPr>
                <a:t>9</a:t>
              </a:r>
            </a:p>
          </p:txBody>
        </p:sp>
        <p:sp>
          <p:nvSpPr>
            <p:cNvPr id="243" name="Textfield placeholde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44" name="Textfield placeholde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45" name="Textfield placeholde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46" name="Textfield placeholde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1" kern="1200" noProof="0" dirty="0">
                  <a:solidFill>
                    <a:schemeClr val="tx2"/>
                  </a:solidFill>
                  <a:latin typeface="+mn-lt"/>
                  <a:ea typeface="+mn-ea"/>
                  <a:cs typeface="+mn-cs"/>
                </a:rPr>
                <a:t>Cursief</a:t>
              </a:r>
            </a:p>
          </p:txBody>
        </p:sp>
        <p:sp>
          <p:nvSpPr>
            <p:cNvPr id="247" name="Textfield placeholde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48" name="Groep 247"/>
            <p:cNvGrpSpPr/>
            <p:nvPr userDrawn="1"/>
          </p:nvGrpSpPr>
          <p:grpSpPr>
            <a:xfrm>
              <a:off x="-950342" y="1837957"/>
              <a:ext cx="687412" cy="3758146"/>
              <a:chOff x="-740196" y="1837957"/>
              <a:chExt cx="1374825" cy="3758146"/>
            </a:xfrm>
          </p:grpSpPr>
          <p:sp>
            <p:nvSpPr>
              <p:cNvPr id="249" name="Textfield placeholde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rPr>
                  <a:t>20 pt</a:t>
                </a:r>
              </a:p>
            </p:txBody>
          </p:sp>
          <p:sp>
            <p:nvSpPr>
              <p:cNvPr id="250" name="Textfield placeholde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rPr>
                  <a:t>20 pt</a:t>
                </a:r>
              </a:p>
            </p:txBody>
          </p:sp>
          <p:sp>
            <p:nvSpPr>
              <p:cNvPr id="251" name="Textfield placeholde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rPr>
                  <a:t>18 pt</a:t>
                </a:r>
              </a:p>
            </p:txBody>
          </p:sp>
          <p:sp>
            <p:nvSpPr>
              <p:cNvPr id="252" name="Textfield placeholde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rPr>
                  <a:t>24 pt</a:t>
                </a:r>
              </a:p>
            </p:txBody>
          </p:sp>
          <p:sp>
            <p:nvSpPr>
              <p:cNvPr id="253" name="Textfield placeholde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rPr>
                  <a:t>32 pt</a:t>
                </a:r>
              </a:p>
            </p:txBody>
          </p:sp>
          <p:sp>
            <p:nvSpPr>
              <p:cNvPr id="254" name="Textfield placeholde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rPr>
                  <a:t>18 pt</a:t>
                </a:r>
              </a:p>
            </p:txBody>
          </p:sp>
          <p:sp>
            <p:nvSpPr>
              <p:cNvPr id="255" name="Textfield placeholde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rPr>
                  <a:t>18 pt</a:t>
                </a:r>
              </a:p>
            </p:txBody>
          </p:sp>
          <p:sp>
            <p:nvSpPr>
              <p:cNvPr id="256" name="Textfield placeholde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rPr>
                  <a:t>16 pt</a:t>
                </a:r>
              </a:p>
            </p:txBody>
          </p:sp>
          <p:sp>
            <p:nvSpPr>
              <p:cNvPr id="257" name="Textfield placeholde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rPr>
                  <a:t>18 pt</a:t>
                </a:r>
              </a:p>
            </p:txBody>
          </p:sp>
        </p:grpSp>
      </p:grpSp>
    </p:spTree>
    <p:extLst>
      <p:ext uri="{BB962C8B-B14F-4D97-AF65-F5344CB8AC3E}">
        <p14:creationId xmlns:p14="http://schemas.microsoft.com/office/powerpoint/2010/main" val="1286661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ekst Rechts + afbeelding (S) blauw">
    <p:spTree>
      <p:nvGrpSpPr>
        <p:cNvPr id="1" name=""/>
        <p:cNvGrpSpPr/>
        <p:nvPr/>
      </p:nvGrpSpPr>
      <p:grpSpPr>
        <a:xfrm>
          <a:off x="0" y="0"/>
          <a:ext cx="0" cy="0"/>
          <a:chOff x="0" y="0"/>
          <a:chExt cx="0" cy="0"/>
        </a:xfrm>
      </p:grpSpPr>
      <p:sp>
        <p:nvSpPr>
          <p:cNvPr id="95" name="Rechthoek 94"/>
          <p:cNvSpPr/>
          <p:nvPr userDrawn="1"/>
        </p:nvSpPr>
        <p:spPr>
          <a:xfrm>
            <a:off x="4760397" y="1420286"/>
            <a:ext cx="7434778" cy="452598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p>
        </p:txBody>
      </p:sp>
      <p:sp>
        <p:nvSpPr>
          <p:cNvPr id="8" name="Rechthoek 7"/>
          <p:cNvSpPr/>
          <p:nvPr userDrawn="1"/>
        </p:nvSpPr>
        <p:spPr>
          <a:xfrm>
            <a:off x="0" y="1420286"/>
            <a:ext cx="4760397" cy="452598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p>
        </p:txBody>
      </p:sp>
      <p:sp>
        <p:nvSpPr>
          <p:cNvPr id="2" name="Titel 1"/>
          <p:cNvSpPr>
            <a:spLocks noGrp="1"/>
          </p:cNvSpPr>
          <p:nvPr>
            <p:ph type="title"/>
          </p:nvPr>
        </p:nvSpPr>
        <p:spPr/>
        <p:txBody>
          <a:bodyPr/>
          <a:lstStyle/>
          <a:p>
            <a:r>
              <a:rPr lang="nl-NL"/>
              <a:t>Klik om de stijl te bewerken</a:t>
            </a:r>
            <a:endParaRPr lang="en-GB" dirty="0"/>
          </a:p>
        </p:txBody>
      </p:sp>
      <p:sp>
        <p:nvSpPr>
          <p:cNvPr id="3" name="Tijdelijke aanduiding voor verticale tekst 2"/>
          <p:cNvSpPr>
            <a:spLocks noGrp="1"/>
          </p:cNvSpPr>
          <p:nvPr>
            <p:ph type="body" orient="vert" idx="1"/>
          </p:nvPr>
        </p:nvSpPr>
        <p:spPr>
          <a:xfrm>
            <a:off x="5232986" y="1420284"/>
            <a:ext cx="6962189" cy="4510800"/>
          </a:xfrm>
        </p:spPr>
        <p:txBody>
          <a:bodyPr vert="horz"/>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dirty="0"/>
          </a:p>
        </p:txBody>
      </p:sp>
      <p:sp>
        <p:nvSpPr>
          <p:cNvPr id="4" name="Tijdelijke aanduiding voor datum 3"/>
          <p:cNvSpPr>
            <a:spLocks noGrp="1"/>
          </p:cNvSpPr>
          <p:nvPr>
            <p:ph type="dt" sz="half" idx="10"/>
          </p:nvPr>
        </p:nvSpPr>
        <p:spPr/>
        <p:txBody>
          <a:bodyPr/>
          <a:lstStyle/>
          <a:p>
            <a:fld id="{0F8079C1-E933-494D-B208-4D808A1D6D57}" type="datetime4">
              <a:rPr lang="nl-NL" smtClean="0"/>
              <a:t>29 mei 2020</a:t>
            </a:fld>
            <a:endParaRPr lang="en-GB"/>
          </a:p>
        </p:txBody>
      </p:sp>
      <p:sp>
        <p:nvSpPr>
          <p:cNvPr id="5" name="Tijdelijke aanduiding voor voettekst 4"/>
          <p:cNvSpPr>
            <a:spLocks noGrp="1"/>
          </p:cNvSpPr>
          <p:nvPr>
            <p:ph type="ftr" sz="quarter" idx="11"/>
          </p:nvPr>
        </p:nvSpPr>
        <p:spPr/>
        <p:txBody>
          <a:bodyPr/>
          <a:lstStyle/>
          <a:p>
            <a:r>
              <a:rPr lang="en-GB"/>
              <a:t>|</a:t>
            </a:r>
            <a:endParaRPr lang="en-GB" dirty="0"/>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ijdelijke aanduiding voor afbeelding 2"/>
          <p:cNvSpPr>
            <a:spLocks noGrp="1"/>
          </p:cNvSpPr>
          <p:nvPr>
            <p:ph type="pic" idx="13"/>
          </p:nvPr>
        </p:nvSpPr>
        <p:spPr>
          <a:xfrm>
            <a:off x="0" y="1420100"/>
            <a:ext cx="4760397" cy="4510800"/>
          </a:xfrm>
          <a:no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10" name="Tijdelijke aanduiding voor verticale tekst 2"/>
          <p:cNvSpPr>
            <a:spLocks noGrp="1"/>
          </p:cNvSpPr>
          <p:nvPr>
            <p:ph type="body" orient="vert" idx="14" hasCustomPrompt="1"/>
          </p:nvPr>
        </p:nvSpPr>
        <p:spPr>
          <a:xfrm>
            <a:off x="-2" y="5426900"/>
            <a:ext cx="4760399" cy="504000"/>
          </a:xfrm>
          <a:solidFill>
            <a:schemeClr val="accent2">
              <a:lumMod val="60000"/>
              <a:lumOff val="40000"/>
            </a:schemeClr>
          </a:solidFill>
        </p:spPr>
        <p:txBody>
          <a:bodyPr vert="horz" lIns="216000" tIns="36000" rIns="216000" bIns="0" anchor="ctr"/>
          <a:lstStyle>
            <a:lvl1pPr algn="r">
              <a:defRPr sz="1799" b="0">
                <a:solidFill>
                  <a:schemeClr val="tx2"/>
                </a:solidFill>
              </a:defRPr>
            </a:lvl1pPr>
          </a:lstStyle>
          <a:p>
            <a:pPr lvl="0"/>
            <a:r>
              <a:rPr lang="nl-NL" dirty="0"/>
              <a:t>Onderschrift</a:t>
            </a:r>
          </a:p>
        </p:txBody>
      </p:sp>
      <p:sp>
        <p:nvSpPr>
          <p:cNvPr id="11" name="Tekstvak 10"/>
          <p:cNvSpPr txBox="1"/>
          <p:nvPr userDrawn="1"/>
        </p:nvSpPr>
        <p:spPr>
          <a:xfrm>
            <a:off x="0" y="-521614"/>
            <a:ext cx="3504624" cy="469107"/>
          </a:xfrm>
          <a:prstGeom prst="rect">
            <a:avLst/>
          </a:prstGeom>
          <a:noFill/>
        </p:spPr>
        <p:txBody>
          <a:bodyPr wrap="square" rtlCol="0" anchor="b">
            <a:noAutofit/>
          </a:bodyPr>
          <a:lstStyle/>
          <a:p>
            <a:r>
              <a:rPr lang="nl-NL" sz="1333" b="1" dirty="0">
                <a:solidFill>
                  <a:schemeClr val="accent6"/>
                </a:solidFill>
              </a:rPr>
              <a:t>Tekst Rechts + afbeelding (S)</a:t>
            </a:r>
          </a:p>
        </p:txBody>
      </p:sp>
      <p:grpSp>
        <p:nvGrpSpPr>
          <p:cNvPr id="12" name="Groep 11"/>
          <p:cNvGrpSpPr/>
          <p:nvPr userDrawn="1"/>
        </p:nvGrpSpPr>
        <p:grpSpPr>
          <a:xfrm>
            <a:off x="-3208225" y="-26002"/>
            <a:ext cx="3064812" cy="4530930"/>
            <a:chOff x="15419739" y="-26002"/>
            <a:chExt cx="3064812" cy="4530930"/>
          </a:xfrm>
        </p:grpSpPr>
        <p:sp>
          <p:nvSpPr>
            <p:cNvPr id="13"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1"/>
                </a:solidFill>
                <a:effectLst/>
                <a:uLnTx/>
                <a:uFillTx/>
                <a:latin typeface="Calibri"/>
                <a:ea typeface="Tahoma" pitchFamily="34" charset="0"/>
                <a:cs typeface="Arial" pitchFamily="34" charset="0"/>
              </a:endParaRPr>
            </a:p>
          </p:txBody>
        </p:sp>
        <p:sp>
          <p:nvSpPr>
            <p:cNvPr id="14"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dirty="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dirty="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dirty="0">
                <a:ln>
                  <a:noFill/>
                </a:ln>
                <a:solidFill>
                  <a:schemeClr val="tx2"/>
                </a:solidFill>
                <a:effectLst/>
                <a:uLnTx/>
                <a:uFillTx/>
                <a:latin typeface="Calibri"/>
                <a:ea typeface="Tahoma" pitchFamily="34" charset="0"/>
                <a:cs typeface="Arial" pitchFamily="34" charset="0"/>
              </a:endParaRPr>
            </a:p>
          </p:txBody>
        </p:sp>
        <p:sp>
          <p:nvSpPr>
            <p:cNvPr id="15" name="Ovaal 14"/>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Calibri"/>
                </a:rPr>
                <a:t>1</a:t>
              </a:r>
            </a:p>
          </p:txBody>
        </p:sp>
        <p:sp>
          <p:nvSpPr>
            <p:cNvPr id="16" name="Ovaal 15"/>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Calibri"/>
                </a:rPr>
                <a:t>2</a:t>
              </a:r>
            </a:p>
          </p:txBody>
        </p:sp>
        <p:pic>
          <p:nvPicPr>
            <p:cNvPr id="17"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18"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19" name="Tekstvak 18"/>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dirty="0">
                <a:ln>
                  <a:noFill/>
                </a:ln>
                <a:solidFill>
                  <a:srgbClr val="005634">
                    <a:lumMod val="25000"/>
                  </a:srgbClr>
                </a:solidFill>
                <a:effectLst>
                  <a:outerShdw blurRad="25400" algn="ctr" rotWithShape="0">
                    <a:prstClr val="white"/>
                  </a:outerShdw>
                </a:effectLst>
                <a:uLnTx/>
                <a:uFillTx/>
              </a:endParaRPr>
            </a:p>
          </p:txBody>
        </p:sp>
        <p:sp>
          <p:nvSpPr>
            <p:cNvPr id="20" name="Rechthoek 19"/>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dirty="0">
                  <a:solidFill>
                    <a:schemeClr val="tx2"/>
                  </a:solidFill>
                </a:rPr>
                <a:t>AFBEELDING INVOEGEN</a:t>
              </a:r>
            </a:p>
          </p:txBody>
        </p:sp>
        <p:grpSp>
          <p:nvGrpSpPr>
            <p:cNvPr id="21" name="Groep 20"/>
            <p:cNvGrpSpPr/>
            <p:nvPr userDrawn="1"/>
          </p:nvGrpSpPr>
          <p:grpSpPr>
            <a:xfrm>
              <a:off x="15563079" y="358984"/>
              <a:ext cx="2489424" cy="4145944"/>
              <a:chOff x="15563079" y="358984"/>
              <a:chExt cx="2315772" cy="4145944"/>
            </a:xfrm>
          </p:grpSpPr>
          <p:cxnSp>
            <p:nvCxnSpPr>
              <p:cNvPr id="23" name="Rechte verbindingslijn 22"/>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2" name="Afbeelding 2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grpSp>
        <p:nvGrpSpPr>
          <p:cNvPr id="26" name="Groep 25"/>
          <p:cNvGrpSpPr/>
          <p:nvPr userDrawn="1"/>
        </p:nvGrpSpPr>
        <p:grpSpPr>
          <a:xfrm>
            <a:off x="12345304" y="-26002"/>
            <a:ext cx="2808312" cy="5805264"/>
            <a:chOff x="-2973833" y="0"/>
            <a:chExt cx="2808312" cy="5805264"/>
          </a:xfrm>
        </p:grpSpPr>
        <p:sp>
          <p:nvSpPr>
            <p:cNvPr id="27" name="Rechthoek 26"/>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dirty="0">
                  <a:solidFill>
                    <a:schemeClr val="tx2"/>
                  </a:solidFill>
                </a:rPr>
                <a:t>TEKST LEVELS</a:t>
              </a:r>
            </a:p>
          </p:txBody>
        </p:sp>
        <p:sp>
          <p:nvSpPr>
            <p:cNvPr id="28" name="Textfield placeholde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rPr>
                <a:t>Lees-tekst</a:t>
              </a:r>
            </a:p>
          </p:txBody>
        </p:sp>
        <p:sp>
          <p:nvSpPr>
            <p:cNvPr id="29" name="Ovaal 28"/>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rPr>
                <a:t>1</a:t>
              </a:r>
            </a:p>
          </p:txBody>
        </p:sp>
        <p:sp>
          <p:nvSpPr>
            <p:cNvPr id="30" name="Ovaal 29"/>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rPr>
                <a:t>2</a:t>
              </a:r>
            </a:p>
          </p:txBody>
        </p:sp>
        <p:sp>
          <p:nvSpPr>
            <p:cNvPr id="31" name="Ovaal 30"/>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rPr>
                <a:t>3</a:t>
              </a:r>
            </a:p>
          </p:txBody>
        </p:sp>
        <p:sp>
          <p:nvSpPr>
            <p:cNvPr id="32" name="Ovaal 31"/>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rPr>
                <a:t>4</a:t>
              </a:r>
            </a:p>
          </p:txBody>
        </p:sp>
        <p:sp>
          <p:nvSpPr>
            <p:cNvPr id="33" name="Textfield placeholde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36" lvl="1" indent="-130136">
                <a:buClr>
                  <a:schemeClr val="tx2"/>
                </a:buClr>
                <a:buSzPct val="100000"/>
                <a:buFont typeface="Arial" panose="020B0604020202020204" pitchFamily="34" charset="0"/>
                <a:buChar char="•"/>
              </a:pPr>
              <a:r>
                <a:rPr lang="en-GB" sz="1400" b="0" dirty="0">
                  <a:solidFill>
                    <a:schemeClr val="tx2"/>
                  </a:solidFill>
                </a:rPr>
                <a:t>Bullet</a:t>
              </a:r>
            </a:p>
          </p:txBody>
        </p:sp>
        <p:sp>
          <p:nvSpPr>
            <p:cNvPr id="34" name="Textfield placeholde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3" indent="-128549"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400" b="0" kern="1200" dirty="0">
                  <a:solidFill>
                    <a:schemeClr val="tx2"/>
                  </a:solidFill>
                  <a:latin typeface="+mn-lt"/>
                  <a:ea typeface="+mn-ea"/>
                  <a:cs typeface="+mn-cs"/>
                </a:rPr>
                <a:t>Sub-bullet</a:t>
              </a:r>
            </a:p>
          </p:txBody>
        </p:sp>
        <p:sp>
          <p:nvSpPr>
            <p:cNvPr id="35" name="Textfield placeholde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126" rtl="0" eaLnBrk="1" latinLnBrk="0" hangingPunct="1">
                <a:lnSpc>
                  <a:spcPts val="1699"/>
                </a:lnSpc>
                <a:spcBef>
                  <a:spcPts val="600"/>
                </a:spcBef>
                <a:spcAft>
                  <a:spcPts val="600"/>
                </a:spcAft>
                <a:buClr>
                  <a:schemeClr val="tx2"/>
                </a:buClr>
                <a:buSzPct val="85000"/>
                <a:buFont typeface="Arial" panose="020B0604020202020204" pitchFamily="34" charset="0"/>
                <a:buNone/>
                <a:tabLst>
                  <a:tab pos="1074416" algn="l"/>
                </a:tabLst>
              </a:pPr>
              <a:r>
                <a:rPr lang="en-GB" sz="1600" b="1" kern="1200" dirty="0">
                  <a:solidFill>
                    <a:schemeClr val="tx2"/>
                  </a:solidFill>
                  <a:latin typeface="+mn-lt"/>
                  <a:ea typeface="+mn-ea"/>
                  <a:cs typeface="+mn-cs"/>
                </a:rPr>
                <a:t>Sub-kop</a:t>
              </a:r>
            </a:p>
          </p:txBody>
        </p:sp>
        <p:cxnSp>
          <p:nvCxnSpPr>
            <p:cNvPr id="36" name="Rechte verbindingslijn 35"/>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Rechte verbindingslijn 36"/>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39" name="Picture 3"/>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Picture 4"/>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1" name="Groep 40"/>
            <p:cNvGrpSpPr/>
            <p:nvPr userDrawn="1"/>
          </p:nvGrpSpPr>
          <p:grpSpPr>
            <a:xfrm>
              <a:off x="-2098870" y="523279"/>
              <a:ext cx="435437" cy="427699"/>
              <a:chOff x="-1085063" y="758027"/>
              <a:chExt cx="633800" cy="622540"/>
            </a:xfrm>
          </p:grpSpPr>
          <p:sp>
            <p:nvSpPr>
              <p:cNvPr id="82" name="Afgeronde rechthoek 81"/>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799" dirty="0"/>
              </a:p>
            </p:txBody>
          </p:sp>
          <p:grpSp>
            <p:nvGrpSpPr>
              <p:cNvPr id="83" name="Groep 82"/>
              <p:cNvGrpSpPr/>
              <p:nvPr userDrawn="1"/>
            </p:nvGrpSpPr>
            <p:grpSpPr>
              <a:xfrm>
                <a:off x="-977746" y="864082"/>
                <a:ext cx="419166" cy="410430"/>
                <a:chOff x="6366933" y="309013"/>
                <a:chExt cx="1901295" cy="1861668"/>
              </a:xfrm>
              <a:solidFill>
                <a:schemeClr val="tx1"/>
              </a:solidFill>
            </p:grpSpPr>
            <p:sp>
              <p:nvSpPr>
                <p:cNvPr id="84" name="Rechthoek 83"/>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5" name="Rechthoek 84"/>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6" name="Rechthoek 85"/>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7" name="Rechthoek 86"/>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8" name="Rechthoek 87"/>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9" name="Rechthoek 88"/>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0" name="Rechthoek 89"/>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1" name="Rechthoek 90"/>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2" name="Rechthoek 91"/>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3" name="Rechthoek 92"/>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4" name="Vrije vorm 93"/>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grpSp>
          <p:nvGrpSpPr>
            <p:cNvPr id="42" name="Groep 41"/>
            <p:cNvGrpSpPr/>
            <p:nvPr userDrawn="1"/>
          </p:nvGrpSpPr>
          <p:grpSpPr>
            <a:xfrm>
              <a:off x="-2095303" y="1071657"/>
              <a:ext cx="435437" cy="427699"/>
              <a:chOff x="-1845083" y="758027"/>
              <a:chExt cx="633800" cy="622540"/>
            </a:xfrm>
          </p:grpSpPr>
          <p:sp>
            <p:nvSpPr>
              <p:cNvPr id="69" name="Afgeronde rechthoek 68"/>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dirty="0"/>
              </a:p>
            </p:txBody>
          </p:sp>
          <p:grpSp>
            <p:nvGrpSpPr>
              <p:cNvPr id="70" name="Groep 69"/>
              <p:cNvGrpSpPr/>
              <p:nvPr userDrawn="1"/>
            </p:nvGrpSpPr>
            <p:grpSpPr>
              <a:xfrm>
                <a:off x="-1737766" y="864082"/>
                <a:ext cx="419166" cy="410430"/>
                <a:chOff x="3708400" y="309013"/>
                <a:chExt cx="1901295" cy="1861668"/>
              </a:xfrm>
              <a:solidFill>
                <a:schemeClr val="tx1"/>
              </a:solidFill>
            </p:grpSpPr>
            <p:sp>
              <p:nvSpPr>
                <p:cNvPr id="71" name="Rechthoek 70"/>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2" name="Rechthoek 71"/>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3" name="Rechthoek 72"/>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4" name="Rechthoek 73"/>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5" name="Rechthoek 74"/>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6" name="Rechthoek 75"/>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7" name="Rechthoek 76"/>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8" name="Rechthoek 77"/>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9" name="Rechthoek 78"/>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0" name="Rechthoek 79"/>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1" name="Vrije vorm 80"/>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cxnSp>
          <p:nvCxnSpPr>
            <p:cNvPr id="43" name="Rechte verbindingslijn 42"/>
            <p:cNvCxnSpPr>
              <a:stCxn id="45" idx="2"/>
              <a:endCxn id="69"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44" name="Rechte verbindingslijn 43"/>
            <p:cNvCxnSpPr>
              <a:stCxn id="46" idx="3"/>
              <a:endCxn id="82"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45" name="Ovaal 44"/>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46" name="Ovaal 45"/>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47" name="Textfield placeholde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rPr>
                <a:t>Niveau</a:t>
              </a:r>
              <a:r>
                <a:rPr lang="en-GB" sz="1200" b="0" dirty="0">
                  <a:solidFill>
                    <a:schemeClr val="tx1"/>
                  </a:solidFill>
                </a:rPr>
                <a:t> vooruit</a:t>
              </a:r>
            </a:p>
          </p:txBody>
        </p:sp>
        <p:sp>
          <p:nvSpPr>
            <p:cNvPr id="48" name="Textfield placeholde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rPr>
                <a:t>Niveau</a:t>
              </a:r>
              <a:r>
                <a:rPr lang="en-GB" sz="1200" b="0" dirty="0">
                  <a:solidFill>
                    <a:schemeClr val="tx1"/>
                  </a:solidFill>
                </a:rPr>
                <a:t> terug</a:t>
              </a:r>
            </a:p>
          </p:txBody>
        </p:sp>
        <p:sp>
          <p:nvSpPr>
            <p:cNvPr id="49" name="Ovaal 48"/>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rPr>
                <a:t>5</a:t>
              </a:r>
            </a:p>
          </p:txBody>
        </p:sp>
        <p:sp>
          <p:nvSpPr>
            <p:cNvPr id="50" name="Ovaal 49"/>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rPr>
                <a:t>6</a:t>
              </a:r>
            </a:p>
          </p:txBody>
        </p:sp>
        <p:sp>
          <p:nvSpPr>
            <p:cNvPr id="51" name="Ovaal 50"/>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rPr>
                <a:t>7</a:t>
              </a:r>
            </a:p>
          </p:txBody>
        </p:sp>
        <p:sp>
          <p:nvSpPr>
            <p:cNvPr id="52" name="Ovaal 51"/>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rPr>
                <a:t>8</a:t>
              </a:r>
            </a:p>
          </p:txBody>
        </p:sp>
        <p:sp>
          <p:nvSpPr>
            <p:cNvPr id="53" name="Ovaal 52"/>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rPr>
                <a:t>9</a:t>
              </a:r>
            </a:p>
          </p:txBody>
        </p:sp>
        <p:sp>
          <p:nvSpPr>
            <p:cNvPr id="54" name="Textfield placeholde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399" b="0" i="0" dirty="0">
                  <a:solidFill>
                    <a:schemeClr val="tx2"/>
                  </a:solidFill>
                  <a:latin typeface="+mj-lt"/>
                </a:rPr>
                <a:t>Kop</a:t>
              </a:r>
            </a:p>
          </p:txBody>
        </p:sp>
        <p:sp>
          <p:nvSpPr>
            <p:cNvPr id="55" name="Textfield placeholde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2" indent="-266620" algn="l" defTabSz="914126" rtl="0" eaLnBrk="1" latinLnBrk="0" hangingPunct="1">
                <a:lnSpc>
                  <a:spcPts val="1799"/>
                </a:lnSpc>
                <a:spcBef>
                  <a:spcPts val="600"/>
                </a:spcBef>
                <a:spcAft>
                  <a:spcPts val="600"/>
                </a:spcAft>
                <a:buClr>
                  <a:schemeClr val="tx2"/>
                </a:buClr>
                <a:buFont typeface="+mj-lt"/>
                <a:buAutoNum type="arabicPeriod"/>
                <a:tabLst>
                  <a:tab pos="1074416" algn="l"/>
                  <a:tab pos="4392882"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56" name="Textfield placeholde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692" lvl="2" indent="-138072" algn="l" defTabSz="914126" rtl="0" eaLnBrk="1" latinLnBrk="0" hangingPunct="1">
                <a:lnSpc>
                  <a:spcPts val="1799"/>
                </a:lnSpc>
                <a:spcBef>
                  <a:spcPts val="600"/>
                </a:spcBef>
                <a:spcAft>
                  <a:spcPts val="600"/>
                </a:spcAft>
                <a:buClr>
                  <a:schemeClr val="tx2"/>
                </a:buClr>
                <a:buFont typeface="Arial" panose="020B0604020202020204" pitchFamily="34" charset="0"/>
                <a:buChar char="•"/>
                <a:tabLst>
                  <a:tab pos="1074416" algn="l"/>
                  <a:tab pos="4392882" algn="l"/>
                </a:tabLst>
              </a:pPr>
              <a:r>
                <a:rPr lang="en-GB" sz="1400" kern="1200" dirty="0">
                  <a:solidFill>
                    <a:schemeClr val="tx2"/>
                  </a:solidFill>
                  <a:latin typeface="+mn-lt"/>
                  <a:ea typeface="+mn-ea"/>
                  <a:cs typeface="+mn-cs"/>
                </a:rPr>
                <a:t>Num. Bullet</a:t>
              </a:r>
            </a:p>
          </p:txBody>
        </p:sp>
        <p:sp>
          <p:nvSpPr>
            <p:cNvPr id="57" name="Textfield placeholde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416" rtl="0" eaLnBrk="1" latinLnBrk="0" hangingPunct="1">
                <a:lnSpc>
                  <a:spcPts val="1699"/>
                </a:lnSpc>
                <a:spcBef>
                  <a:spcPts val="600"/>
                </a:spcBef>
                <a:spcAft>
                  <a:spcPts val="600"/>
                </a:spcAft>
                <a:buFont typeface="Arial" panose="020B0604020202020204" pitchFamily="34" charset="0"/>
                <a:buNone/>
              </a:pPr>
              <a:r>
                <a:rPr lang="nl-NL" sz="1400" b="0" i="1" kern="1200" noProof="0" dirty="0">
                  <a:solidFill>
                    <a:schemeClr val="tx2"/>
                  </a:solidFill>
                  <a:latin typeface="+mn-lt"/>
                  <a:ea typeface="+mn-ea"/>
                  <a:cs typeface="+mn-cs"/>
                </a:rPr>
                <a:t>Cursief</a:t>
              </a:r>
            </a:p>
          </p:txBody>
        </p:sp>
        <p:sp>
          <p:nvSpPr>
            <p:cNvPr id="58" name="Textfield placeholde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828" lvl="3" indent="-138072"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200" b="0" kern="1200" dirty="0">
                  <a:solidFill>
                    <a:schemeClr val="tx2"/>
                  </a:solidFill>
                  <a:latin typeface="+mn-lt"/>
                  <a:ea typeface="+mn-ea"/>
                  <a:cs typeface="+mn-cs"/>
                </a:rPr>
                <a:t>Sub-bullet</a:t>
              </a:r>
            </a:p>
          </p:txBody>
        </p:sp>
        <p:grpSp>
          <p:nvGrpSpPr>
            <p:cNvPr id="59" name="Groep 58"/>
            <p:cNvGrpSpPr/>
            <p:nvPr userDrawn="1"/>
          </p:nvGrpSpPr>
          <p:grpSpPr>
            <a:xfrm>
              <a:off x="-950342" y="1837957"/>
              <a:ext cx="687412" cy="3758146"/>
              <a:chOff x="-740196" y="1837957"/>
              <a:chExt cx="1374825" cy="3758146"/>
            </a:xfrm>
          </p:grpSpPr>
          <p:sp>
            <p:nvSpPr>
              <p:cNvPr id="60" name="Textfield placeholde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rPr>
                  <a:t>20 pt</a:t>
                </a:r>
              </a:p>
            </p:txBody>
          </p:sp>
          <p:sp>
            <p:nvSpPr>
              <p:cNvPr id="61" name="Textfield placeholde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rPr>
                  <a:t>20 pt</a:t>
                </a:r>
              </a:p>
            </p:txBody>
          </p:sp>
          <p:sp>
            <p:nvSpPr>
              <p:cNvPr id="62" name="Textfield placeholde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rPr>
                  <a:t>18 pt</a:t>
                </a:r>
              </a:p>
            </p:txBody>
          </p:sp>
          <p:sp>
            <p:nvSpPr>
              <p:cNvPr id="63" name="Textfield placeholde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rPr>
                  <a:t>24 pt</a:t>
                </a:r>
              </a:p>
            </p:txBody>
          </p:sp>
          <p:sp>
            <p:nvSpPr>
              <p:cNvPr id="64" name="Textfield placeholde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rPr>
                  <a:t>32 pt</a:t>
                </a:r>
              </a:p>
            </p:txBody>
          </p:sp>
          <p:sp>
            <p:nvSpPr>
              <p:cNvPr id="65" name="Textfield placeholde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rPr>
                  <a:t>18 pt</a:t>
                </a:r>
              </a:p>
            </p:txBody>
          </p:sp>
          <p:sp>
            <p:nvSpPr>
              <p:cNvPr id="66" name="Textfield placeholde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rPr>
                  <a:t>18 pt</a:t>
                </a:r>
              </a:p>
            </p:txBody>
          </p:sp>
          <p:sp>
            <p:nvSpPr>
              <p:cNvPr id="67" name="Textfield placeholde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rPr>
                  <a:t>16 pt</a:t>
                </a:r>
              </a:p>
            </p:txBody>
          </p:sp>
          <p:sp>
            <p:nvSpPr>
              <p:cNvPr id="68" name="Textfield placeholde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rPr>
                  <a:t>18 pt</a:t>
                </a:r>
              </a:p>
            </p:txBody>
          </p:sp>
        </p:grpSp>
      </p:grpSp>
    </p:spTree>
    <p:extLst>
      <p:ext uri="{BB962C8B-B14F-4D97-AF65-F5344CB8AC3E}">
        <p14:creationId xmlns:p14="http://schemas.microsoft.com/office/powerpoint/2010/main" val="1501653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 Rechts + afbeelding (M)">
    <p:spTree>
      <p:nvGrpSpPr>
        <p:cNvPr id="1" name=""/>
        <p:cNvGrpSpPr/>
        <p:nvPr/>
      </p:nvGrpSpPr>
      <p:grpSpPr>
        <a:xfrm>
          <a:off x="0" y="0"/>
          <a:ext cx="0" cy="0"/>
          <a:chOff x="0" y="0"/>
          <a:chExt cx="0" cy="0"/>
        </a:xfrm>
      </p:grpSpPr>
      <p:sp>
        <p:nvSpPr>
          <p:cNvPr id="8" name="Rechthoek 7"/>
          <p:cNvSpPr/>
          <p:nvPr userDrawn="1"/>
        </p:nvSpPr>
        <p:spPr>
          <a:xfrm>
            <a:off x="-1" y="1425708"/>
            <a:ext cx="6071101" cy="455510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p>
        </p:txBody>
      </p:sp>
      <p:sp>
        <p:nvSpPr>
          <p:cNvPr id="2" name="Titel 1"/>
          <p:cNvSpPr>
            <a:spLocks noGrp="1"/>
          </p:cNvSpPr>
          <p:nvPr>
            <p:ph type="title"/>
          </p:nvPr>
        </p:nvSpPr>
        <p:spPr/>
        <p:txBody>
          <a:bodyPr/>
          <a:lstStyle/>
          <a:p>
            <a:r>
              <a:rPr lang="nl-NL"/>
              <a:t>Klik om stijl te bewerken</a:t>
            </a:r>
            <a:endParaRPr lang="en-GB"/>
          </a:p>
        </p:txBody>
      </p:sp>
      <p:sp>
        <p:nvSpPr>
          <p:cNvPr id="3" name="Tijdelijke aanduiding voor verticale tekst 2"/>
          <p:cNvSpPr>
            <a:spLocks noGrp="1"/>
          </p:cNvSpPr>
          <p:nvPr>
            <p:ph type="body" orient="vert" idx="1"/>
          </p:nvPr>
        </p:nvSpPr>
        <p:spPr>
          <a:xfrm>
            <a:off x="6537338" y="1420099"/>
            <a:ext cx="5651487" cy="4562263"/>
          </a:xfrm>
        </p:spPr>
        <p:txBody>
          <a:bodyPr vert="horz"/>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dirty="0"/>
          </a:p>
        </p:txBody>
      </p:sp>
      <p:sp>
        <p:nvSpPr>
          <p:cNvPr id="4" name="Tijdelijke aanduiding voor datum 3"/>
          <p:cNvSpPr>
            <a:spLocks noGrp="1"/>
          </p:cNvSpPr>
          <p:nvPr>
            <p:ph type="dt" sz="half" idx="10"/>
          </p:nvPr>
        </p:nvSpPr>
        <p:spPr/>
        <p:txBody>
          <a:bodyPr/>
          <a:lstStyle/>
          <a:p>
            <a:fld id="{C4E3C774-6386-469E-BD36-635699D3B08B}"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ijdelijke aanduiding voor afbeelding 2"/>
          <p:cNvSpPr>
            <a:spLocks noGrp="1"/>
          </p:cNvSpPr>
          <p:nvPr>
            <p:ph type="pic" idx="13"/>
          </p:nvPr>
        </p:nvSpPr>
        <p:spPr>
          <a:xfrm>
            <a:off x="-365" y="1420099"/>
            <a:ext cx="6071464" cy="4562269"/>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11" name="Tekstvak 10"/>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Tekst Rechts + afbeelding (M) + onderschrift</a:t>
            </a:r>
          </a:p>
        </p:txBody>
      </p:sp>
      <p:sp>
        <p:nvSpPr>
          <p:cNvPr id="12" name="Tijdelijke aanduiding voor verticale tekst 2"/>
          <p:cNvSpPr>
            <a:spLocks noGrp="1"/>
          </p:cNvSpPr>
          <p:nvPr>
            <p:ph type="body" orient="vert" idx="14" hasCustomPrompt="1"/>
          </p:nvPr>
        </p:nvSpPr>
        <p:spPr>
          <a:xfrm>
            <a:off x="-2" y="5476812"/>
            <a:ext cx="6071101" cy="504000"/>
          </a:xfrm>
          <a:solidFill>
            <a:schemeClr val="accent2"/>
          </a:solidFill>
        </p:spPr>
        <p:txBody>
          <a:bodyPr vert="horz" lIns="216000" tIns="36000" rIns="216000" bIns="0" anchor="ctr"/>
          <a:lstStyle>
            <a:lvl1pPr algn="r">
              <a:defRPr sz="1800" b="0">
                <a:solidFill>
                  <a:schemeClr val="tx2"/>
                </a:solidFill>
              </a:defRPr>
            </a:lvl1pPr>
          </a:lstStyle>
          <a:p>
            <a:pPr lvl="0"/>
            <a:r>
              <a:rPr lang="nl-NL" dirty="0"/>
              <a:t>Onderschrift</a:t>
            </a:r>
          </a:p>
        </p:txBody>
      </p:sp>
      <p:grpSp>
        <p:nvGrpSpPr>
          <p:cNvPr id="94" name="Groep 93">
            <a:extLst>
              <a:ext uri="{FF2B5EF4-FFF2-40B4-BE49-F238E27FC236}">
                <a16:creationId xmlns:a16="http://schemas.microsoft.com/office/drawing/2014/main" id="{62079A10-5F8D-41F5-B01B-7555DF45CBE9}"/>
              </a:ext>
            </a:extLst>
          </p:cNvPr>
          <p:cNvGrpSpPr/>
          <p:nvPr userDrawn="1"/>
        </p:nvGrpSpPr>
        <p:grpSpPr>
          <a:xfrm>
            <a:off x="12353686" y="0"/>
            <a:ext cx="2808312" cy="5805264"/>
            <a:chOff x="-2973833" y="0"/>
            <a:chExt cx="2808312" cy="5805264"/>
          </a:xfrm>
        </p:grpSpPr>
        <p:sp>
          <p:nvSpPr>
            <p:cNvPr id="95" name="Rechthoek 94">
              <a:extLst>
                <a:ext uri="{FF2B5EF4-FFF2-40B4-BE49-F238E27FC236}">
                  <a16:creationId xmlns:a16="http://schemas.microsoft.com/office/drawing/2014/main" id="{30DA1E19-4539-4790-9624-1AE4C51597DB}"/>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179" name="Textfield placeholder">
              <a:extLst>
                <a:ext uri="{FF2B5EF4-FFF2-40B4-BE49-F238E27FC236}">
                  <a16:creationId xmlns:a16="http://schemas.microsoft.com/office/drawing/2014/main" id="{573FA3A2-3D48-4AFD-A1CF-8A1F684187D5}"/>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180" name="Ovaal 179">
              <a:extLst>
                <a:ext uri="{FF2B5EF4-FFF2-40B4-BE49-F238E27FC236}">
                  <a16:creationId xmlns:a16="http://schemas.microsoft.com/office/drawing/2014/main" id="{7FEB74FF-8D65-4D2C-A11F-67D1793AEC98}"/>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181" name="Ovaal 180">
              <a:extLst>
                <a:ext uri="{FF2B5EF4-FFF2-40B4-BE49-F238E27FC236}">
                  <a16:creationId xmlns:a16="http://schemas.microsoft.com/office/drawing/2014/main" id="{7441DFC8-4457-48F4-9D92-67332DA3C909}"/>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182" name="Ovaal 181">
              <a:extLst>
                <a:ext uri="{FF2B5EF4-FFF2-40B4-BE49-F238E27FC236}">
                  <a16:creationId xmlns:a16="http://schemas.microsoft.com/office/drawing/2014/main" id="{88CA91E5-977A-4B35-B28F-89C5B0FC0593}"/>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183" name="Ovaal 182">
              <a:extLst>
                <a:ext uri="{FF2B5EF4-FFF2-40B4-BE49-F238E27FC236}">
                  <a16:creationId xmlns:a16="http://schemas.microsoft.com/office/drawing/2014/main" id="{CDDE8723-DCA3-4465-8E5D-86DCEB2ECD6F}"/>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184" name="Textfield placeholder">
              <a:extLst>
                <a:ext uri="{FF2B5EF4-FFF2-40B4-BE49-F238E27FC236}">
                  <a16:creationId xmlns:a16="http://schemas.microsoft.com/office/drawing/2014/main" id="{2E98AB4D-3CD8-4C2C-9F8A-E1275CFB5435}"/>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185" name="Textfield placeholder">
              <a:extLst>
                <a:ext uri="{FF2B5EF4-FFF2-40B4-BE49-F238E27FC236}">
                  <a16:creationId xmlns:a16="http://schemas.microsoft.com/office/drawing/2014/main" id="{7F95DE44-0612-4022-A4B1-32806E7C2DD3}"/>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186" name="Textfield placeholder">
              <a:extLst>
                <a:ext uri="{FF2B5EF4-FFF2-40B4-BE49-F238E27FC236}">
                  <a16:creationId xmlns:a16="http://schemas.microsoft.com/office/drawing/2014/main" id="{FD16D2FE-05DC-42C4-8158-91B96AA149A8}"/>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187" name="Rechte verbindingslijn 186">
              <a:extLst>
                <a:ext uri="{FF2B5EF4-FFF2-40B4-BE49-F238E27FC236}">
                  <a16:creationId xmlns:a16="http://schemas.microsoft.com/office/drawing/2014/main" id="{78BF1228-2369-48E2-801B-3BE5D0C552EF}"/>
                </a:ext>
              </a:extLst>
            </p:cNvPr>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8" name="Rechte verbindingslijn 187">
              <a:extLst>
                <a:ext uri="{FF2B5EF4-FFF2-40B4-BE49-F238E27FC236}">
                  <a16:creationId xmlns:a16="http://schemas.microsoft.com/office/drawing/2014/main" id="{937CA062-C9A6-43E0-A96D-43BB73D97DB6}"/>
                </a:ext>
              </a:extLst>
            </p:cNvPr>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9" name="Rechte verbindingslijn 188">
              <a:extLst>
                <a:ext uri="{FF2B5EF4-FFF2-40B4-BE49-F238E27FC236}">
                  <a16:creationId xmlns:a16="http://schemas.microsoft.com/office/drawing/2014/main" id="{6937F681-33B9-45D0-9A2B-89925E73DC14}"/>
                </a:ext>
              </a:extLst>
            </p:cNvPr>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190" name="Picture 3">
              <a:extLst>
                <a:ext uri="{FF2B5EF4-FFF2-40B4-BE49-F238E27FC236}">
                  <a16:creationId xmlns:a16="http://schemas.microsoft.com/office/drawing/2014/main" id="{4F00F5F1-71CA-4DF1-B338-B3B52447FAC2}"/>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1" name="Picture 4">
              <a:extLst>
                <a:ext uri="{FF2B5EF4-FFF2-40B4-BE49-F238E27FC236}">
                  <a16:creationId xmlns:a16="http://schemas.microsoft.com/office/drawing/2014/main" id="{271FDDC7-6ACA-441B-8E9A-36A4BAE07708}"/>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92" name="Groep 191">
              <a:extLst>
                <a:ext uri="{FF2B5EF4-FFF2-40B4-BE49-F238E27FC236}">
                  <a16:creationId xmlns:a16="http://schemas.microsoft.com/office/drawing/2014/main" id="{08E0FF81-03E2-4373-A984-106F04822B1D}"/>
                </a:ext>
              </a:extLst>
            </p:cNvPr>
            <p:cNvGrpSpPr/>
            <p:nvPr userDrawn="1"/>
          </p:nvGrpSpPr>
          <p:grpSpPr>
            <a:xfrm>
              <a:off x="-2098870" y="523279"/>
              <a:ext cx="435437" cy="427699"/>
              <a:chOff x="-1085063" y="758027"/>
              <a:chExt cx="633800" cy="622540"/>
            </a:xfrm>
          </p:grpSpPr>
          <p:sp>
            <p:nvSpPr>
              <p:cNvPr id="233" name="Afgeronde rechthoek 133">
                <a:extLst>
                  <a:ext uri="{FF2B5EF4-FFF2-40B4-BE49-F238E27FC236}">
                    <a16:creationId xmlns:a16="http://schemas.microsoft.com/office/drawing/2014/main" id="{F7B39E77-E8AC-487C-B5C2-40F0994121C7}"/>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234" name="Groep 233">
                <a:extLst>
                  <a:ext uri="{FF2B5EF4-FFF2-40B4-BE49-F238E27FC236}">
                    <a16:creationId xmlns:a16="http://schemas.microsoft.com/office/drawing/2014/main" id="{F2605656-1850-423B-9FC5-F2958DA1208D}"/>
                  </a:ext>
                </a:extLst>
              </p:cNvPr>
              <p:cNvGrpSpPr/>
              <p:nvPr userDrawn="1"/>
            </p:nvGrpSpPr>
            <p:grpSpPr>
              <a:xfrm>
                <a:off x="-977746" y="864082"/>
                <a:ext cx="419166" cy="410430"/>
                <a:chOff x="6366933" y="309013"/>
                <a:chExt cx="1901295" cy="1861668"/>
              </a:xfrm>
              <a:solidFill>
                <a:schemeClr val="tx1"/>
              </a:solidFill>
            </p:grpSpPr>
            <p:sp>
              <p:nvSpPr>
                <p:cNvPr id="235" name="Rechthoek 234">
                  <a:extLst>
                    <a:ext uri="{FF2B5EF4-FFF2-40B4-BE49-F238E27FC236}">
                      <a16:creationId xmlns:a16="http://schemas.microsoft.com/office/drawing/2014/main" id="{2763B469-5F69-41FD-8B6D-8DA67044425C}"/>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6" name="Rechthoek 235">
                  <a:extLst>
                    <a:ext uri="{FF2B5EF4-FFF2-40B4-BE49-F238E27FC236}">
                      <a16:creationId xmlns:a16="http://schemas.microsoft.com/office/drawing/2014/main" id="{4A98D7B9-7C0E-4841-BFD1-90F5068A0184}"/>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7" name="Rechthoek 236">
                  <a:extLst>
                    <a:ext uri="{FF2B5EF4-FFF2-40B4-BE49-F238E27FC236}">
                      <a16:creationId xmlns:a16="http://schemas.microsoft.com/office/drawing/2014/main" id="{5FE80F86-08FB-414F-ACB2-09649C696CAE}"/>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8" name="Rechthoek 237">
                  <a:extLst>
                    <a:ext uri="{FF2B5EF4-FFF2-40B4-BE49-F238E27FC236}">
                      <a16:creationId xmlns:a16="http://schemas.microsoft.com/office/drawing/2014/main" id="{1C553773-A6C7-47B4-A50C-7215F9E77C63}"/>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9" name="Rechthoek 238">
                  <a:extLst>
                    <a:ext uri="{FF2B5EF4-FFF2-40B4-BE49-F238E27FC236}">
                      <a16:creationId xmlns:a16="http://schemas.microsoft.com/office/drawing/2014/main" id="{0204B8F6-056F-4763-A779-FD7F2DC3801C}"/>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0" name="Rechthoek 239">
                  <a:extLst>
                    <a:ext uri="{FF2B5EF4-FFF2-40B4-BE49-F238E27FC236}">
                      <a16:creationId xmlns:a16="http://schemas.microsoft.com/office/drawing/2014/main" id="{E912ADDE-9372-40BE-99ED-753C1B9BA673}"/>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1" name="Rechthoek 240">
                  <a:extLst>
                    <a:ext uri="{FF2B5EF4-FFF2-40B4-BE49-F238E27FC236}">
                      <a16:creationId xmlns:a16="http://schemas.microsoft.com/office/drawing/2014/main" id="{B25EB52F-1007-4D9E-8C8F-3EF0CD77B5DC}"/>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2" name="Rechthoek 241">
                  <a:extLst>
                    <a:ext uri="{FF2B5EF4-FFF2-40B4-BE49-F238E27FC236}">
                      <a16:creationId xmlns:a16="http://schemas.microsoft.com/office/drawing/2014/main" id="{C52D3766-F86B-4CBD-A2A3-F4CD2EE6D185}"/>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3" name="Rechthoek 242">
                  <a:extLst>
                    <a:ext uri="{FF2B5EF4-FFF2-40B4-BE49-F238E27FC236}">
                      <a16:creationId xmlns:a16="http://schemas.microsoft.com/office/drawing/2014/main" id="{E1C0DD08-656F-43F6-A502-44F92E98C8BA}"/>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4" name="Rechthoek 243">
                  <a:extLst>
                    <a:ext uri="{FF2B5EF4-FFF2-40B4-BE49-F238E27FC236}">
                      <a16:creationId xmlns:a16="http://schemas.microsoft.com/office/drawing/2014/main" id="{72EBCFEE-B04A-44DA-9032-98F7B3E6BDE5}"/>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5" name="Vrije vorm 145">
                  <a:extLst>
                    <a:ext uri="{FF2B5EF4-FFF2-40B4-BE49-F238E27FC236}">
                      <a16:creationId xmlns:a16="http://schemas.microsoft.com/office/drawing/2014/main" id="{B9B91F69-BA62-4681-8129-E6BB2D79FF8E}"/>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193" name="Groep 192">
              <a:extLst>
                <a:ext uri="{FF2B5EF4-FFF2-40B4-BE49-F238E27FC236}">
                  <a16:creationId xmlns:a16="http://schemas.microsoft.com/office/drawing/2014/main" id="{A19E0B6F-E41E-40F2-89EB-F9D976898F0E}"/>
                </a:ext>
              </a:extLst>
            </p:cNvPr>
            <p:cNvGrpSpPr/>
            <p:nvPr userDrawn="1"/>
          </p:nvGrpSpPr>
          <p:grpSpPr>
            <a:xfrm>
              <a:off x="-2095303" y="1071657"/>
              <a:ext cx="435437" cy="427699"/>
              <a:chOff x="-1845083" y="758027"/>
              <a:chExt cx="633800" cy="622540"/>
            </a:xfrm>
          </p:grpSpPr>
          <p:sp>
            <p:nvSpPr>
              <p:cNvPr id="220" name="Afgeronde rechthoek 120">
                <a:extLst>
                  <a:ext uri="{FF2B5EF4-FFF2-40B4-BE49-F238E27FC236}">
                    <a16:creationId xmlns:a16="http://schemas.microsoft.com/office/drawing/2014/main" id="{4F1D6854-1EAE-46C0-94AC-A38DA8B2D262}"/>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221" name="Groep 220">
                <a:extLst>
                  <a:ext uri="{FF2B5EF4-FFF2-40B4-BE49-F238E27FC236}">
                    <a16:creationId xmlns:a16="http://schemas.microsoft.com/office/drawing/2014/main" id="{583036F7-784C-43CB-BD0D-CB53A1A29E40}"/>
                  </a:ext>
                </a:extLst>
              </p:cNvPr>
              <p:cNvGrpSpPr/>
              <p:nvPr userDrawn="1"/>
            </p:nvGrpSpPr>
            <p:grpSpPr>
              <a:xfrm>
                <a:off x="-1737766" y="864082"/>
                <a:ext cx="419166" cy="410430"/>
                <a:chOff x="3708400" y="309013"/>
                <a:chExt cx="1901295" cy="1861668"/>
              </a:xfrm>
              <a:solidFill>
                <a:schemeClr val="tx1"/>
              </a:solidFill>
            </p:grpSpPr>
            <p:sp>
              <p:nvSpPr>
                <p:cNvPr id="222" name="Rechthoek 221">
                  <a:extLst>
                    <a:ext uri="{FF2B5EF4-FFF2-40B4-BE49-F238E27FC236}">
                      <a16:creationId xmlns:a16="http://schemas.microsoft.com/office/drawing/2014/main" id="{B86FA791-EA3D-4109-A382-BAB12D1780C3}"/>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3" name="Rechthoek 222">
                  <a:extLst>
                    <a:ext uri="{FF2B5EF4-FFF2-40B4-BE49-F238E27FC236}">
                      <a16:creationId xmlns:a16="http://schemas.microsoft.com/office/drawing/2014/main" id="{2D7DB73D-BC6D-4692-8109-6D98C394688A}"/>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4" name="Rechthoek 223">
                  <a:extLst>
                    <a:ext uri="{FF2B5EF4-FFF2-40B4-BE49-F238E27FC236}">
                      <a16:creationId xmlns:a16="http://schemas.microsoft.com/office/drawing/2014/main" id="{3F7E8C51-7E87-44F3-9B05-1DB988F01116}"/>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5" name="Rechthoek 224">
                  <a:extLst>
                    <a:ext uri="{FF2B5EF4-FFF2-40B4-BE49-F238E27FC236}">
                      <a16:creationId xmlns:a16="http://schemas.microsoft.com/office/drawing/2014/main" id="{4CA7A953-3F73-4BD5-AF6C-24AFAD1130D9}"/>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6" name="Rechthoek 225">
                  <a:extLst>
                    <a:ext uri="{FF2B5EF4-FFF2-40B4-BE49-F238E27FC236}">
                      <a16:creationId xmlns:a16="http://schemas.microsoft.com/office/drawing/2014/main" id="{E1A87BC6-A57D-488F-B4CF-AAF10BF15844}"/>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7" name="Rechthoek 226">
                  <a:extLst>
                    <a:ext uri="{FF2B5EF4-FFF2-40B4-BE49-F238E27FC236}">
                      <a16:creationId xmlns:a16="http://schemas.microsoft.com/office/drawing/2014/main" id="{934B6E17-F9D3-4C15-BEC4-45045C8DEC34}"/>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8" name="Rechthoek 227">
                  <a:extLst>
                    <a:ext uri="{FF2B5EF4-FFF2-40B4-BE49-F238E27FC236}">
                      <a16:creationId xmlns:a16="http://schemas.microsoft.com/office/drawing/2014/main" id="{8F61463F-4731-4D88-990B-75E0F9D0FCC8}"/>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9" name="Rechthoek 228">
                  <a:extLst>
                    <a:ext uri="{FF2B5EF4-FFF2-40B4-BE49-F238E27FC236}">
                      <a16:creationId xmlns:a16="http://schemas.microsoft.com/office/drawing/2014/main" id="{BB8A5ED1-3A02-477E-8382-B89021D97879}"/>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0" name="Rechthoek 229">
                  <a:extLst>
                    <a:ext uri="{FF2B5EF4-FFF2-40B4-BE49-F238E27FC236}">
                      <a16:creationId xmlns:a16="http://schemas.microsoft.com/office/drawing/2014/main" id="{5EE105AD-EE89-42C9-86F8-507C46625389}"/>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1" name="Rechthoek 230">
                  <a:extLst>
                    <a:ext uri="{FF2B5EF4-FFF2-40B4-BE49-F238E27FC236}">
                      <a16:creationId xmlns:a16="http://schemas.microsoft.com/office/drawing/2014/main" id="{2FDEBBE1-72F6-4577-A4FB-1EAB567F30AD}"/>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2" name="Vrije vorm 132">
                  <a:extLst>
                    <a:ext uri="{FF2B5EF4-FFF2-40B4-BE49-F238E27FC236}">
                      <a16:creationId xmlns:a16="http://schemas.microsoft.com/office/drawing/2014/main" id="{48F35AA2-7539-48CA-8DF9-6402FDBD81FF}"/>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194" name="Rechte verbindingslijn 193">
              <a:extLst>
                <a:ext uri="{FF2B5EF4-FFF2-40B4-BE49-F238E27FC236}">
                  <a16:creationId xmlns:a16="http://schemas.microsoft.com/office/drawing/2014/main" id="{19F54E13-20BC-49D2-B1AC-8A8500377973}"/>
                </a:ext>
              </a:extLst>
            </p:cNvPr>
            <p:cNvCxnSpPr>
              <a:stCxn id="196" idx="2"/>
              <a:endCxn id="220"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5" name="Rechte verbindingslijn 194">
              <a:extLst>
                <a:ext uri="{FF2B5EF4-FFF2-40B4-BE49-F238E27FC236}">
                  <a16:creationId xmlns:a16="http://schemas.microsoft.com/office/drawing/2014/main" id="{9824CE2B-B359-427F-9207-BF65EC079525}"/>
                </a:ext>
              </a:extLst>
            </p:cNvPr>
            <p:cNvCxnSpPr>
              <a:stCxn id="197" idx="3"/>
              <a:endCxn id="233"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96" name="Ovaal 195">
              <a:extLst>
                <a:ext uri="{FF2B5EF4-FFF2-40B4-BE49-F238E27FC236}">
                  <a16:creationId xmlns:a16="http://schemas.microsoft.com/office/drawing/2014/main" id="{E47175B4-7E50-47EF-9ABF-1CE6BE2CE866}"/>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97" name="Ovaal 196">
              <a:extLst>
                <a:ext uri="{FF2B5EF4-FFF2-40B4-BE49-F238E27FC236}">
                  <a16:creationId xmlns:a16="http://schemas.microsoft.com/office/drawing/2014/main" id="{7CE7AA7A-5C40-498A-A350-E71C1EE40F2E}"/>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98" name="Textfield placeholder">
              <a:extLst>
                <a:ext uri="{FF2B5EF4-FFF2-40B4-BE49-F238E27FC236}">
                  <a16:creationId xmlns:a16="http://schemas.microsoft.com/office/drawing/2014/main" id="{F4ACBF05-DB92-45E6-95E6-B777403F1C92}"/>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latin typeface="+mn-lt"/>
                </a:rPr>
                <a:t>Niveau</a:t>
              </a:r>
              <a:r>
                <a:rPr lang="en-GB" sz="1200" b="0" dirty="0">
                  <a:solidFill>
                    <a:schemeClr val="tx1"/>
                  </a:solidFill>
                  <a:latin typeface="+mn-lt"/>
                </a:rPr>
                <a:t> vooruit</a:t>
              </a:r>
            </a:p>
          </p:txBody>
        </p:sp>
        <p:sp>
          <p:nvSpPr>
            <p:cNvPr id="199" name="Textfield placeholder">
              <a:extLst>
                <a:ext uri="{FF2B5EF4-FFF2-40B4-BE49-F238E27FC236}">
                  <a16:creationId xmlns:a16="http://schemas.microsoft.com/office/drawing/2014/main" id="{DAC364AE-C4AB-4000-A5A5-E97C53DC1011}"/>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latin typeface="+mn-lt"/>
                </a:rPr>
                <a:t>Niveau</a:t>
              </a:r>
              <a:r>
                <a:rPr lang="en-GB" sz="1200" b="0" dirty="0">
                  <a:solidFill>
                    <a:schemeClr val="tx1"/>
                  </a:solidFill>
                  <a:latin typeface="+mn-lt"/>
                </a:rPr>
                <a:t> terug</a:t>
              </a:r>
            </a:p>
          </p:txBody>
        </p:sp>
        <p:sp>
          <p:nvSpPr>
            <p:cNvPr id="200" name="Ovaal 199">
              <a:extLst>
                <a:ext uri="{FF2B5EF4-FFF2-40B4-BE49-F238E27FC236}">
                  <a16:creationId xmlns:a16="http://schemas.microsoft.com/office/drawing/2014/main" id="{FF914D6C-8E19-4508-ABD9-75F4D346603F}"/>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201" name="Ovaal 200">
              <a:extLst>
                <a:ext uri="{FF2B5EF4-FFF2-40B4-BE49-F238E27FC236}">
                  <a16:creationId xmlns:a16="http://schemas.microsoft.com/office/drawing/2014/main" id="{10F0BE0C-D4B5-4555-9E20-6B9503EAB55E}"/>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202" name="Ovaal 201">
              <a:extLst>
                <a:ext uri="{FF2B5EF4-FFF2-40B4-BE49-F238E27FC236}">
                  <a16:creationId xmlns:a16="http://schemas.microsoft.com/office/drawing/2014/main" id="{430635CD-1E38-4D52-BF0F-80CFE4F749E5}"/>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203" name="Ovaal 202">
              <a:extLst>
                <a:ext uri="{FF2B5EF4-FFF2-40B4-BE49-F238E27FC236}">
                  <a16:creationId xmlns:a16="http://schemas.microsoft.com/office/drawing/2014/main" id="{51A85580-4DD2-42CC-8666-F3D9A37D3A58}"/>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204" name="Ovaal 203">
              <a:extLst>
                <a:ext uri="{FF2B5EF4-FFF2-40B4-BE49-F238E27FC236}">
                  <a16:creationId xmlns:a16="http://schemas.microsoft.com/office/drawing/2014/main" id="{EA7A3DF9-7FF9-4495-9348-3945F2456089}"/>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205" name="Textfield placeholder">
              <a:extLst>
                <a:ext uri="{FF2B5EF4-FFF2-40B4-BE49-F238E27FC236}">
                  <a16:creationId xmlns:a16="http://schemas.microsoft.com/office/drawing/2014/main" id="{DB5C2C79-802E-4B52-84F5-31F98030E036}"/>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06" name="Textfield placeholder">
              <a:extLst>
                <a:ext uri="{FF2B5EF4-FFF2-40B4-BE49-F238E27FC236}">
                  <a16:creationId xmlns:a16="http://schemas.microsoft.com/office/drawing/2014/main" id="{004635A1-87D9-457B-8FA6-42379281D9B0}"/>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07" name="Textfield placeholder">
              <a:extLst>
                <a:ext uri="{FF2B5EF4-FFF2-40B4-BE49-F238E27FC236}">
                  <a16:creationId xmlns:a16="http://schemas.microsoft.com/office/drawing/2014/main" id="{4829F181-385B-4095-A026-BF2B7753F461}"/>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08" name="Textfield placeholder">
              <a:extLst>
                <a:ext uri="{FF2B5EF4-FFF2-40B4-BE49-F238E27FC236}">
                  <a16:creationId xmlns:a16="http://schemas.microsoft.com/office/drawing/2014/main" id="{5030979A-4D70-4555-BFB1-FB18FC1E21F4}"/>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209" name="Textfield placeholder">
              <a:extLst>
                <a:ext uri="{FF2B5EF4-FFF2-40B4-BE49-F238E27FC236}">
                  <a16:creationId xmlns:a16="http://schemas.microsoft.com/office/drawing/2014/main" id="{09AB7D44-5CEC-419B-B02A-B509A821E1A7}"/>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10" name="Groep 209">
              <a:extLst>
                <a:ext uri="{FF2B5EF4-FFF2-40B4-BE49-F238E27FC236}">
                  <a16:creationId xmlns:a16="http://schemas.microsoft.com/office/drawing/2014/main" id="{C6278A4B-869D-467F-A7B4-83F6AF48FB71}"/>
                </a:ext>
              </a:extLst>
            </p:cNvPr>
            <p:cNvGrpSpPr/>
            <p:nvPr userDrawn="1"/>
          </p:nvGrpSpPr>
          <p:grpSpPr>
            <a:xfrm>
              <a:off x="-950342" y="1837957"/>
              <a:ext cx="687412" cy="3758146"/>
              <a:chOff x="-740196" y="1837957"/>
              <a:chExt cx="1374825" cy="3758146"/>
            </a:xfrm>
          </p:grpSpPr>
          <p:sp>
            <p:nvSpPr>
              <p:cNvPr id="211" name="Textfield placeholder">
                <a:extLst>
                  <a:ext uri="{FF2B5EF4-FFF2-40B4-BE49-F238E27FC236}">
                    <a16:creationId xmlns:a16="http://schemas.microsoft.com/office/drawing/2014/main" id="{B97D6C4C-BBFD-4449-B51B-56815F114D61}"/>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12" name="Textfield placeholder">
                <a:extLst>
                  <a:ext uri="{FF2B5EF4-FFF2-40B4-BE49-F238E27FC236}">
                    <a16:creationId xmlns:a16="http://schemas.microsoft.com/office/drawing/2014/main" id="{D1950F9C-CD3C-4FAA-87E1-7A3A08E83E22}"/>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13" name="Textfield placeholder">
                <a:extLst>
                  <a:ext uri="{FF2B5EF4-FFF2-40B4-BE49-F238E27FC236}">
                    <a16:creationId xmlns:a16="http://schemas.microsoft.com/office/drawing/2014/main" id="{FD0F3D4B-0AE8-46EF-9F51-F2A2C237ECEE}"/>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4" name="Textfield placeholder">
                <a:extLst>
                  <a:ext uri="{FF2B5EF4-FFF2-40B4-BE49-F238E27FC236}">
                    <a16:creationId xmlns:a16="http://schemas.microsoft.com/office/drawing/2014/main" id="{3D807C02-B053-4F40-8301-EE3FEEBE0610}"/>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215" name="Textfield placeholder">
                <a:extLst>
                  <a:ext uri="{FF2B5EF4-FFF2-40B4-BE49-F238E27FC236}">
                    <a16:creationId xmlns:a16="http://schemas.microsoft.com/office/drawing/2014/main" id="{B35AB65E-ED7B-4AC5-A4F8-E029B1CE9909}"/>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216" name="Textfield placeholder">
                <a:extLst>
                  <a:ext uri="{FF2B5EF4-FFF2-40B4-BE49-F238E27FC236}">
                    <a16:creationId xmlns:a16="http://schemas.microsoft.com/office/drawing/2014/main" id="{122D5F5C-A2C3-4365-806E-65E1282C67AC}"/>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7" name="Textfield placeholder">
                <a:extLst>
                  <a:ext uri="{FF2B5EF4-FFF2-40B4-BE49-F238E27FC236}">
                    <a16:creationId xmlns:a16="http://schemas.microsoft.com/office/drawing/2014/main" id="{A3CF8FA5-0A75-4BCD-81D2-D9EC7440218D}"/>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8" name="Textfield placeholder">
                <a:extLst>
                  <a:ext uri="{FF2B5EF4-FFF2-40B4-BE49-F238E27FC236}">
                    <a16:creationId xmlns:a16="http://schemas.microsoft.com/office/drawing/2014/main" id="{CEE59FC1-D9E0-4441-9B7D-9AA509312953}"/>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219" name="Textfield placeholder">
                <a:extLst>
                  <a:ext uri="{FF2B5EF4-FFF2-40B4-BE49-F238E27FC236}">
                    <a16:creationId xmlns:a16="http://schemas.microsoft.com/office/drawing/2014/main" id="{8FB6A6BA-4D21-4991-8E0F-786FE5D542BB}"/>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grpSp>
        <p:nvGrpSpPr>
          <p:cNvPr id="260" name="Groep 259">
            <a:extLst>
              <a:ext uri="{FF2B5EF4-FFF2-40B4-BE49-F238E27FC236}">
                <a16:creationId xmlns:a16="http://schemas.microsoft.com/office/drawing/2014/main" id="{EDDCBD6F-0EE3-435B-B673-FDC85C97EAE2}"/>
              </a:ext>
            </a:extLst>
          </p:cNvPr>
          <p:cNvGrpSpPr/>
          <p:nvPr userDrawn="1"/>
        </p:nvGrpSpPr>
        <p:grpSpPr>
          <a:xfrm>
            <a:off x="-3205835" y="-26002"/>
            <a:ext cx="3064812" cy="4530930"/>
            <a:chOff x="15419739" y="-26002"/>
            <a:chExt cx="3064812" cy="4530930"/>
          </a:xfrm>
        </p:grpSpPr>
        <p:sp>
          <p:nvSpPr>
            <p:cNvPr id="261" name="Tekstvak 33">
              <a:extLst>
                <a:ext uri="{FF2B5EF4-FFF2-40B4-BE49-F238E27FC236}">
                  <a16:creationId xmlns:a16="http://schemas.microsoft.com/office/drawing/2014/main" id="{39646866-2242-4285-916E-C815F2A86E74}"/>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262" name="Tekstvak 33">
              <a:extLst>
                <a:ext uri="{FF2B5EF4-FFF2-40B4-BE49-F238E27FC236}">
                  <a16:creationId xmlns:a16="http://schemas.microsoft.com/office/drawing/2014/main" id="{8A1054B1-52EE-44CD-A91A-6633A1BC51CA}"/>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263" name="Ovaal 262">
              <a:extLst>
                <a:ext uri="{FF2B5EF4-FFF2-40B4-BE49-F238E27FC236}">
                  <a16:creationId xmlns:a16="http://schemas.microsoft.com/office/drawing/2014/main" id="{6FB3631A-531F-4C65-9C24-589C9C7289A6}"/>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264" name="Ovaal 263">
              <a:extLst>
                <a:ext uri="{FF2B5EF4-FFF2-40B4-BE49-F238E27FC236}">
                  <a16:creationId xmlns:a16="http://schemas.microsoft.com/office/drawing/2014/main" id="{3AC3AC44-3D3C-48F1-83DC-F7A38AE78810}"/>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265" name="Picture 3">
              <a:extLst>
                <a:ext uri="{FF2B5EF4-FFF2-40B4-BE49-F238E27FC236}">
                  <a16:creationId xmlns:a16="http://schemas.microsoft.com/office/drawing/2014/main" id="{226A1FFC-37DD-4E28-A4BC-2E955556AF46}"/>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66" name="Picture 3">
              <a:extLst>
                <a:ext uri="{FF2B5EF4-FFF2-40B4-BE49-F238E27FC236}">
                  <a16:creationId xmlns:a16="http://schemas.microsoft.com/office/drawing/2014/main" id="{58E39C98-8060-4EBC-97A4-FB0227137463}"/>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67" name="Tekstvak 266">
              <a:extLst>
                <a:ext uri="{FF2B5EF4-FFF2-40B4-BE49-F238E27FC236}">
                  <a16:creationId xmlns:a16="http://schemas.microsoft.com/office/drawing/2014/main" id="{F1CBE52F-1EE3-4156-9A7F-332552D91E72}"/>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268" name="Rechthoek 267">
              <a:extLst>
                <a:ext uri="{FF2B5EF4-FFF2-40B4-BE49-F238E27FC236}">
                  <a16:creationId xmlns:a16="http://schemas.microsoft.com/office/drawing/2014/main" id="{32E2EBBC-C2ED-4D14-A96F-A1B7AE4A9985}"/>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269" name="Groep 268">
              <a:extLst>
                <a:ext uri="{FF2B5EF4-FFF2-40B4-BE49-F238E27FC236}">
                  <a16:creationId xmlns:a16="http://schemas.microsoft.com/office/drawing/2014/main" id="{7C4F20E0-52D5-4769-ABDA-65CD7C92BEF9}"/>
                </a:ext>
              </a:extLst>
            </p:cNvPr>
            <p:cNvGrpSpPr/>
            <p:nvPr userDrawn="1"/>
          </p:nvGrpSpPr>
          <p:grpSpPr>
            <a:xfrm>
              <a:off x="15563079" y="358984"/>
              <a:ext cx="2489424" cy="4145944"/>
              <a:chOff x="15563079" y="358984"/>
              <a:chExt cx="2315772" cy="4145944"/>
            </a:xfrm>
          </p:grpSpPr>
          <p:cxnSp>
            <p:nvCxnSpPr>
              <p:cNvPr id="271" name="Rechte verbindingslijn 270">
                <a:extLst>
                  <a:ext uri="{FF2B5EF4-FFF2-40B4-BE49-F238E27FC236}">
                    <a16:creationId xmlns:a16="http://schemas.microsoft.com/office/drawing/2014/main" id="{F409B5C6-2B09-436D-B25B-11266890DE6C}"/>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2" name="Rechte verbindingslijn 271">
                <a:extLst>
                  <a:ext uri="{FF2B5EF4-FFF2-40B4-BE49-F238E27FC236}">
                    <a16:creationId xmlns:a16="http://schemas.microsoft.com/office/drawing/2014/main" id="{DF38CDE2-5D8E-4457-B1FB-15B2FE79C001}"/>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3" name="Rechte verbindingslijn 272">
                <a:extLst>
                  <a:ext uri="{FF2B5EF4-FFF2-40B4-BE49-F238E27FC236}">
                    <a16:creationId xmlns:a16="http://schemas.microsoft.com/office/drawing/2014/main" id="{09C3E865-41F2-4713-81FA-8EE78E122DA4}"/>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70" name="Afbeelding 269">
              <a:extLst>
                <a:ext uri="{FF2B5EF4-FFF2-40B4-BE49-F238E27FC236}">
                  <a16:creationId xmlns:a16="http://schemas.microsoft.com/office/drawing/2014/main" id="{0937FA3E-FEAC-4930-BD6A-4068C44B2625}"/>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3090992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kst slide (ge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dirty="0"/>
              <a:t>Klik om stijl te bewerken</a:t>
            </a:r>
            <a:endParaRPr lang="en-GB" dirty="0"/>
          </a:p>
        </p:txBody>
      </p:sp>
      <p:sp>
        <p:nvSpPr>
          <p:cNvPr id="3" name="Tijdelijke aanduiding voor verticale tekst 2"/>
          <p:cNvSpPr>
            <a:spLocks noGrp="1"/>
          </p:cNvSpPr>
          <p:nvPr>
            <p:ph type="body" orient="vert" idx="1"/>
          </p:nvPr>
        </p:nvSpPr>
        <p:spPr>
          <a:xfrm>
            <a:off x="472587" y="1420099"/>
            <a:ext cx="11250000" cy="4553403"/>
          </a:xfrm>
        </p:spPr>
        <p:txBody>
          <a:bodyPr vert="horz"/>
          <a:lstStyle>
            <a:lvl1pPr>
              <a:defRPr i="0"/>
            </a:lvl1pPr>
            <a:lvl2pPr>
              <a:defRPr b="0"/>
            </a:lvl2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10"/>
          </p:nvPr>
        </p:nvSpPr>
        <p:spPr/>
        <p:txBody>
          <a:bodyPr/>
          <a:lstStyle/>
          <a:p>
            <a:fld id="{70AF4736-4EBE-4353-9EE5-21D4E0C6D310}" type="datetime4">
              <a:rPr lang="en-GB" smtClean="0"/>
              <a:t>29 May 2020</a:t>
            </a:fld>
            <a:endParaRPr lang="en-GB" dirty="0"/>
          </a:p>
        </p:txBody>
      </p:sp>
      <p:sp>
        <p:nvSpPr>
          <p:cNvPr id="5" name="Tijdelijke aanduiding voor voettekst 4"/>
          <p:cNvSpPr>
            <a:spLocks noGrp="1"/>
          </p:cNvSpPr>
          <p:nvPr>
            <p:ph type="ftr" sz="quarter" idx="11"/>
          </p:nvPr>
        </p:nvSpPr>
        <p:spPr/>
        <p:txBody>
          <a:bodyPr/>
          <a:lstStyle/>
          <a:p>
            <a:r>
              <a:rPr lang="en-GB" dirty="0"/>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dirty="0"/>
          </a:p>
        </p:txBody>
      </p:sp>
      <p:sp>
        <p:nvSpPr>
          <p:cNvPr id="8" name="Tekstvak 7"/>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 Alleen tekst</a:t>
            </a:r>
          </a:p>
        </p:txBody>
      </p:sp>
      <p:grpSp>
        <p:nvGrpSpPr>
          <p:cNvPr id="78" name="Groep 77"/>
          <p:cNvGrpSpPr/>
          <p:nvPr userDrawn="1"/>
        </p:nvGrpSpPr>
        <p:grpSpPr>
          <a:xfrm>
            <a:off x="-2973833" y="0"/>
            <a:ext cx="2808312" cy="5805264"/>
            <a:chOff x="-2973833" y="0"/>
            <a:chExt cx="2808312" cy="5805264"/>
          </a:xfrm>
        </p:grpSpPr>
        <p:sp>
          <p:nvSpPr>
            <p:cNvPr id="79" name="Rechthoek 78"/>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80" name="Textfield placeholde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81" name="Ovaal 80"/>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82" name="Ovaal 81"/>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83" name="Ovaal 82"/>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84" name="Ovaal 83"/>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85" name="Textfield placeholde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86" name="Textfield placeholde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87" name="Textfield placeholde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88" name="Rechte verbindingslijn 87"/>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9" name="Rechte verbindingslijn 88"/>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0" name="Rechte verbindingslijn 89"/>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91"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 name="Picture 4"/>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3" name="Groep 92"/>
            <p:cNvGrpSpPr/>
            <p:nvPr userDrawn="1"/>
          </p:nvGrpSpPr>
          <p:grpSpPr>
            <a:xfrm>
              <a:off x="-2098870" y="523279"/>
              <a:ext cx="435437" cy="427699"/>
              <a:chOff x="-1085063" y="758027"/>
              <a:chExt cx="633800" cy="622540"/>
            </a:xfrm>
          </p:grpSpPr>
          <p:sp>
            <p:nvSpPr>
              <p:cNvPr id="134" name="Afgeronde rechthoek 133"/>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135" name="Groep 134"/>
              <p:cNvGrpSpPr/>
              <p:nvPr userDrawn="1"/>
            </p:nvGrpSpPr>
            <p:grpSpPr>
              <a:xfrm>
                <a:off x="-977746" y="864082"/>
                <a:ext cx="419166" cy="410430"/>
                <a:chOff x="6366933" y="309013"/>
                <a:chExt cx="1901295" cy="1861668"/>
              </a:xfrm>
              <a:solidFill>
                <a:schemeClr val="tx1"/>
              </a:solidFill>
            </p:grpSpPr>
            <p:sp>
              <p:nvSpPr>
                <p:cNvPr id="136" name="Rechthoek 135"/>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37" name="Rechthoek 136"/>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38" name="Rechthoek 137"/>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39" name="Rechthoek 138"/>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0" name="Rechthoek 139"/>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1" name="Rechthoek 140"/>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2" name="Rechthoek 141"/>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3" name="Rechthoek 142"/>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4" name="Rechthoek 143"/>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5" name="Rechthoek 144"/>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6" name="Vrije vorm 145"/>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94" name="Groep 93"/>
            <p:cNvGrpSpPr/>
            <p:nvPr userDrawn="1"/>
          </p:nvGrpSpPr>
          <p:grpSpPr>
            <a:xfrm>
              <a:off x="-2095303" y="1071657"/>
              <a:ext cx="435437" cy="427699"/>
              <a:chOff x="-1845083" y="758027"/>
              <a:chExt cx="633800" cy="622540"/>
            </a:xfrm>
          </p:grpSpPr>
          <p:sp>
            <p:nvSpPr>
              <p:cNvPr id="121" name="Afgeronde rechthoek 120"/>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122" name="Groep 121"/>
              <p:cNvGrpSpPr/>
              <p:nvPr userDrawn="1"/>
            </p:nvGrpSpPr>
            <p:grpSpPr>
              <a:xfrm>
                <a:off x="-1737766" y="864082"/>
                <a:ext cx="419166" cy="410430"/>
                <a:chOff x="3708400" y="309013"/>
                <a:chExt cx="1901295" cy="1861668"/>
              </a:xfrm>
              <a:solidFill>
                <a:schemeClr val="tx1"/>
              </a:solidFill>
            </p:grpSpPr>
            <p:sp>
              <p:nvSpPr>
                <p:cNvPr id="123" name="Rechthoek 122"/>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24" name="Rechthoek 123"/>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25" name="Rechthoek 124"/>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26" name="Rechthoek 125"/>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27" name="Rechthoek 126"/>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28" name="Rechthoek 127"/>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29" name="Rechthoek 128"/>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30" name="Rechthoek 129"/>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31" name="Rechthoek 130"/>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32" name="Rechthoek 131"/>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33" name="Vrije vorm 132"/>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95" name="Rechte verbindingslijn 94"/>
            <p:cNvCxnSpPr>
              <a:stCxn id="97" idx="2"/>
              <a:endCxn id="121"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6" name="Rechte verbindingslijn 95"/>
            <p:cNvCxnSpPr>
              <a:stCxn id="98" idx="3"/>
              <a:endCxn id="134"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97" name="Ovaal 96"/>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8" name="Ovaal 97"/>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9" name="Textfield placeholde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100" name="Textfield placeholde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101" name="Ovaal 100"/>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102" name="Ovaal 101"/>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103" name="Ovaal 102"/>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104" name="Ovaal 103"/>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105" name="Ovaal 104"/>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106" name="Textfield placeholde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107" name="Textfield placeholde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108" name="Textfield placeholde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109" name="Textfield placeholde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110" name="Textfield placeholde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111" name="Groep 110"/>
            <p:cNvGrpSpPr/>
            <p:nvPr userDrawn="1"/>
          </p:nvGrpSpPr>
          <p:grpSpPr>
            <a:xfrm>
              <a:off x="-950342" y="1837957"/>
              <a:ext cx="687412" cy="3758146"/>
              <a:chOff x="-740196" y="1837957"/>
              <a:chExt cx="1374825" cy="3758146"/>
            </a:xfrm>
          </p:grpSpPr>
          <p:sp>
            <p:nvSpPr>
              <p:cNvPr id="112" name="Textfield placeholde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113" name="Textfield placeholde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114" name="Textfield placeholde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115" name="Textfield placeholde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116" name="Textfield placeholde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117" name="Textfield placeholde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118" name="Textfield placeholde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119" name="Textfield placeholde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120" name="Textfield placeholde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spTree>
    <p:extLst>
      <p:ext uri="{BB962C8B-B14F-4D97-AF65-F5344CB8AC3E}">
        <p14:creationId xmlns:p14="http://schemas.microsoft.com/office/powerpoint/2010/main" val="776316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kst Links + afbeelding (S)">
    <p:spTree>
      <p:nvGrpSpPr>
        <p:cNvPr id="1" name=""/>
        <p:cNvGrpSpPr/>
        <p:nvPr/>
      </p:nvGrpSpPr>
      <p:grpSpPr>
        <a:xfrm>
          <a:off x="0" y="0"/>
          <a:ext cx="0" cy="0"/>
          <a:chOff x="0" y="0"/>
          <a:chExt cx="0" cy="0"/>
        </a:xfrm>
      </p:grpSpPr>
      <p:sp>
        <p:nvSpPr>
          <p:cNvPr id="8" name="Rechthoek 7"/>
          <p:cNvSpPr/>
          <p:nvPr userDrawn="1"/>
        </p:nvSpPr>
        <p:spPr>
          <a:xfrm>
            <a:off x="7446174" y="1420284"/>
            <a:ext cx="4749001" cy="456189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p>
        </p:txBody>
      </p:sp>
      <p:sp>
        <p:nvSpPr>
          <p:cNvPr id="2" name="Titel 1"/>
          <p:cNvSpPr>
            <a:spLocks noGrp="1"/>
          </p:cNvSpPr>
          <p:nvPr>
            <p:ph type="title"/>
          </p:nvPr>
        </p:nvSpPr>
        <p:spPr/>
        <p:txBody>
          <a:bodyPr/>
          <a:lstStyle/>
          <a:p>
            <a:r>
              <a:rPr lang="nl-NL" dirty="0"/>
              <a:t>Klik om stijl te bewerken</a:t>
            </a:r>
            <a:endParaRPr lang="en-GB" dirty="0"/>
          </a:p>
        </p:txBody>
      </p:sp>
      <p:sp>
        <p:nvSpPr>
          <p:cNvPr id="3" name="Tijdelijke aanduiding voor verticale tekst 2"/>
          <p:cNvSpPr>
            <a:spLocks noGrp="1"/>
          </p:cNvSpPr>
          <p:nvPr>
            <p:ph type="body" orient="vert" idx="1"/>
          </p:nvPr>
        </p:nvSpPr>
        <p:spPr>
          <a:xfrm>
            <a:off x="472587" y="1420100"/>
            <a:ext cx="6962189" cy="4562078"/>
          </a:xfrm>
        </p:spPr>
        <p:txBody>
          <a:bodyPr vert="horz"/>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10"/>
          </p:nvPr>
        </p:nvSpPr>
        <p:spPr/>
        <p:txBody>
          <a:bodyPr/>
          <a:lstStyle/>
          <a:p>
            <a:fld id="{1399D276-39A4-42F9-9753-B6AD41E0F802}"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dirty="0"/>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ijdelijke aanduiding voor afbeelding 2"/>
          <p:cNvSpPr>
            <a:spLocks noGrp="1"/>
          </p:cNvSpPr>
          <p:nvPr>
            <p:ph type="pic" idx="13"/>
          </p:nvPr>
        </p:nvSpPr>
        <p:spPr>
          <a:xfrm>
            <a:off x="7434776" y="1420100"/>
            <a:ext cx="4760399" cy="4561888"/>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10" name="Tijdelijke aanduiding voor verticale tekst 2"/>
          <p:cNvSpPr>
            <a:spLocks noGrp="1"/>
          </p:cNvSpPr>
          <p:nvPr>
            <p:ph type="body" orient="vert" idx="14" hasCustomPrompt="1"/>
          </p:nvPr>
        </p:nvSpPr>
        <p:spPr>
          <a:xfrm>
            <a:off x="7434776" y="5478177"/>
            <a:ext cx="4760399" cy="504000"/>
          </a:xfrm>
          <a:solidFill>
            <a:schemeClr val="accent2"/>
          </a:solidFill>
        </p:spPr>
        <p:txBody>
          <a:bodyPr vert="horz" lIns="216000" tIns="36000" rIns="216000" bIns="0" anchor="ctr"/>
          <a:lstStyle>
            <a:lvl1pPr algn="l">
              <a:defRPr sz="1800" b="0">
                <a:solidFill>
                  <a:schemeClr val="tx2"/>
                </a:solidFill>
              </a:defRPr>
            </a:lvl1pPr>
          </a:lstStyle>
          <a:p>
            <a:pPr lvl="0"/>
            <a:r>
              <a:rPr lang="nl-NL" dirty="0"/>
              <a:t>Onderschrift</a:t>
            </a:r>
          </a:p>
        </p:txBody>
      </p:sp>
      <p:sp>
        <p:nvSpPr>
          <p:cNvPr id="11" name="Tekstvak 10"/>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Tekst Links + afbeelding (S) + onderschrift</a:t>
            </a:r>
          </a:p>
        </p:txBody>
      </p:sp>
      <p:grpSp>
        <p:nvGrpSpPr>
          <p:cNvPr id="192" name="Groep 191">
            <a:extLst>
              <a:ext uri="{FF2B5EF4-FFF2-40B4-BE49-F238E27FC236}">
                <a16:creationId xmlns:a16="http://schemas.microsoft.com/office/drawing/2014/main" id="{70028B3A-CAE9-4FFC-A979-1831739AD4D1}"/>
              </a:ext>
            </a:extLst>
          </p:cNvPr>
          <p:cNvGrpSpPr/>
          <p:nvPr userDrawn="1"/>
        </p:nvGrpSpPr>
        <p:grpSpPr>
          <a:xfrm>
            <a:off x="-2973833" y="0"/>
            <a:ext cx="2808312" cy="5805264"/>
            <a:chOff x="-2973833" y="0"/>
            <a:chExt cx="2808312" cy="5805264"/>
          </a:xfrm>
        </p:grpSpPr>
        <p:sp>
          <p:nvSpPr>
            <p:cNvPr id="193" name="Rechthoek 192">
              <a:extLst>
                <a:ext uri="{FF2B5EF4-FFF2-40B4-BE49-F238E27FC236}">
                  <a16:creationId xmlns:a16="http://schemas.microsoft.com/office/drawing/2014/main" id="{69680E4D-B238-48B8-A7E2-197371D6C9F2}"/>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194" name="Textfield placeholder">
              <a:extLst>
                <a:ext uri="{FF2B5EF4-FFF2-40B4-BE49-F238E27FC236}">
                  <a16:creationId xmlns:a16="http://schemas.microsoft.com/office/drawing/2014/main" id="{09971984-B863-4C98-943D-461DF0F4B291}"/>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195" name="Ovaal 194">
              <a:extLst>
                <a:ext uri="{FF2B5EF4-FFF2-40B4-BE49-F238E27FC236}">
                  <a16:creationId xmlns:a16="http://schemas.microsoft.com/office/drawing/2014/main" id="{BE2C7461-EEF6-4807-80F3-0A5B70C15232}"/>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196" name="Ovaal 195">
              <a:extLst>
                <a:ext uri="{FF2B5EF4-FFF2-40B4-BE49-F238E27FC236}">
                  <a16:creationId xmlns:a16="http://schemas.microsoft.com/office/drawing/2014/main" id="{A347E235-7542-42AC-A123-5E51F9AD572D}"/>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197" name="Ovaal 196">
              <a:extLst>
                <a:ext uri="{FF2B5EF4-FFF2-40B4-BE49-F238E27FC236}">
                  <a16:creationId xmlns:a16="http://schemas.microsoft.com/office/drawing/2014/main" id="{393809D0-7927-4E04-B54C-3FF93FFC9CD1}"/>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198" name="Ovaal 197">
              <a:extLst>
                <a:ext uri="{FF2B5EF4-FFF2-40B4-BE49-F238E27FC236}">
                  <a16:creationId xmlns:a16="http://schemas.microsoft.com/office/drawing/2014/main" id="{9EB955DA-678C-445E-89F0-F35370090EBD}"/>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199" name="Textfield placeholder">
              <a:extLst>
                <a:ext uri="{FF2B5EF4-FFF2-40B4-BE49-F238E27FC236}">
                  <a16:creationId xmlns:a16="http://schemas.microsoft.com/office/drawing/2014/main" id="{4908CBE5-32E7-4DA7-B842-B6446BE1BBA7}"/>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200" name="Textfield placeholder">
              <a:extLst>
                <a:ext uri="{FF2B5EF4-FFF2-40B4-BE49-F238E27FC236}">
                  <a16:creationId xmlns:a16="http://schemas.microsoft.com/office/drawing/2014/main" id="{66A61ACD-A4D8-4AD3-9F46-68389EBAF37E}"/>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201" name="Textfield placeholder">
              <a:extLst>
                <a:ext uri="{FF2B5EF4-FFF2-40B4-BE49-F238E27FC236}">
                  <a16:creationId xmlns:a16="http://schemas.microsoft.com/office/drawing/2014/main" id="{1D49C604-D74A-4427-8BB4-9D80B0EBCD70}"/>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202" name="Rechte verbindingslijn 201">
              <a:extLst>
                <a:ext uri="{FF2B5EF4-FFF2-40B4-BE49-F238E27FC236}">
                  <a16:creationId xmlns:a16="http://schemas.microsoft.com/office/drawing/2014/main" id="{D26D0C64-26B8-4A26-9A81-FBB771B845F6}"/>
                </a:ext>
              </a:extLst>
            </p:cNvPr>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3" name="Rechte verbindingslijn 202">
              <a:extLst>
                <a:ext uri="{FF2B5EF4-FFF2-40B4-BE49-F238E27FC236}">
                  <a16:creationId xmlns:a16="http://schemas.microsoft.com/office/drawing/2014/main" id="{20DD023F-28B0-43F5-9629-CC1C61DFACFA}"/>
                </a:ext>
              </a:extLst>
            </p:cNvPr>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4" name="Rechte verbindingslijn 203">
              <a:extLst>
                <a:ext uri="{FF2B5EF4-FFF2-40B4-BE49-F238E27FC236}">
                  <a16:creationId xmlns:a16="http://schemas.microsoft.com/office/drawing/2014/main" id="{7E447E74-66CD-49F5-B593-7D457C68C1CC}"/>
                </a:ext>
              </a:extLst>
            </p:cNvPr>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205" name="Picture 3">
              <a:extLst>
                <a:ext uri="{FF2B5EF4-FFF2-40B4-BE49-F238E27FC236}">
                  <a16:creationId xmlns:a16="http://schemas.microsoft.com/office/drawing/2014/main" id="{B7D63EE1-10F1-41AD-94F2-92FA76B6F6E1}"/>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6" name="Picture 4">
              <a:extLst>
                <a:ext uri="{FF2B5EF4-FFF2-40B4-BE49-F238E27FC236}">
                  <a16:creationId xmlns:a16="http://schemas.microsoft.com/office/drawing/2014/main" id="{0294FC7B-9A73-47D8-96F8-D8B2C49B8CA4}"/>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07" name="Groep 206">
              <a:extLst>
                <a:ext uri="{FF2B5EF4-FFF2-40B4-BE49-F238E27FC236}">
                  <a16:creationId xmlns:a16="http://schemas.microsoft.com/office/drawing/2014/main" id="{AF63F82E-63A9-41C9-A766-75E16627CD9C}"/>
                </a:ext>
              </a:extLst>
            </p:cNvPr>
            <p:cNvGrpSpPr/>
            <p:nvPr userDrawn="1"/>
          </p:nvGrpSpPr>
          <p:grpSpPr>
            <a:xfrm>
              <a:off x="-2098870" y="523279"/>
              <a:ext cx="435437" cy="427699"/>
              <a:chOff x="-1085063" y="758027"/>
              <a:chExt cx="633800" cy="622540"/>
            </a:xfrm>
          </p:grpSpPr>
          <p:sp>
            <p:nvSpPr>
              <p:cNvPr id="248" name="Afgeronde rechthoek 133">
                <a:extLst>
                  <a:ext uri="{FF2B5EF4-FFF2-40B4-BE49-F238E27FC236}">
                    <a16:creationId xmlns:a16="http://schemas.microsoft.com/office/drawing/2014/main" id="{6FF350EB-F8D1-4B34-A307-0CF83A9823FE}"/>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249" name="Groep 248">
                <a:extLst>
                  <a:ext uri="{FF2B5EF4-FFF2-40B4-BE49-F238E27FC236}">
                    <a16:creationId xmlns:a16="http://schemas.microsoft.com/office/drawing/2014/main" id="{870CAE51-C743-4A34-9C83-E20AF5BF30FE}"/>
                  </a:ext>
                </a:extLst>
              </p:cNvPr>
              <p:cNvGrpSpPr/>
              <p:nvPr userDrawn="1"/>
            </p:nvGrpSpPr>
            <p:grpSpPr>
              <a:xfrm>
                <a:off x="-977746" y="864082"/>
                <a:ext cx="419166" cy="410430"/>
                <a:chOff x="6366933" y="309013"/>
                <a:chExt cx="1901295" cy="1861668"/>
              </a:xfrm>
              <a:solidFill>
                <a:schemeClr val="tx1"/>
              </a:solidFill>
            </p:grpSpPr>
            <p:sp>
              <p:nvSpPr>
                <p:cNvPr id="250" name="Rechthoek 249">
                  <a:extLst>
                    <a:ext uri="{FF2B5EF4-FFF2-40B4-BE49-F238E27FC236}">
                      <a16:creationId xmlns:a16="http://schemas.microsoft.com/office/drawing/2014/main" id="{7E69ECA3-A2EA-4FAE-97F1-13139CF3807D}"/>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1" name="Rechthoek 250">
                  <a:extLst>
                    <a:ext uri="{FF2B5EF4-FFF2-40B4-BE49-F238E27FC236}">
                      <a16:creationId xmlns:a16="http://schemas.microsoft.com/office/drawing/2014/main" id="{CCA5CE54-29F7-4F25-8D4F-1D2FBD89C0AC}"/>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2" name="Rechthoek 251">
                  <a:extLst>
                    <a:ext uri="{FF2B5EF4-FFF2-40B4-BE49-F238E27FC236}">
                      <a16:creationId xmlns:a16="http://schemas.microsoft.com/office/drawing/2014/main" id="{3DAFD9BB-0496-4746-9307-D829B4699F6B}"/>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3" name="Rechthoek 252">
                  <a:extLst>
                    <a:ext uri="{FF2B5EF4-FFF2-40B4-BE49-F238E27FC236}">
                      <a16:creationId xmlns:a16="http://schemas.microsoft.com/office/drawing/2014/main" id="{E2C5A4CC-34CE-47C3-B700-229256C7E0E8}"/>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4" name="Rechthoek 253">
                  <a:extLst>
                    <a:ext uri="{FF2B5EF4-FFF2-40B4-BE49-F238E27FC236}">
                      <a16:creationId xmlns:a16="http://schemas.microsoft.com/office/drawing/2014/main" id="{39F20C2A-8626-46D3-AA18-52512EDE1C2D}"/>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5" name="Rechthoek 254">
                  <a:extLst>
                    <a:ext uri="{FF2B5EF4-FFF2-40B4-BE49-F238E27FC236}">
                      <a16:creationId xmlns:a16="http://schemas.microsoft.com/office/drawing/2014/main" id="{11553FA1-CD37-44DB-85A0-5CEA1051A3A0}"/>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6" name="Rechthoek 255">
                  <a:extLst>
                    <a:ext uri="{FF2B5EF4-FFF2-40B4-BE49-F238E27FC236}">
                      <a16:creationId xmlns:a16="http://schemas.microsoft.com/office/drawing/2014/main" id="{A3D52233-D3B8-465F-83B2-3B8DA0312208}"/>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7" name="Rechthoek 256">
                  <a:extLst>
                    <a:ext uri="{FF2B5EF4-FFF2-40B4-BE49-F238E27FC236}">
                      <a16:creationId xmlns:a16="http://schemas.microsoft.com/office/drawing/2014/main" id="{59165E77-130D-41A5-BCA2-F036E8AC6698}"/>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8" name="Rechthoek 257">
                  <a:extLst>
                    <a:ext uri="{FF2B5EF4-FFF2-40B4-BE49-F238E27FC236}">
                      <a16:creationId xmlns:a16="http://schemas.microsoft.com/office/drawing/2014/main" id="{B24ACFE2-B2DE-40FF-A9EC-DE1385EE0EA1}"/>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9" name="Rechthoek 258">
                  <a:extLst>
                    <a:ext uri="{FF2B5EF4-FFF2-40B4-BE49-F238E27FC236}">
                      <a16:creationId xmlns:a16="http://schemas.microsoft.com/office/drawing/2014/main" id="{28309360-D2B2-477B-8A88-59F9DEA5A046}"/>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60" name="Vrije vorm 145">
                  <a:extLst>
                    <a:ext uri="{FF2B5EF4-FFF2-40B4-BE49-F238E27FC236}">
                      <a16:creationId xmlns:a16="http://schemas.microsoft.com/office/drawing/2014/main" id="{4D5576F3-062B-42A7-95DB-D5A9E12C0F12}"/>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208" name="Groep 207">
              <a:extLst>
                <a:ext uri="{FF2B5EF4-FFF2-40B4-BE49-F238E27FC236}">
                  <a16:creationId xmlns:a16="http://schemas.microsoft.com/office/drawing/2014/main" id="{7119AE8A-6CF7-4181-92DB-02F93B82D8BB}"/>
                </a:ext>
              </a:extLst>
            </p:cNvPr>
            <p:cNvGrpSpPr/>
            <p:nvPr userDrawn="1"/>
          </p:nvGrpSpPr>
          <p:grpSpPr>
            <a:xfrm>
              <a:off x="-2095303" y="1071657"/>
              <a:ext cx="435437" cy="427699"/>
              <a:chOff x="-1845083" y="758027"/>
              <a:chExt cx="633800" cy="622540"/>
            </a:xfrm>
          </p:grpSpPr>
          <p:sp>
            <p:nvSpPr>
              <p:cNvPr id="235" name="Afgeronde rechthoek 120">
                <a:extLst>
                  <a:ext uri="{FF2B5EF4-FFF2-40B4-BE49-F238E27FC236}">
                    <a16:creationId xmlns:a16="http://schemas.microsoft.com/office/drawing/2014/main" id="{A180EB19-ECF4-45BD-B0CA-D4F7F7540BA2}"/>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236" name="Groep 235">
                <a:extLst>
                  <a:ext uri="{FF2B5EF4-FFF2-40B4-BE49-F238E27FC236}">
                    <a16:creationId xmlns:a16="http://schemas.microsoft.com/office/drawing/2014/main" id="{4FD852CA-8B8B-46E9-98EA-B5E31C280DEE}"/>
                  </a:ext>
                </a:extLst>
              </p:cNvPr>
              <p:cNvGrpSpPr/>
              <p:nvPr userDrawn="1"/>
            </p:nvGrpSpPr>
            <p:grpSpPr>
              <a:xfrm>
                <a:off x="-1737766" y="864082"/>
                <a:ext cx="419166" cy="410430"/>
                <a:chOff x="3708400" y="309013"/>
                <a:chExt cx="1901295" cy="1861668"/>
              </a:xfrm>
              <a:solidFill>
                <a:schemeClr val="tx1"/>
              </a:solidFill>
            </p:grpSpPr>
            <p:sp>
              <p:nvSpPr>
                <p:cNvPr id="237" name="Rechthoek 236">
                  <a:extLst>
                    <a:ext uri="{FF2B5EF4-FFF2-40B4-BE49-F238E27FC236}">
                      <a16:creationId xmlns:a16="http://schemas.microsoft.com/office/drawing/2014/main" id="{E566DC92-970A-42B2-A4ED-4D2AE1CAACE9}"/>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8" name="Rechthoek 237">
                  <a:extLst>
                    <a:ext uri="{FF2B5EF4-FFF2-40B4-BE49-F238E27FC236}">
                      <a16:creationId xmlns:a16="http://schemas.microsoft.com/office/drawing/2014/main" id="{B5DC0100-B982-432C-A7A1-E65A73E0C39D}"/>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9" name="Rechthoek 238">
                  <a:extLst>
                    <a:ext uri="{FF2B5EF4-FFF2-40B4-BE49-F238E27FC236}">
                      <a16:creationId xmlns:a16="http://schemas.microsoft.com/office/drawing/2014/main" id="{59ECBBA8-5758-40A6-9993-00124542F0B6}"/>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0" name="Rechthoek 239">
                  <a:extLst>
                    <a:ext uri="{FF2B5EF4-FFF2-40B4-BE49-F238E27FC236}">
                      <a16:creationId xmlns:a16="http://schemas.microsoft.com/office/drawing/2014/main" id="{AE7E5FAE-D674-4E0F-8BE0-7740ABCC6305}"/>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1" name="Rechthoek 240">
                  <a:extLst>
                    <a:ext uri="{FF2B5EF4-FFF2-40B4-BE49-F238E27FC236}">
                      <a16:creationId xmlns:a16="http://schemas.microsoft.com/office/drawing/2014/main" id="{46FAAC8A-4E79-428F-9E41-7ADEEE8E865E}"/>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2" name="Rechthoek 241">
                  <a:extLst>
                    <a:ext uri="{FF2B5EF4-FFF2-40B4-BE49-F238E27FC236}">
                      <a16:creationId xmlns:a16="http://schemas.microsoft.com/office/drawing/2014/main" id="{ACC93B68-1A17-47BF-9B31-E6ADF63C76A7}"/>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3" name="Rechthoek 242">
                  <a:extLst>
                    <a:ext uri="{FF2B5EF4-FFF2-40B4-BE49-F238E27FC236}">
                      <a16:creationId xmlns:a16="http://schemas.microsoft.com/office/drawing/2014/main" id="{3B17027F-4031-4BC6-AB1D-E51C8F3647F4}"/>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4" name="Rechthoek 243">
                  <a:extLst>
                    <a:ext uri="{FF2B5EF4-FFF2-40B4-BE49-F238E27FC236}">
                      <a16:creationId xmlns:a16="http://schemas.microsoft.com/office/drawing/2014/main" id="{31C7005E-F8F8-4E68-916B-7C74D59C28ED}"/>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5" name="Rechthoek 244">
                  <a:extLst>
                    <a:ext uri="{FF2B5EF4-FFF2-40B4-BE49-F238E27FC236}">
                      <a16:creationId xmlns:a16="http://schemas.microsoft.com/office/drawing/2014/main" id="{409EBDEA-0CB4-41D5-911F-480B627C2498}"/>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6" name="Rechthoek 245">
                  <a:extLst>
                    <a:ext uri="{FF2B5EF4-FFF2-40B4-BE49-F238E27FC236}">
                      <a16:creationId xmlns:a16="http://schemas.microsoft.com/office/drawing/2014/main" id="{FE71981C-3A84-439C-904E-72DE5209D84F}"/>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7" name="Vrije vorm 132">
                  <a:extLst>
                    <a:ext uri="{FF2B5EF4-FFF2-40B4-BE49-F238E27FC236}">
                      <a16:creationId xmlns:a16="http://schemas.microsoft.com/office/drawing/2014/main" id="{DE6AB9B6-AE74-4A79-A591-B984BB949641}"/>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209" name="Rechte verbindingslijn 208">
              <a:extLst>
                <a:ext uri="{FF2B5EF4-FFF2-40B4-BE49-F238E27FC236}">
                  <a16:creationId xmlns:a16="http://schemas.microsoft.com/office/drawing/2014/main" id="{CB0EB03A-32D2-40D4-8713-36E3F541C096}"/>
                </a:ext>
              </a:extLst>
            </p:cNvPr>
            <p:cNvCxnSpPr>
              <a:stCxn id="211" idx="2"/>
              <a:endCxn id="235"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10" name="Rechte verbindingslijn 209">
              <a:extLst>
                <a:ext uri="{FF2B5EF4-FFF2-40B4-BE49-F238E27FC236}">
                  <a16:creationId xmlns:a16="http://schemas.microsoft.com/office/drawing/2014/main" id="{06FD32AF-C4DE-4AD7-BA2E-060C656104F3}"/>
                </a:ext>
              </a:extLst>
            </p:cNvPr>
            <p:cNvCxnSpPr>
              <a:stCxn id="212" idx="3"/>
              <a:endCxn id="248"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11" name="Ovaal 210">
              <a:extLst>
                <a:ext uri="{FF2B5EF4-FFF2-40B4-BE49-F238E27FC236}">
                  <a16:creationId xmlns:a16="http://schemas.microsoft.com/office/drawing/2014/main" id="{0FF0FCFD-7FDF-4BF1-BB08-A752EF335C50}"/>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12" name="Ovaal 211">
              <a:extLst>
                <a:ext uri="{FF2B5EF4-FFF2-40B4-BE49-F238E27FC236}">
                  <a16:creationId xmlns:a16="http://schemas.microsoft.com/office/drawing/2014/main" id="{116E5979-3DC4-4E9E-A655-54C38AEDD49D}"/>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13" name="Textfield placeholder">
              <a:extLst>
                <a:ext uri="{FF2B5EF4-FFF2-40B4-BE49-F238E27FC236}">
                  <a16:creationId xmlns:a16="http://schemas.microsoft.com/office/drawing/2014/main" id="{9EFC5D02-FE4C-437E-932F-D82DB10FFCCB}"/>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214" name="Textfield placeholder">
              <a:extLst>
                <a:ext uri="{FF2B5EF4-FFF2-40B4-BE49-F238E27FC236}">
                  <a16:creationId xmlns:a16="http://schemas.microsoft.com/office/drawing/2014/main" id="{BDDCD4C1-5327-499B-A81E-1D585533ED68}"/>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215" name="Ovaal 214">
              <a:extLst>
                <a:ext uri="{FF2B5EF4-FFF2-40B4-BE49-F238E27FC236}">
                  <a16:creationId xmlns:a16="http://schemas.microsoft.com/office/drawing/2014/main" id="{320C0338-E61C-4418-99EF-E1A601B14A85}"/>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216" name="Ovaal 215">
              <a:extLst>
                <a:ext uri="{FF2B5EF4-FFF2-40B4-BE49-F238E27FC236}">
                  <a16:creationId xmlns:a16="http://schemas.microsoft.com/office/drawing/2014/main" id="{B5C56C7E-E7C8-478E-BF4C-1646A00EFB62}"/>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217" name="Ovaal 216">
              <a:extLst>
                <a:ext uri="{FF2B5EF4-FFF2-40B4-BE49-F238E27FC236}">
                  <a16:creationId xmlns:a16="http://schemas.microsoft.com/office/drawing/2014/main" id="{39D70243-6500-42D6-8996-4C54E0CA83CD}"/>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218" name="Ovaal 217">
              <a:extLst>
                <a:ext uri="{FF2B5EF4-FFF2-40B4-BE49-F238E27FC236}">
                  <a16:creationId xmlns:a16="http://schemas.microsoft.com/office/drawing/2014/main" id="{A933A0D9-778B-4093-B78B-29641541BB95}"/>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219" name="Ovaal 218">
              <a:extLst>
                <a:ext uri="{FF2B5EF4-FFF2-40B4-BE49-F238E27FC236}">
                  <a16:creationId xmlns:a16="http://schemas.microsoft.com/office/drawing/2014/main" id="{EFC679A0-1E14-4D89-932D-D902714EDFEE}"/>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220" name="Textfield placeholder">
              <a:extLst>
                <a:ext uri="{FF2B5EF4-FFF2-40B4-BE49-F238E27FC236}">
                  <a16:creationId xmlns:a16="http://schemas.microsoft.com/office/drawing/2014/main" id="{C020A968-C47B-4F91-AB99-839BAA32BDC1}"/>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21" name="Textfield placeholder">
              <a:extLst>
                <a:ext uri="{FF2B5EF4-FFF2-40B4-BE49-F238E27FC236}">
                  <a16:creationId xmlns:a16="http://schemas.microsoft.com/office/drawing/2014/main" id="{F612AE49-3C2C-4755-85E1-159CECB05302}"/>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22" name="Textfield placeholder">
              <a:extLst>
                <a:ext uri="{FF2B5EF4-FFF2-40B4-BE49-F238E27FC236}">
                  <a16:creationId xmlns:a16="http://schemas.microsoft.com/office/drawing/2014/main" id="{4115BB2D-411D-4FEC-B44A-68034C266A5F}"/>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23" name="Textfield placeholder">
              <a:extLst>
                <a:ext uri="{FF2B5EF4-FFF2-40B4-BE49-F238E27FC236}">
                  <a16:creationId xmlns:a16="http://schemas.microsoft.com/office/drawing/2014/main" id="{B30A857D-9F88-4C2B-A7C3-D93BE8F6C49F}"/>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224" name="Textfield placeholder">
              <a:extLst>
                <a:ext uri="{FF2B5EF4-FFF2-40B4-BE49-F238E27FC236}">
                  <a16:creationId xmlns:a16="http://schemas.microsoft.com/office/drawing/2014/main" id="{B8544B40-BD88-4142-835A-6A52232A73AF}"/>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25" name="Groep 224">
              <a:extLst>
                <a:ext uri="{FF2B5EF4-FFF2-40B4-BE49-F238E27FC236}">
                  <a16:creationId xmlns:a16="http://schemas.microsoft.com/office/drawing/2014/main" id="{B9DA38E5-C07F-4CA1-B216-0EC2F98A7E11}"/>
                </a:ext>
              </a:extLst>
            </p:cNvPr>
            <p:cNvGrpSpPr/>
            <p:nvPr userDrawn="1"/>
          </p:nvGrpSpPr>
          <p:grpSpPr>
            <a:xfrm>
              <a:off x="-950342" y="1837957"/>
              <a:ext cx="687412" cy="3758146"/>
              <a:chOff x="-740196" y="1837957"/>
              <a:chExt cx="1374825" cy="3758146"/>
            </a:xfrm>
          </p:grpSpPr>
          <p:sp>
            <p:nvSpPr>
              <p:cNvPr id="226" name="Textfield placeholder">
                <a:extLst>
                  <a:ext uri="{FF2B5EF4-FFF2-40B4-BE49-F238E27FC236}">
                    <a16:creationId xmlns:a16="http://schemas.microsoft.com/office/drawing/2014/main" id="{F9348514-5D7C-485D-90B1-D37463519349}"/>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27" name="Textfield placeholder">
                <a:extLst>
                  <a:ext uri="{FF2B5EF4-FFF2-40B4-BE49-F238E27FC236}">
                    <a16:creationId xmlns:a16="http://schemas.microsoft.com/office/drawing/2014/main" id="{D4CC8C9F-5E94-4E0D-9E06-FB88CF5D8E80}"/>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28" name="Textfield placeholder">
                <a:extLst>
                  <a:ext uri="{FF2B5EF4-FFF2-40B4-BE49-F238E27FC236}">
                    <a16:creationId xmlns:a16="http://schemas.microsoft.com/office/drawing/2014/main" id="{A397FB37-1377-442C-82B6-D87C979672BF}"/>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29" name="Textfield placeholder">
                <a:extLst>
                  <a:ext uri="{FF2B5EF4-FFF2-40B4-BE49-F238E27FC236}">
                    <a16:creationId xmlns:a16="http://schemas.microsoft.com/office/drawing/2014/main" id="{0143864C-B24E-450D-943B-71D0D249367C}"/>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230" name="Textfield placeholder">
                <a:extLst>
                  <a:ext uri="{FF2B5EF4-FFF2-40B4-BE49-F238E27FC236}">
                    <a16:creationId xmlns:a16="http://schemas.microsoft.com/office/drawing/2014/main" id="{937D2923-AFE3-4901-A509-1B376EAFC323}"/>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231" name="Textfield placeholder">
                <a:extLst>
                  <a:ext uri="{FF2B5EF4-FFF2-40B4-BE49-F238E27FC236}">
                    <a16:creationId xmlns:a16="http://schemas.microsoft.com/office/drawing/2014/main" id="{25DFA771-5F93-426C-855B-E6DB9FBD6DE5}"/>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32" name="Textfield placeholder">
                <a:extLst>
                  <a:ext uri="{FF2B5EF4-FFF2-40B4-BE49-F238E27FC236}">
                    <a16:creationId xmlns:a16="http://schemas.microsoft.com/office/drawing/2014/main" id="{46B6CD9F-4A56-431E-8E6C-7B5DEB39E445}"/>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33" name="Textfield placeholder">
                <a:extLst>
                  <a:ext uri="{FF2B5EF4-FFF2-40B4-BE49-F238E27FC236}">
                    <a16:creationId xmlns:a16="http://schemas.microsoft.com/office/drawing/2014/main" id="{58B00629-4C10-4BE2-AE14-FAC7FC5A86CB}"/>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234" name="Textfield placeholder">
                <a:extLst>
                  <a:ext uri="{FF2B5EF4-FFF2-40B4-BE49-F238E27FC236}">
                    <a16:creationId xmlns:a16="http://schemas.microsoft.com/office/drawing/2014/main" id="{5CE397CF-CC1B-46F2-95E1-525D914764A6}"/>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grpSp>
        <p:nvGrpSpPr>
          <p:cNvPr id="261" name="Groep 260">
            <a:extLst>
              <a:ext uri="{FF2B5EF4-FFF2-40B4-BE49-F238E27FC236}">
                <a16:creationId xmlns:a16="http://schemas.microsoft.com/office/drawing/2014/main" id="{904D91B8-CEE6-42EE-B6B9-E234E7E07EBF}"/>
              </a:ext>
            </a:extLst>
          </p:cNvPr>
          <p:cNvGrpSpPr/>
          <p:nvPr userDrawn="1"/>
        </p:nvGrpSpPr>
        <p:grpSpPr>
          <a:xfrm>
            <a:off x="12363871" y="-26002"/>
            <a:ext cx="3064812" cy="4530930"/>
            <a:chOff x="15419739" y="-26002"/>
            <a:chExt cx="3064812" cy="4530930"/>
          </a:xfrm>
        </p:grpSpPr>
        <p:sp>
          <p:nvSpPr>
            <p:cNvPr id="262" name="Tekstvak 33">
              <a:extLst>
                <a:ext uri="{FF2B5EF4-FFF2-40B4-BE49-F238E27FC236}">
                  <a16:creationId xmlns:a16="http://schemas.microsoft.com/office/drawing/2014/main" id="{B2F22902-5A13-4124-A89E-8131FB6CE09B}"/>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263" name="Tekstvak 33">
              <a:extLst>
                <a:ext uri="{FF2B5EF4-FFF2-40B4-BE49-F238E27FC236}">
                  <a16:creationId xmlns:a16="http://schemas.microsoft.com/office/drawing/2014/main" id="{4540B68E-B776-43CC-9096-CD1905B1269E}"/>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264" name="Ovaal 263">
              <a:extLst>
                <a:ext uri="{FF2B5EF4-FFF2-40B4-BE49-F238E27FC236}">
                  <a16:creationId xmlns:a16="http://schemas.microsoft.com/office/drawing/2014/main" id="{9DD4E13A-3438-4F43-8EB8-065410019561}"/>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265" name="Ovaal 264">
              <a:extLst>
                <a:ext uri="{FF2B5EF4-FFF2-40B4-BE49-F238E27FC236}">
                  <a16:creationId xmlns:a16="http://schemas.microsoft.com/office/drawing/2014/main" id="{EF32A6B2-FC3C-45F6-B307-4654D3F668E2}"/>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266" name="Picture 3">
              <a:extLst>
                <a:ext uri="{FF2B5EF4-FFF2-40B4-BE49-F238E27FC236}">
                  <a16:creationId xmlns:a16="http://schemas.microsoft.com/office/drawing/2014/main" id="{F129A862-156D-4927-A72E-CDFC12503723}"/>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67" name="Picture 3">
              <a:extLst>
                <a:ext uri="{FF2B5EF4-FFF2-40B4-BE49-F238E27FC236}">
                  <a16:creationId xmlns:a16="http://schemas.microsoft.com/office/drawing/2014/main" id="{582B25C4-5168-4325-8163-926BC50F2DC4}"/>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68" name="Tekstvak 267">
              <a:extLst>
                <a:ext uri="{FF2B5EF4-FFF2-40B4-BE49-F238E27FC236}">
                  <a16:creationId xmlns:a16="http://schemas.microsoft.com/office/drawing/2014/main" id="{87055E7D-EE31-411F-A896-8214FBBA9D48}"/>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269" name="Rechthoek 268">
              <a:extLst>
                <a:ext uri="{FF2B5EF4-FFF2-40B4-BE49-F238E27FC236}">
                  <a16:creationId xmlns:a16="http://schemas.microsoft.com/office/drawing/2014/main" id="{1B973D72-6CC8-4C45-B6B9-8D013C1F4A0F}"/>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270" name="Groep 269">
              <a:extLst>
                <a:ext uri="{FF2B5EF4-FFF2-40B4-BE49-F238E27FC236}">
                  <a16:creationId xmlns:a16="http://schemas.microsoft.com/office/drawing/2014/main" id="{B24E8DA4-12F5-413B-8856-83AB1775A6F3}"/>
                </a:ext>
              </a:extLst>
            </p:cNvPr>
            <p:cNvGrpSpPr/>
            <p:nvPr userDrawn="1"/>
          </p:nvGrpSpPr>
          <p:grpSpPr>
            <a:xfrm>
              <a:off x="15563079" y="358984"/>
              <a:ext cx="2489424" cy="4145944"/>
              <a:chOff x="15563079" y="358984"/>
              <a:chExt cx="2315772" cy="4145944"/>
            </a:xfrm>
          </p:grpSpPr>
          <p:cxnSp>
            <p:nvCxnSpPr>
              <p:cNvPr id="272" name="Rechte verbindingslijn 271">
                <a:extLst>
                  <a:ext uri="{FF2B5EF4-FFF2-40B4-BE49-F238E27FC236}">
                    <a16:creationId xmlns:a16="http://schemas.microsoft.com/office/drawing/2014/main" id="{3466E4A2-8DD4-4C18-886C-65D71E891732}"/>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3" name="Rechte verbindingslijn 272">
                <a:extLst>
                  <a:ext uri="{FF2B5EF4-FFF2-40B4-BE49-F238E27FC236}">
                    <a16:creationId xmlns:a16="http://schemas.microsoft.com/office/drawing/2014/main" id="{CF4C255F-A57E-422E-B246-605DB2B6ABE8}"/>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4" name="Rechte verbindingslijn 273">
                <a:extLst>
                  <a:ext uri="{FF2B5EF4-FFF2-40B4-BE49-F238E27FC236}">
                    <a16:creationId xmlns:a16="http://schemas.microsoft.com/office/drawing/2014/main" id="{CC092791-ACD0-4133-A103-7036B0C05279}"/>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71" name="Afbeelding 270">
              <a:extLst>
                <a:ext uri="{FF2B5EF4-FFF2-40B4-BE49-F238E27FC236}">
                  <a16:creationId xmlns:a16="http://schemas.microsoft.com/office/drawing/2014/main" id="{E605903A-9CA4-47E7-8616-84EBCB50D635}"/>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1731264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kst Rechts + afbeelding (S)">
    <p:spTree>
      <p:nvGrpSpPr>
        <p:cNvPr id="1" name=""/>
        <p:cNvGrpSpPr/>
        <p:nvPr/>
      </p:nvGrpSpPr>
      <p:grpSpPr>
        <a:xfrm>
          <a:off x="0" y="0"/>
          <a:ext cx="0" cy="0"/>
          <a:chOff x="0" y="0"/>
          <a:chExt cx="0" cy="0"/>
        </a:xfrm>
      </p:grpSpPr>
      <p:grpSp>
        <p:nvGrpSpPr>
          <p:cNvPr id="180" name="Groep 179">
            <a:extLst>
              <a:ext uri="{FF2B5EF4-FFF2-40B4-BE49-F238E27FC236}">
                <a16:creationId xmlns:a16="http://schemas.microsoft.com/office/drawing/2014/main" id="{CB5F41AF-7A5B-4968-9377-5B855DA918B4}"/>
              </a:ext>
            </a:extLst>
          </p:cNvPr>
          <p:cNvGrpSpPr/>
          <p:nvPr userDrawn="1"/>
        </p:nvGrpSpPr>
        <p:grpSpPr>
          <a:xfrm>
            <a:off x="-3205835" y="-26002"/>
            <a:ext cx="3064812" cy="4530930"/>
            <a:chOff x="15419739" y="-26002"/>
            <a:chExt cx="3064812" cy="4530930"/>
          </a:xfrm>
        </p:grpSpPr>
        <p:sp>
          <p:nvSpPr>
            <p:cNvPr id="181" name="Tekstvak 33">
              <a:extLst>
                <a:ext uri="{FF2B5EF4-FFF2-40B4-BE49-F238E27FC236}">
                  <a16:creationId xmlns:a16="http://schemas.microsoft.com/office/drawing/2014/main" id="{D23C4ED3-D9B8-4D75-8E05-63DB5C00D42D}"/>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182" name="Tekstvak 33">
              <a:extLst>
                <a:ext uri="{FF2B5EF4-FFF2-40B4-BE49-F238E27FC236}">
                  <a16:creationId xmlns:a16="http://schemas.microsoft.com/office/drawing/2014/main" id="{67AF1F51-5B4D-48DB-B89F-85023E367DB5}"/>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183" name="Ovaal 182">
              <a:extLst>
                <a:ext uri="{FF2B5EF4-FFF2-40B4-BE49-F238E27FC236}">
                  <a16:creationId xmlns:a16="http://schemas.microsoft.com/office/drawing/2014/main" id="{57339E6D-1BD2-4CE6-8A8E-1DF43381FE0E}"/>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184" name="Ovaal 183">
              <a:extLst>
                <a:ext uri="{FF2B5EF4-FFF2-40B4-BE49-F238E27FC236}">
                  <a16:creationId xmlns:a16="http://schemas.microsoft.com/office/drawing/2014/main" id="{FAB310D7-BEBB-458D-95AE-6155D1EB3D8D}"/>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185" name="Picture 3">
              <a:extLst>
                <a:ext uri="{FF2B5EF4-FFF2-40B4-BE49-F238E27FC236}">
                  <a16:creationId xmlns:a16="http://schemas.microsoft.com/office/drawing/2014/main" id="{510BF25E-02A8-43DB-BA30-E81B1CE1B518}"/>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186" name="Picture 3">
              <a:extLst>
                <a:ext uri="{FF2B5EF4-FFF2-40B4-BE49-F238E27FC236}">
                  <a16:creationId xmlns:a16="http://schemas.microsoft.com/office/drawing/2014/main" id="{570CD737-2090-49B8-B7E3-9BBCE2336442}"/>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187" name="Tekstvak 186">
              <a:extLst>
                <a:ext uri="{FF2B5EF4-FFF2-40B4-BE49-F238E27FC236}">
                  <a16:creationId xmlns:a16="http://schemas.microsoft.com/office/drawing/2014/main" id="{654CE3BB-F256-4FB3-8C7C-03B63BDFB2F5}"/>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188" name="Rechthoek 187">
              <a:extLst>
                <a:ext uri="{FF2B5EF4-FFF2-40B4-BE49-F238E27FC236}">
                  <a16:creationId xmlns:a16="http://schemas.microsoft.com/office/drawing/2014/main" id="{3A58C769-041E-48F2-A2E9-E588D819FD28}"/>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189" name="Groep 188">
              <a:extLst>
                <a:ext uri="{FF2B5EF4-FFF2-40B4-BE49-F238E27FC236}">
                  <a16:creationId xmlns:a16="http://schemas.microsoft.com/office/drawing/2014/main" id="{ADE88A5B-C9DB-49A6-9076-F24C8A0D0CFE}"/>
                </a:ext>
              </a:extLst>
            </p:cNvPr>
            <p:cNvGrpSpPr/>
            <p:nvPr userDrawn="1"/>
          </p:nvGrpSpPr>
          <p:grpSpPr>
            <a:xfrm>
              <a:off x="15563079" y="358984"/>
              <a:ext cx="2489424" cy="4145944"/>
              <a:chOff x="15563079" y="358984"/>
              <a:chExt cx="2315772" cy="4145944"/>
            </a:xfrm>
          </p:grpSpPr>
          <p:cxnSp>
            <p:nvCxnSpPr>
              <p:cNvPr id="191" name="Rechte verbindingslijn 190">
                <a:extLst>
                  <a:ext uri="{FF2B5EF4-FFF2-40B4-BE49-F238E27FC236}">
                    <a16:creationId xmlns:a16="http://schemas.microsoft.com/office/drawing/2014/main" id="{9FA1353F-38EB-405E-9DBD-251F50A98BDB}"/>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2" name="Rechte verbindingslijn 191">
                <a:extLst>
                  <a:ext uri="{FF2B5EF4-FFF2-40B4-BE49-F238E27FC236}">
                    <a16:creationId xmlns:a16="http://schemas.microsoft.com/office/drawing/2014/main" id="{512F2999-B344-4DF2-A1AB-A426DE00537C}"/>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3" name="Rechte verbindingslijn 192">
                <a:extLst>
                  <a:ext uri="{FF2B5EF4-FFF2-40B4-BE49-F238E27FC236}">
                    <a16:creationId xmlns:a16="http://schemas.microsoft.com/office/drawing/2014/main" id="{B9374209-EC90-4B53-AE17-ECF7EF41ECBD}"/>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190" name="Afbeelding 189">
              <a:extLst>
                <a:ext uri="{FF2B5EF4-FFF2-40B4-BE49-F238E27FC236}">
                  <a16:creationId xmlns:a16="http://schemas.microsoft.com/office/drawing/2014/main" id="{9E3BB35D-DE6E-412F-B02B-AA089806F12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grpSp>
        <p:nvGrpSpPr>
          <p:cNvPr id="97" name="Groep 96">
            <a:extLst>
              <a:ext uri="{FF2B5EF4-FFF2-40B4-BE49-F238E27FC236}">
                <a16:creationId xmlns:a16="http://schemas.microsoft.com/office/drawing/2014/main" id="{0ABEBA2D-8CC3-4B7A-9523-0A937D8BE3EF}"/>
              </a:ext>
            </a:extLst>
          </p:cNvPr>
          <p:cNvGrpSpPr/>
          <p:nvPr userDrawn="1"/>
        </p:nvGrpSpPr>
        <p:grpSpPr>
          <a:xfrm>
            <a:off x="12353686" y="0"/>
            <a:ext cx="2808312" cy="5805264"/>
            <a:chOff x="-2973833" y="0"/>
            <a:chExt cx="2808312" cy="5805264"/>
          </a:xfrm>
        </p:grpSpPr>
        <p:sp>
          <p:nvSpPr>
            <p:cNvPr id="98" name="Rechthoek 97">
              <a:extLst>
                <a:ext uri="{FF2B5EF4-FFF2-40B4-BE49-F238E27FC236}">
                  <a16:creationId xmlns:a16="http://schemas.microsoft.com/office/drawing/2014/main" id="{3081EE8A-A539-4ABB-8995-55BB30BFDE09}"/>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99" name="Textfield placeholder">
              <a:extLst>
                <a:ext uri="{FF2B5EF4-FFF2-40B4-BE49-F238E27FC236}">
                  <a16:creationId xmlns:a16="http://schemas.microsoft.com/office/drawing/2014/main" id="{DA755810-5EF2-4FAA-91DB-C50974233C69}"/>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100" name="Ovaal 99">
              <a:extLst>
                <a:ext uri="{FF2B5EF4-FFF2-40B4-BE49-F238E27FC236}">
                  <a16:creationId xmlns:a16="http://schemas.microsoft.com/office/drawing/2014/main" id="{FB419873-E241-4DF3-90F2-1D5120737F02}"/>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101" name="Ovaal 100">
              <a:extLst>
                <a:ext uri="{FF2B5EF4-FFF2-40B4-BE49-F238E27FC236}">
                  <a16:creationId xmlns:a16="http://schemas.microsoft.com/office/drawing/2014/main" id="{F540B84E-05BC-48EA-A70C-DAFC59800EDB}"/>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102" name="Ovaal 101">
              <a:extLst>
                <a:ext uri="{FF2B5EF4-FFF2-40B4-BE49-F238E27FC236}">
                  <a16:creationId xmlns:a16="http://schemas.microsoft.com/office/drawing/2014/main" id="{627F18C7-EE12-4D5B-B078-52C23D99C9BA}"/>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103" name="Ovaal 102">
              <a:extLst>
                <a:ext uri="{FF2B5EF4-FFF2-40B4-BE49-F238E27FC236}">
                  <a16:creationId xmlns:a16="http://schemas.microsoft.com/office/drawing/2014/main" id="{E850BBDE-0E4B-413E-BE87-7104583CED6A}"/>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104" name="Textfield placeholder">
              <a:extLst>
                <a:ext uri="{FF2B5EF4-FFF2-40B4-BE49-F238E27FC236}">
                  <a16:creationId xmlns:a16="http://schemas.microsoft.com/office/drawing/2014/main" id="{0AFEE5EB-B211-4CAB-9BE4-96E312235B1D}"/>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105" name="Textfield placeholder">
              <a:extLst>
                <a:ext uri="{FF2B5EF4-FFF2-40B4-BE49-F238E27FC236}">
                  <a16:creationId xmlns:a16="http://schemas.microsoft.com/office/drawing/2014/main" id="{14FA1D7E-D14A-4711-8AB1-FE1F09E446D3}"/>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106" name="Textfield placeholder">
              <a:extLst>
                <a:ext uri="{FF2B5EF4-FFF2-40B4-BE49-F238E27FC236}">
                  <a16:creationId xmlns:a16="http://schemas.microsoft.com/office/drawing/2014/main" id="{F856736D-CC6F-4D0E-A21E-626C1EF32859}"/>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107" name="Rechte verbindingslijn 106">
              <a:extLst>
                <a:ext uri="{FF2B5EF4-FFF2-40B4-BE49-F238E27FC236}">
                  <a16:creationId xmlns:a16="http://schemas.microsoft.com/office/drawing/2014/main" id="{C770D32E-E086-4B4B-B56E-81273599A41F}"/>
                </a:ext>
              </a:extLst>
            </p:cNvPr>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a:extLst>
                <a:ext uri="{FF2B5EF4-FFF2-40B4-BE49-F238E27FC236}">
                  <a16:creationId xmlns:a16="http://schemas.microsoft.com/office/drawing/2014/main" id="{D1A6FE1F-F587-41A2-AE71-AB8A1C3C7066}"/>
                </a:ext>
              </a:extLst>
            </p:cNvPr>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a:extLst>
                <a:ext uri="{FF2B5EF4-FFF2-40B4-BE49-F238E27FC236}">
                  <a16:creationId xmlns:a16="http://schemas.microsoft.com/office/drawing/2014/main" id="{01A19BF7-6B63-41DE-8F3C-1769B92E8132}"/>
                </a:ext>
              </a:extLst>
            </p:cNvPr>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110" name="Picture 3">
              <a:extLst>
                <a:ext uri="{FF2B5EF4-FFF2-40B4-BE49-F238E27FC236}">
                  <a16:creationId xmlns:a16="http://schemas.microsoft.com/office/drawing/2014/main" id="{AE927A44-6449-4B35-ABF5-BA1661B531AB}"/>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1" name="Picture 4">
              <a:extLst>
                <a:ext uri="{FF2B5EF4-FFF2-40B4-BE49-F238E27FC236}">
                  <a16:creationId xmlns:a16="http://schemas.microsoft.com/office/drawing/2014/main" id="{55F28F8A-5472-4556-8D93-E64B45964163}"/>
                </a:ext>
              </a:extLst>
            </p:cNvPr>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12" name="Groep 111">
              <a:extLst>
                <a:ext uri="{FF2B5EF4-FFF2-40B4-BE49-F238E27FC236}">
                  <a16:creationId xmlns:a16="http://schemas.microsoft.com/office/drawing/2014/main" id="{0C980D00-3424-491E-BF2D-BAA0225D0D2E}"/>
                </a:ext>
              </a:extLst>
            </p:cNvPr>
            <p:cNvGrpSpPr/>
            <p:nvPr userDrawn="1"/>
          </p:nvGrpSpPr>
          <p:grpSpPr>
            <a:xfrm>
              <a:off x="-2098870" y="523279"/>
              <a:ext cx="435437" cy="427699"/>
              <a:chOff x="-1085063" y="758027"/>
              <a:chExt cx="633800" cy="622540"/>
            </a:xfrm>
          </p:grpSpPr>
          <p:sp>
            <p:nvSpPr>
              <p:cNvPr id="153" name="Afgeronde rechthoek 133">
                <a:extLst>
                  <a:ext uri="{FF2B5EF4-FFF2-40B4-BE49-F238E27FC236}">
                    <a16:creationId xmlns:a16="http://schemas.microsoft.com/office/drawing/2014/main" id="{8A062728-B6D6-45BD-918B-6822A4D18C4B}"/>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154" name="Groep 153">
                <a:extLst>
                  <a:ext uri="{FF2B5EF4-FFF2-40B4-BE49-F238E27FC236}">
                    <a16:creationId xmlns:a16="http://schemas.microsoft.com/office/drawing/2014/main" id="{E1E076A1-DC26-431D-B9DB-AD69F87F2871}"/>
                  </a:ext>
                </a:extLst>
              </p:cNvPr>
              <p:cNvGrpSpPr/>
              <p:nvPr userDrawn="1"/>
            </p:nvGrpSpPr>
            <p:grpSpPr>
              <a:xfrm>
                <a:off x="-977746" y="864082"/>
                <a:ext cx="419166" cy="410430"/>
                <a:chOff x="6366933" y="309013"/>
                <a:chExt cx="1901295" cy="1861668"/>
              </a:xfrm>
              <a:solidFill>
                <a:schemeClr val="tx1"/>
              </a:solidFill>
            </p:grpSpPr>
            <p:sp>
              <p:nvSpPr>
                <p:cNvPr id="155" name="Rechthoek 154">
                  <a:extLst>
                    <a:ext uri="{FF2B5EF4-FFF2-40B4-BE49-F238E27FC236}">
                      <a16:creationId xmlns:a16="http://schemas.microsoft.com/office/drawing/2014/main" id="{416BBBC3-4F7A-4E93-AA44-2642985A4775}"/>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56" name="Rechthoek 155">
                  <a:extLst>
                    <a:ext uri="{FF2B5EF4-FFF2-40B4-BE49-F238E27FC236}">
                      <a16:creationId xmlns:a16="http://schemas.microsoft.com/office/drawing/2014/main" id="{5EB438EC-B521-4210-B91B-AB033EB372B6}"/>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57" name="Rechthoek 156">
                  <a:extLst>
                    <a:ext uri="{FF2B5EF4-FFF2-40B4-BE49-F238E27FC236}">
                      <a16:creationId xmlns:a16="http://schemas.microsoft.com/office/drawing/2014/main" id="{D5FF1BF4-F7FD-41E6-A8EF-9FE49AB7DCE0}"/>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58" name="Rechthoek 157">
                  <a:extLst>
                    <a:ext uri="{FF2B5EF4-FFF2-40B4-BE49-F238E27FC236}">
                      <a16:creationId xmlns:a16="http://schemas.microsoft.com/office/drawing/2014/main" id="{F28BCC6D-B53B-4A41-9AE1-7ABF3B85F96E}"/>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59" name="Rechthoek 158">
                  <a:extLst>
                    <a:ext uri="{FF2B5EF4-FFF2-40B4-BE49-F238E27FC236}">
                      <a16:creationId xmlns:a16="http://schemas.microsoft.com/office/drawing/2014/main" id="{036992AB-A02C-4D08-A8CC-8F1ACE1C49CA}"/>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60" name="Rechthoek 159">
                  <a:extLst>
                    <a:ext uri="{FF2B5EF4-FFF2-40B4-BE49-F238E27FC236}">
                      <a16:creationId xmlns:a16="http://schemas.microsoft.com/office/drawing/2014/main" id="{9F419844-E442-4E00-9AFE-636C63C5E223}"/>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61" name="Rechthoek 160">
                  <a:extLst>
                    <a:ext uri="{FF2B5EF4-FFF2-40B4-BE49-F238E27FC236}">
                      <a16:creationId xmlns:a16="http://schemas.microsoft.com/office/drawing/2014/main" id="{B2D9ADE2-D8C1-4D90-B791-B0E3F786CC7F}"/>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62" name="Rechthoek 161">
                  <a:extLst>
                    <a:ext uri="{FF2B5EF4-FFF2-40B4-BE49-F238E27FC236}">
                      <a16:creationId xmlns:a16="http://schemas.microsoft.com/office/drawing/2014/main" id="{DF25A183-F6FE-4FF3-A548-5FF23920EB3B}"/>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63" name="Rechthoek 162">
                  <a:extLst>
                    <a:ext uri="{FF2B5EF4-FFF2-40B4-BE49-F238E27FC236}">
                      <a16:creationId xmlns:a16="http://schemas.microsoft.com/office/drawing/2014/main" id="{9D406E71-4D1C-4A8C-ADEC-D986D48A0119}"/>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64" name="Rechthoek 163">
                  <a:extLst>
                    <a:ext uri="{FF2B5EF4-FFF2-40B4-BE49-F238E27FC236}">
                      <a16:creationId xmlns:a16="http://schemas.microsoft.com/office/drawing/2014/main" id="{978BE961-D779-4EFB-BF6C-DA5CEAC8E143}"/>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65" name="Vrije vorm 145">
                  <a:extLst>
                    <a:ext uri="{FF2B5EF4-FFF2-40B4-BE49-F238E27FC236}">
                      <a16:creationId xmlns:a16="http://schemas.microsoft.com/office/drawing/2014/main" id="{F87F7311-262A-42F6-9709-F1374061C4A4}"/>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113" name="Groep 112">
              <a:extLst>
                <a:ext uri="{FF2B5EF4-FFF2-40B4-BE49-F238E27FC236}">
                  <a16:creationId xmlns:a16="http://schemas.microsoft.com/office/drawing/2014/main" id="{A84A6835-4868-4D12-B114-13ACAD1F6374}"/>
                </a:ext>
              </a:extLst>
            </p:cNvPr>
            <p:cNvGrpSpPr/>
            <p:nvPr userDrawn="1"/>
          </p:nvGrpSpPr>
          <p:grpSpPr>
            <a:xfrm>
              <a:off x="-2095303" y="1071657"/>
              <a:ext cx="435437" cy="427699"/>
              <a:chOff x="-1845083" y="758027"/>
              <a:chExt cx="633800" cy="622540"/>
            </a:xfrm>
          </p:grpSpPr>
          <p:sp>
            <p:nvSpPr>
              <p:cNvPr id="140" name="Afgeronde rechthoek 120">
                <a:extLst>
                  <a:ext uri="{FF2B5EF4-FFF2-40B4-BE49-F238E27FC236}">
                    <a16:creationId xmlns:a16="http://schemas.microsoft.com/office/drawing/2014/main" id="{9AC74125-4825-416C-9526-29A6B31751BC}"/>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141" name="Groep 140">
                <a:extLst>
                  <a:ext uri="{FF2B5EF4-FFF2-40B4-BE49-F238E27FC236}">
                    <a16:creationId xmlns:a16="http://schemas.microsoft.com/office/drawing/2014/main" id="{C6DDABB0-D2D9-4A44-9413-16E7102E6E8B}"/>
                  </a:ext>
                </a:extLst>
              </p:cNvPr>
              <p:cNvGrpSpPr/>
              <p:nvPr userDrawn="1"/>
            </p:nvGrpSpPr>
            <p:grpSpPr>
              <a:xfrm>
                <a:off x="-1737766" y="864082"/>
                <a:ext cx="419166" cy="410430"/>
                <a:chOff x="3708400" y="309013"/>
                <a:chExt cx="1901295" cy="1861668"/>
              </a:xfrm>
              <a:solidFill>
                <a:schemeClr val="tx1"/>
              </a:solidFill>
            </p:grpSpPr>
            <p:sp>
              <p:nvSpPr>
                <p:cNvPr id="142" name="Rechthoek 141">
                  <a:extLst>
                    <a:ext uri="{FF2B5EF4-FFF2-40B4-BE49-F238E27FC236}">
                      <a16:creationId xmlns:a16="http://schemas.microsoft.com/office/drawing/2014/main" id="{12632132-8613-4E87-85A5-F41C579A52FE}"/>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3" name="Rechthoek 142">
                  <a:extLst>
                    <a:ext uri="{FF2B5EF4-FFF2-40B4-BE49-F238E27FC236}">
                      <a16:creationId xmlns:a16="http://schemas.microsoft.com/office/drawing/2014/main" id="{76826A4E-52F8-481C-8C1D-B0D10E72149B}"/>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4" name="Rechthoek 143">
                  <a:extLst>
                    <a:ext uri="{FF2B5EF4-FFF2-40B4-BE49-F238E27FC236}">
                      <a16:creationId xmlns:a16="http://schemas.microsoft.com/office/drawing/2014/main" id="{35AFD29A-2DF7-4273-A25E-4A9E46FD2A83}"/>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5" name="Rechthoek 144">
                  <a:extLst>
                    <a:ext uri="{FF2B5EF4-FFF2-40B4-BE49-F238E27FC236}">
                      <a16:creationId xmlns:a16="http://schemas.microsoft.com/office/drawing/2014/main" id="{AEF76C68-47CB-46DE-B15F-D130B61DE645}"/>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6" name="Rechthoek 145">
                  <a:extLst>
                    <a:ext uri="{FF2B5EF4-FFF2-40B4-BE49-F238E27FC236}">
                      <a16:creationId xmlns:a16="http://schemas.microsoft.com/office/drawing/2014/main" id="{5B8109EB-AB09-4B03-BA10-5AF1D4BE33B3}"/>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7" name="Rechthoek 146">
                  <a:extLst>
                    <a:ext uri="{FF2B5EF4-FFF2-40B4-BE49-F238E27FC236}">
                      <a16:creationId xmlns:a16="http://schemas.microsoft.com/office/drawing/2014/main" id="{38CFCF73-F095-4744-AF64-5D79C98B6601}"/>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8" name="Rechthoek 147">
                  <a:extLst>
                    <a:ext uri="{FF2B5EF4-FFF2-40B4-BE49-F238E27FC236}">
                      <a16:creationId xmlns:a16="http://schemas.microsoft.com/office/drawing/2014/main" id="{F992C992-63E7-422E-B62E-BDC024A880E5}"/>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49" name="Rechthoek 148">
                  <a:extLst>
                    <a:ext uri="{FF2B5EF4-FFF2-40B4-BE49-F238E27FC236}">
                      <a16:creationId xmlns:a16="http://schemas.microsoft.com/office/drawing/2014/main" id="{FC874549-608F-483B-A700-3A4B081CB4C1}"/>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50" name="Rechthoek 149">
                  <a:extLst>
                    <a:ext uri="{FF2B5EF4-FFF2-40B4-BE49-F238E27FC236}">
                      <a16:creationId xmlns:a16="http://schemas.microsoft.com/office/drawing/2014/main" id="{0ECAFFD4-1582-4135-96AB-FDDDE4531C60}"/>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51" name="Rechthoek 150">
                  <a:extLst>
                    <a:ext uri="{FF2B5EF4-FFF2-40B4-BE49-F238E27FC236}">
                      <a16:creationId xmlns:a16="http://schemas.microsoft.com/office/drawing/2014/main" id="{E92CD45E-6DA5-4D4C-95C5-77B4F2F469CB}"/>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152" name="Vrije vorm 132">
                  <a:extLst>
                    <a:ext uri="{FF2B5EF4-FFF2-40B4-BE49-F238E27FC236}">
                      <a16:creationId xmlns:a16="http://schemas.microsoft.com/office/drawing/2014/main" id="{EA2C2729-53DE-4A7D-942F-1770AEAE95AB}"/>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114" name="Rechte verbindingslijn 113">
              <a:extLst>
                <a:ext uri="{FF2B5EF4-FFF2-40B4-BE49-F238E27FC236}">
                  <a16:creationId xmlns:a16="http://schemas.microsoft.com/office/drawing/2014/main" id="{C114421A-4F73-4760-A02C-BB6716A14ABF}"/>
                </a:ext>
              </a:extLst>
            </p:cNvPr>
            <p:cNvCxnSpPr>
              <a:stCxn id="116" idx="2"/>
              <a:endCxn id="140"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id="{6058CAAD-4D57-4D92-99EE-542D8FDE05E1}"/>
                </a:ext>
              </a:extLst>
            </p:cNvPr>
            <p:cNvCxnSpPr>
              <a:stCxn id="117" idx="3"/>
              <a:endCxn id="153"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16" name="Ovaal 115">
              <a:extLst>
                <a:ext uri="{FF2B5EF4-FFF2-40B4-BE49-F238E27FC236}">
                  <a16:creationId xmlns:a16="http://schemas.microsoft.com/office/drawing/2014/main" id="{CB7D1E89-193B-4428-9851-7047413D779F}"/>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7" name="Ovaal 116">
              <a:extLst>
                <a:ext uri="{FF2B5EF4-FFF2-40B4-BE49-F238E27FC236}">
                  <a16:creationId xmlns:a16="http://schemas.microsoft.com/office/drawing/2014/main" id="{54483A6A-E871-4616-9514-368D3109BC77}"/>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18" name="Textfield placeholder">
              <a:extLst>
                <a:ext uri="{FF2B5EF4-FFF2-40B4-BE49-F238E27FC236}">
                  <a16:creationId xmlns:a16="http://schemas.microsoft.com/office/drawing/2014/main" id="{4DEAEBE3-2350-4E9A-A1A1-4746E6F0C50F}"/>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119" name="Textfield placeholder">
              <a:extLst>
                <a:ext uri="{FF2B5EF4-FFF2-40B4-BE49-F238E27FC236}">
                  <a16:creationId xmlns:a16="http://schemas.microsoft.com/office/drawing/2014/main" id="{B01301EB-437E-431D-BCDE-6F890E10B967}"/>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120" name="Ovaal 119">
              <a:extLst>
                <a:ext uri="{FF2B5EF4-FFF2-40B4-BE49-F238E27FC236}">
                  <a16:creationId xmlns:a16="http://schemas.microsoft.com/office/drawing/2014/main" id="{D90B1836-1996-4046-8FBF-2BAF839F9417}"/>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121" name="Ovaal 120">
              <a:extLst>
                <a:ext uri="{FF2B5EF4-FFF2-40B4-BE49-F238E27FC236}">
                  <a16:creationId xmlns:a16="http://schemas.microsoft.com/office/drawing/2014/main" id="{BDC753EE-466E-46E5-B3C7-6CC6A2997E7C}"/>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122" name="Ovaal 121">
              <a:extLst>
                <a:ext uri="{FF2B5EF4-FFF2-40B4-BE49-F238E27FC236}">
                  <a16:creationId xmlns:a16="http://schemas.microsoft.com/office/drawing/2014/main" id="{40A62AFE-7780-407D-89BF-261EFD274313}"/>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123" name="Ovaal 122">
              <a:extLst>
                <a:ext uri="{FF2B5EF4-FFF2-40B4-BE49-F238E27FC236}">
                  <a16:creationId xmlns:a16="http://schemas.microsoft.com/office/drawing/2014/main" id="{C41CECCE-1763-48BC-B808-04EE06B0E58E}"/>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124" name="Ovaal 123">
              <a:extLst>
                <a:ext uri="{FF2B5EF4-FFF2-40B4-BE49-F238E27FC236}">
                  <a16:creationId xmlns:a16="http://schemas.microsoft.com/office/drawing/2014/main" id="{631960FA-4152-4DCA-BCAA-26F169BCFA5A}"/>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125" name="Textfield placeholder">
              <a:extLst>
                <a:ext uri="{FF2B5EF4-FFF2-40B4-BE49-F238E27FC236}">
                  <a16:creationId xmlns:a16="http://schemas.microsoft.com/office/drawing/2014/main" id="{D8931F4A-6ADA-427B-8AFF-8DEEBC1DECE3}"/>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126" name="Textfield placeholder">
              <a:extLst>
                <a:ext uri="{FF2B5EF4-FFF2-40B4-BE49-F238E27FC236}">
                  <a16:creationId xmlns:a16="http://schemas.microsoft.com/office/drawing/2014/main" id="{72374A48-F7F6-4FBC-A647-DBBB4943D7B2}"/>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127" name="Textfield placeholder">
              <a:extLst>
                <a:ext uri="{FF2B5EF4-FFF2-40B4-BE49-F238E27FC236}">
                  <a16:creationId xmlns:a16="http://schemas.microsoft.com/office/drawing/2014/main" id="{01A55C4E-AAF4-4564-985A-36C79ABD3586}"/>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128" name="Textfield placeholder">
              <a:extLst>
                <a:ext uri="{FF2B5EF4-FFF2-40B4-BE49-F238E27FC236}">
                  <a16:creationId xmlns:a16="http://schemas.microsoft.com/office/drawing/2014/main" id="{7865872B-E0C9-4A77-ADA7-490AD96DF080}"/>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129" name="Textfield placeholder">
              <a:extLst>
                <a:ext uri="{FF2B5EF4-FFF2-40B4-BE49-F238E27FC236}">
                  <a16:creationId xmlns:a16="http://schemas.microsoft.com/office/drawing/2014/main" id="{7E00E944-5D02-4E45-B6F0-C2C14FE03FD4}"/>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130" name="Groep 129">
              <a:extLst>
                <a:ext uri="{FF2B5EF4-FFF2-40B4-BE49-F238E27FC236}">
                  <a16:creationId xmlns:a16="http://schemas.microsoft.com/office/drawing/2014/main" id="{C8DBD1C9-BF3F-4037-B0CE-A5B5D34988CF}"/>
                </a:ext>
              </a:extLst>
            </p:cNvPr>
            <p:cNvGrpSpPr/>
            <p:nvPr userDrawn="1"/>
          </p:nvGrpSpPr>
          <p:grpSpPr>
            <a:xfrm>
              <a:off x="-950342" y="1837957"/>
              <a:ext cx="687412" cy="3758146"/>
              <a:chOff x="-740196" y="1837957"/>
              <a:chExt cx="1374825" cy="3758146"/>
            </a:xfrm>
          </p:grpSpPr>
          <p:sp>
            <p:nvSpPr>
              <p:cNvPr id="131" name="Textfield placeholder">
                <a:extLst>
                  <a:ext uri="{FF2B5EF4-FFF2-40B4-BE49-F238E27FC236}">
                    <a16:creationId xmlns:a16="http://schemas.microsoft.com/office/drawing/2014/main" id="{2CA0FC5C-F30A-4AE9-9675-17C17744327E}"/>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132" name="Textfield placeholder">
                <a:extLst>
                  <a:ext uri="{FF2B5EF4-FFF2-40B4-BE49-F238E27FC236}">
                    <a16:creationId xmlns:a16="http://schemas.microsoft.com/office/drawing/2014/main" id="{8AE87A44-DA57-4250-91DF-47734F6E1AB8}"/>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133" name="Textfield placeholder">
                <a:extLst>
                  <a:ext uri="{FF2B5EF4-FFF2-40B4-BE49-F238E27FC236}">
                    <a16:creationId xmlns:a16="http://schemas.microsoft.com/office/drawing/2014/main" id="{C00EA6B9-F63A-40D6-93EA-C8F1F4D6317B}"/>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134" name="Textfield placeholder">
                <a:extLst>
                  <a:ext uri="{FF2B5EF4-FFF2-40B4-BE49-F238E27FC236}">
                    <a16:creationId xmlns:a16="http://schemas.microsoft.com/office/drawing/2014/main" id="{80322E76-C98B-4E1E-8645-2EB8EFD88AF4}"/>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135" name="Textfield placeholder">
                <a:extLst>
                  <a:ext uri="{FF2B5EF4-FFF2-40B4-BE49-F238E27FC236}">
                    <a16:creationId xmlns:a16="http://schemas.microsoft.com/office/drawing/2014/main" id="{525B62B3-8687-4353-8EC7-2A1E32488459}"/>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136" name="Textfield placeholder">
                <a:extLst>
                  <a:ext uri="{FF2B5EF4-FFF2-40B4-BE49-F238E27FC236}">
                    <a16:creationId xmlns:a16="http://schemas.microsoft.com/office/drawing/2014/main" id="{0B4931CA-E588-44CD-B757-2233239F5899}"/>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137" name="Textfield placeholder">
                <a:extLst>
                  <a:ext uri="{FF2B5EF4-FFF2-40B4-BE49-F238E27FC236}">
                    <a16:creationId xmlns:a16="http://schemas.microsoft.com/office/drawing/2014/main" id="{A29A2891-333B-4134-918B-DD913BB1A846}"/>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138" name="Textfield placeholder">
                <a:extLst>
                  <a:ext uri="{FF2B5EF4-FFF2-40B4-BE49-F238E27FC236}">
                    <a16:creationId xmlns:a16="http://schemas.microsoft.com/office/drawing/2014/main" id="{8D6A39BB-FE2C-4FF1-8766-F34670F2131A}"/>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139" name="Textfield placeholder">
                <a:extLst>
                  <a:ext uri="{FF2B5EF4-FFF2-40B4-BE49-F238E27FC236}">
                    <a16:creationId xmlns:a16="http://schemas.microsoft.com/office/drawing/2014/main" id="{F57ECBC9-BEC5-4CA5-802F-C0DAAC9CD923}"/>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sp>
        <p:nvSpPr>
          <p:cNvPr id="8" name="Rechthoek 7"/>
          <p:cNvSpPr/>
          <p:nvPr userDrawn="1"/>
        </p:nvSpPr>
        <p:spPr>
          <a:xfrm>
            <a:off x="0" y="1420284"/>
            <a:ext cx="4760397" cy="456205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p>
        </p:txBody>
      </p:sp>
      <p:sp>
        <p:nvSpPr>
          <p:cNvPr id="2" name="Titel 1"/>
          <p:cNvSpPr>
            <a:spLocks noGrp="1"/>
          </p:cNvSpPr>
          <p:nvPr>
            <p:ph type="title"/>
          </p:nvPr>
        </p:nvSpPr>
        <p:spPr/>
        <p:txBody>
          <a:bodyPr/>
          <a:lstStyle/>
          <a:p>
            <a:r>
              <a:rPr lang="nl-NL"/>
              <a:t>Klik om stijl te bewerken</a:t>
            </a:r>
            <a:endParaRPr lang="en-GB" dirty="0"/>
          </a:p>
        </p:txBody>
      </p:sp>
      <p:sp>
        <p:nvSpPr>
          <p:cNvPr id="3" name="Tijdelijke aanduiding voor verticale tekst 2"/>
          <p:cNvSpPr>
            <a:spLocks noGrp="1"/>
          </p:cNvSpPr>
          <p:nvPr>
            <p:ph type="body" orient="vert" idx="1"/>
          </p:nvPr>
        </p:nvSpPr>
        <p:spPr>
          <a:xfrm>
            <a:off x="5232986" y="1420283"/>
            <a:ext cx="6962189" cy="4562043"/>
          </a:xfrm>
        </p:spPr>
        <p:txBody>
          <a:bodyPr vert="horz"/>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10"/>
          </p:nvPr>
        </p:nvSpPr>
        <p:spPr/>
        <p:txBody>
          <a:bodyPr/>
          <a:lstStyle/>
          <a:p>
            <a:fld id="{45D5E252-D66A-4CAC-AE4C-15429AB005FF}"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endParaRPr lang="en-GB" dirty="0"/>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ijdelijke aanduiding voor afbeelding 2"/>
          <p:cNvSpPr>
            <a:spLocks noGrp="1"/>
          </p:cNvSpPr>
          <p:nvPr>
            <p:ph type="pic" idx="13"/>
          </p:nvPr>
        </p:nvSpPr>
        <p:spPr>
          <a:xfrm>
            <a:off x="0" y="1415168"/>
            <a:ext cx="4760397" cy="4562242"/>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en-GB"/>
          </a:p>
        </p:txBody>
      </p:sp>
      <p:sp>
        <p:nvSpPr>
          <p:cNvPr id="11" name="Tekstvak 10"/>
          <p:cNvSpPr txBox="1"/>
          <p:nvPr userDrawn="1"/>
        </p:nvSpPr>
        <p:spPr>
          <a:xfrm>
            <a:off x="0" y="-521614"/>
            <a:ext cx="4268791" cy="469107"/>
          </a:xfrm>
          <a:prstGeom prst="rect">
            <a:avLst/>
          </a:prstGeom>
          <a:noFill/>
        </p:spPr>
        <p:txBody>
          <a:bodyPr wrap="square" rtlCol="0" anchor="b">
            <a:noAutofit/>
          </a:bodyPr>
          <a:lstStyle/>
          <a:p>
            <a:r>
              <a:rPr lang="nl-NL" sz="1333" b="0" dirty="0">
                <a:solidFill>
                  <a:schemeClr val="accent6"/>
                </a:solidFill>
                <a:latin typeface="+mj-lt"/>
              </a:rPr>
              <a:t>Tekst Rechts + afbeelding (S) + onderschrift</a:t>
            </a:r>
          </a:p>
        </p:txBody>
      </p:sp>
      <p:sp>
        <p:nvSpPr>
          <p:cNvPr id="96" name="Tijdelijke aanduiding voor verticale tekst 2">
            <a:extLst>
              <a:ext uri="{FF2B5EF4-FFF2-40B4-BE49-F238E27FC236}">
                <a16:creationId xmlns:a16="http://schemas.microsoft.com/office/drawing/2014/main" id="{F32D35C2-4BBC-4596-B56E-EBA243EDE08D}"/>
              </a:ext>
            </a:extLst>
          </p:cNvPr>
          <p:cNvSpPr>
            <a:spLocks noGrp="1"/>
          </p:cNvSpPr>
          <p:nvPr>
            <p:ph type="body" orient="vert" idx="16" hasCustomPrompt="1"/>
          </p:nvPr>
        </p:nvSpPr>
        <p:spPr>
          <a:xfrm>
            <a:off x="-3" y="5469200"/>
            <a:ext cx="4760399" cy="508016"/>
          </a:xfrm>
          <a:solidFill>
            <a:schemeClr val="accent2"/>
          </a:solidFill>
        </p:spPr>
        <p:txBody>
          <a:bodyPr vert="horz" lIns="216000" tIns="36000" rIns="216000" bIns="0" anchor="ctr"/>
          <a:lstStyle>
            <a:lvl1pPr algn="r">
              <a:defRPr sz="1800" b="0">
                <a:solidFill>
                  <a:schemeClr val="tx2"/>
                </a:solidFill>
              </a:defRPr>
            </a:lvl1pPr>
          </a:lstStyle>
          <a:p>
            <a:pPr lvl="0"/>
            <a:r>
              <a:rPr lang="nl-NL" dirty="0"/>
              <a:t>Onderschrift</a:t>
            </a:r>
          </a:p>
        </p:txBody>
      </p:sp>
    </p:spTree>
    <p:extLst>
      <p:ext uri="{BB962C8B-B14F-4D97-AF65-F5344CB8AC3E}">
        <p14:creationId xmlns:p14="http://schemas.microsoft.com/office/powerpoint/2010/main" val="3833931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kst Links + afbeelding (M)">
    <p:spTree>
      <p:nvGrpSpPr>
        <p:cNvPr id="1" name=""/>
        <p:cNvGrpSpPr/>
        <p:nvPr/>
      </p:nvGrpSpPr>
      <p:grpSpPr>
        <a:xfrm>
          <a:off x="0" y="0"/>
          <a:ext cx="0" cy="0"/>
          <a:chOff x="0" y="0"/>
          <a:chExt cx="0" cy="0"/>
        </a:xfrm>
      </p:grpSpPr>
      <p:sp>
        <p:nvSpPr>
          <p:cNvPr id="8" name="Rechthoek 7"/>
          <p:cNvSpPr/>
          <p:nvPr userDrawn="1"/>
        </p:nvSpPr>
        <p:spPr>
          <a:xfrm>
            <a:off x="6136696" y="1426494"/>
            <a:ext cx="6058479" cy="455199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p>
        </p:txBody>
      </p:sp>
      <p:sp>
        <p:nvSpPr>
          <p:cNvPr id="2" name="Titel 1"/>
          <p:cNvSpPr>
            <a:spLocks noGrp="1"/>
          </p:cNvSpPr>
          <p:nvPr>
            <p:ph type="title"/>
          </p:nvPr>
        </p:nvSpPr>
        <p:spPr/>
        <p:txBody>
          <a:bodyPr/>
          <a:lstStyle/>
          <a:p>
            <a:r>
              <a:rPr lang="nl-NL"/>
              <a:t>Klik om stijl te bewerken</a:t>
            </a:r>
            <a:endParaRPr lang="en-GB"/>
          </a:p>
        </p:txBody>
      </p:sp>
      <p:sp>
        <p:nvSpPr>
          <p:cNvPr id="3" name="Tijdelijke aanduiding voor verticale tekst 2"/>
          <p:cNvSpPr>
            <a:spLocks noGrp="1"/>
          </p:cNvSpPr>
          <p:nvPr>
            <p:ph type="body" orient="vert" idx="1"/>
          </p:nvPr>
        </p:nvSpPr>
        <p:spPr>
          <a:xfrm>
            <a:off x="472587" y="1420100"/>
            <a:ext cx="5651485" cy="4558364"/>
          </a:xfrm>
        </p:spPr>
        <p:txBody>
          <a:bodyPr vert="horz"/>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10"/>
          </p:nvPr>
        </p:nvSpPr>
        <p:spPr/>
        <p:txBody>
          <a:bodyPr/>
          <a:lstStyle/>
          <a:p>
            <a:fld id="{BAD0ECF6-E258-462A-BA9A-3E37E83DAE9D}"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ijdelijke aanduiding voor afbeelding 2"/>
          <p:cNvSpPr>
            <a:spLocks noGrp="1"/>
          </p:cNvSpPr>
          <p:nvPr>
            <p:ph type="pic" idx="13"/>
          </p:nvPr>
        </p:nvSpPr>
        <p:spPr>
          <a:xfrm>
            <a:off x="6136694" y="1420100"/>
            <a:ext cx="6058478" cy="4558364"/>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11" name="Tekstvak 10"/>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Tekst Links + afbeelding (M) + onderschrift</a:t>
            </a:r>
          </a:p>
        </p:txBody>
      </p:sp>
      <p:sp>
        <p:nvSpPr>
          <p:cNvPr id="12" name="Tijdelijke aanduiding voor verticale tekst 2"/>
          <p:cNvSpPr>
            <a:spLocks noGrp="1"/>
          </p:cNvSpPr>
          <p:nvPr>
            <p:ph type="body" orient="vert" idx="14" hasCustomPrompt="1"/>
          </p:nvPr>
        </p:nvSpPr>
        <p:spPr>
          <a:xfrm>
            <a:off x="6136693" y="5483257"/>
            <a:ext cx="6058479" cy="504000"/>
          </a:xfrm>
          <a:solidFill>
            <a:schemeClr val="accent2"/>
          </a:solidFill>
        </p:spPr>
        <p:txBody>
          <a:bodyPr vert="horz" lIns="216000" tIns="36000" rIns="216000" bIns="0" anchor="ctr"/>
          <a:lstStyle>
            <a:lvl1pPr algn="l">
              <a:defRPr sz="1800" b="0">
                <a:solidFill>
                  <a:schemeClr val="tx2"/>
                </a:solidFill>
              </a:defRPr>
            </a:lvl1pPr>
          </a:lstStyle>
          <a:p>
            <a:pPr lvl="0"/>
            <a:r>
              <a:rPr lang="nl-NL" dirty="0"/>
              <a:t>Onderschrift</a:t>
            </a:r>
          </a:p>
        </p:txBody>
      </p:sp>
      <p:grpSp>
        <p:nvGrpSpPr>
          <p:cNvPr id="193" name="Groep 192">
            <a:extLst>
              <a:ext uri="{FF2B5EF4-FFF2-40B4-BE49-F238E27FC236}">
                <a16:creationId xmlns:a16="http://schemas.microsoft.com/office/drawing/2014/main" id="{DA537ACB-E0A0-49AD-B0B9-4CBE16FF0674}"/>
              </a:ext>
            </a:extLst>
          </p:cNvPr>
          <p:cNvGrpSpPr/>
          <p:nvPr userDrawn="1"/>
        </p:nvGrpSpPr>
        <p:grpSpPr>
          <a:xfrm>
            <a:off x="-2973833" y="0"/>
            <a:ext cx="2808312" cy="5805264"/>
            <a:chOff x="-2973833" y="0"/>
            <a:chExt cx="2808312" cy="5805264"/>
          </a:xfrm>
        </p:grpSpPr>
        <p:sp>
          <p:nvSpPr>
            <p:cNvPr id="194" name="Rechthoek 193">
              <a:extLst>
                <a:ext uri="{FF2B5EF4-FFF2-40B4-BE49-F238E27FC236}">
                  <a16:creationId xmlns:a16="http://schemas.microsoft.com/office/drawing/2014/main" id="{2AD3EA21-9CB0-44EA-8A31-2A0DAE4BADDF}"/>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195" name="Textfield placeholder">
              <a:extLst>
                <a:ext uri="{FF2B5EF4-FFF2-40B4-BE49-F238E27FC236}">
                  <a16:creationId xmlns:a16="http://schemas.microsoft.com/office/drawing/2014/main" id="{C45D22A4-C6EF-49CD-920F-C1819E89603A}"/>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196" name="Ovaal 195">
              <a:extLst>
                <a:ext uri="{FF2B5EF4-FFF2-40B4-BE49-F238E27FC236}">
                  <a16:creationId xmlns:a16="http://schemas.microsoft.com/office/drawing/2014/main" id="{161DF70D-41C4-465E-8AA5-B795E87F530A}"/>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197" name="Ovaal 196">
              <a:extLst>
                <a:ext uri="{FF2B5EF4-FFF2-40B4-BE49-F238E27FC236}">
                  <a16:creationId xmlns:a16="http://schemas.microsoft.com/office/drawing/2014/main" id="{48EFC259-6ACF-48DE-952E-186821EDEE57}"/>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198" name="Ovaal 197">
              <a:extLst>
                <a:ext uri="{FF2B5EF4-FFF2-40B4-BE49-F238E27FC236}">
                  <a16:creationId xmlns:a16="http://schemas.microsoft.com/office/drawing/2014/main" id="{74BA09FD-0DF1-4ABD-9677-B094F3F0216E}"/>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199" name="Ovaal 198">
              <a:extLst>
                <a:ext uri="{FF2B5EF4-FFF2-40B4-BE49-F238E27FC236}">
                  <a16:creationId xmlns:a16="http://schemas.microsoft.com/office/drawing/2014/main" id="{6A96E760-3B36-4770-B82C-53360311FE92}"/>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200" name="Textfield placeholder">
              <a:extLst>
                <a:ext uri="{FF2B5EF4-FFF2-40B4-BE49-F238E27FC236}">
                  <a16:creationId xmlns:a16="http://schemas.microsoft.com/office/drawing/2014/main" id="{0DECB454-D88F-4454-82ED-FE5F1D55E9E3}"/>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201" name="Textfield placeholder">
              <a:extLst>
                <a:ext uri="{FF2B5EF4-FFF2-40B4-BE49-F238E27FC236}">
                  <a16:creationId xmlns:a16="http://schemas.microsoft.com/office/drawing/2014/main" id="{561787F2-ECF9-45F6-9876-3E500C6CC8C9}"/>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202" name="Textfield placeholder">
              <a:extLst>
                <a:ext uri="{FF2B5EF4-FFF2-40B4-BE49-F238E27FC236}">
                  <a16:creationId xmlns:a16="http://schemas.microsoft.com/office/drawing/2014/main" id="{7EA399E2-3E94-47AC-888C-78140D488E15}"/>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203" name="Rechte verbindingslijn 202">
              <a:extLst>
                <a:ext uri="{FF2B5EF4-FFF2-40B4-BE49-F238E27FC236}">
                  <a16:creationId xmlns:a16="http://schemas.microsoft.com/office/drawing/2014/main" id="{1768CA56-A200-4956-BD78-39C4E6DF9C4F}"/>
                </a:ext>
              </a:extLst>
            </p:cNvPr>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4" name="Rechte verbindingslijn 203">
              <a:extLst>
                <a:ext uri="{FF2B5EF4-FFF2-40B4-BE49-F238E27FC236}">
                  <a16:creationId xmlns:a16="http://schemas.microsoft.com/office/drawing/2014/main" id="{4A762C13-AC6A-4D86-8C33-7529CDD07116}"/>
                </a:ext>
              </a:extLst>
            </p:cNvPr>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5" name="Rechte verbindingslijn 204">
              <a:extLst>
                <a:ext uri="{FF2B5EF4-FFF2-40B4-BE49-F238E27FC236}">
                  <a16:creationId xmlns:a16="http://schemas.microsoft.com/office/drawing/2014/main" id="{43A9FB96-8B7D-460D-98A7-A3D6453A119C}"/>
                </a:ext>
              </a:extLst>
            </p:cNvPr>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206" name="Picture 3">
              <a:extLst>
                <a:ext uri="{FF2B5EF4-FFF2-40B4-BE49-F238E27FC236}">
                  <a16:creationId xmlns:a16="http://schemas.microsoft.com/office/drawing/2014/main" id="{610EC006-1193-4D22-8D9E-52F82A319FA1}"/>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7" name="Picture 4">
              <a:extLst>
                <a:ext uri="{FF2B5EF4-FFF2-40B4-BE49-F238E27FC236}">
                  <a16:creationId xmlns:a16="http://schemas.microsoft.com/office/drawing/2014/main" id="{22E67A9F-ED8E-4529-AA31-D1AFF6D2B530}"/>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08" name="Groep 207">
              <a:extLst>
                <a:ext uri="{FF2B5EF4-FFF2-40B4-BE49-F238E27FC236}">
                  <a16:creationId xmlns:a16="http://schemas.microsoft.com/office/drawing/2014/main" id="{F2CE8BD0-D78D-48AC-B9D2-6A5C3B976094}"/>
                </a:ext>
              </a:extLst>
            </p:cNvPr>
            <p:cNvGrpSpPr/>
            <p:nvPr userDrawn="1"/>
          </p:nvGrpSpPr>
          <p:grpSpPr>
            <a:xfrm>
              <a:off x="-2098870" y="523279"/>
              <a:ext cx="435437" cy="427699"/>
              <a:chOff x="-1085063" y="758027"/>
              <a:chExt cx="633800" cy="622540"/>
            </a:xfrm>
          </p:grpSpPr>
          <p:sp>
            <p:nvSpPr>
              <p:cNvPr id="249" name="Afgeronde rechthoek 133">
                <a:extLst>
                  <a:ext uri="{FF2B5EF4-FFF2-40B4-BE49-F238E27FC236}">
                    <a16:creationId xmlns:a16="http://schemas.microsoft.com/office/drawing/2014/main" id="{057F74A0-D0F1-4154-BB9E-B3BC93094A33}"/>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250" name="Groep 249">
                <a:extLst>
                  <a:ext uri="{FF2B5EF4-FFF2-40B4-BE49-F238E27FC236}">
                    <a16:creationId xmlns:a16="http://schemas.microsoft.com/office/drawing/2014/main" id="{675AD16E-176C-4714-AC5D-8AA5C2F7163B}"/>
                  </a:ext>
                </a:extLst>
              </p:cNvPr>
              <p:cNvGrpSpPr/>
              <p:nvPr userDrawn="1"/>
            </p:nvGrpSpPr>
            <p:grpSpPr>
              <a:xfrm>
                <a:off x="-977746" y="864082"/>
                <a:ext cx="419166" cy="410430"/>
                <a:chOff x="6366933" y="309013"/>
                <a:chExt cx="1901295" cy="1861668"/>
              </a:xfrm>
              <a:solidFill>
                <a:schemeClr val="tx1"/>
              </a:solidFill>
            </p:grpSpPr>
            <p:sp>
              <p:nvSpPr>
                <p:cNvPr id="251" name="Rechthoek 250">
                  <a:extLst>
                    <a:ext uri="{FF2B5EF4-FFF2-40B4-BE49-F238E27FC236}">
                      <a16:creationId xmlns:a16="http://schemas.microsoft.com/office/drawing/2014/main" id="{20B4E5E5-186E-4A57-B122-14D9A3D2090C}"/>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2" name="Rechthoek 251">
                  <a:extLst>
                    <a:ext uri="{FF2B5EF4-FFF2-40B4-BE49-F238E27FC236}">
                      <a16:creationId xmlns:a16="http://schemas.microsoft.com/office/drawing/2014/main" id="{C328DB2F-BE4F-446E-B3BF-3474DDDF7369}"/>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3" name="Rechthoek 252">
                  <a:extLst>
                    <a:ext uri="{FF2B5EF4-FFF2-40B4-BE49-F238E27FC236}">
                      <a16:creationId xmlns:a16="http://schemas.microsoft.com/office/drawing/2014/main" id="{0BDD353E-A7D0-43BC-B246-2EA8D035354D}"/>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4" name="Rechthoek 253">
                  <a:extLst>
                    <a:ext uri="{FF2B5EF4-FFF2-40B4-BE49-F238E27FC236}">
                      <a16:creationId xmlns:a16="http://schemas.microsoft.com/office/drawing/2014/main" id="{31E3E667-20CA-43BF-9985-142DF1BA3C89}"/>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5" name="Rechthoek 254">
                  <a:extLst>
                    <a:ext uri="{FF2B5EF4-FFF2-40B4-BE49-F238E27FC236}">
                      <a16:creationId xmlns:a16="http://schemas.microsoft.com/office/drawing/2014/main" id="{3E6BA722-3FD0-4B4B-975E-5901D54B1024}"/>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6" name="Rechthoek 255">
                  <a:extLst>
                    <a:ext uri="{FF2B5EF4-FFF2-40B4-BE49-F238E27FC236}">
                      <a16:creationId xmlns:a16="http://schemas.microsoft.com/office/drawing/2014/main" id="{8EA8A461-EB78-419A-B405-F0C3203E8CB3}"/>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7" name="Rechthoek 256">
                  <a:extLst>
                    <a:ext uri="{FF2B5EF4-FFF2-40B4-BE49-F238E27FC236}">
                      <a16:creationId xmlns:a16="http://schemas.microsoft.com/office/drawing/2014/main" id="{A47A76A1-D80B-451E-BE3D-CB3FAA4807A6}"/>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8" name="Rechthoek 257">
                  <a:extLst>
                    <a:ext uri="{FF2B5EF4-FFF2-40B4-BE49-F238E27FC236}">
                      <a16:creationId xmlns:a16="http://schemas.microsoft.com/office/drawing/2014/main" id="{0DD87204-AEC1-43D1-B18A-2D54B7129735}"/>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59" name="Rechthoek 258">
                  <a:extLst>
                    <a:ext uri="{FF2B5EF4-FFF2-40B4-BE49-F238E27FC236}">
                      <a16:creationId xmlns:a16="http://schemas.microsoft.com/office/drawing/2014/main" id="{3E97A309-C26D-4ED4-8A8C-4E75120F17D0}"/>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60" name="Rechthoek 259">
                  <a:extLst>
                    <a:ext uri="{FF2B5EF4-FFF2-40B4-BE49-F238E27FC236}">
                      <a16:creationId xmlns:a16="http://schemas.microsoft.com/office/drawing/2014/main" id="{E76B1E9C-EE62-4899-945B-DE147EC8E87E}"/>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61" name="Vrije vorm 145">
                  <a:extLst>
                    <a:ext uri="{FF2B5EF4-FFF2-40B4-BE49-F238E27FC236}">
                      <a16:creationId xmlns:a16="http://schemas.microsoft.com/office/drawing/2014/main" id="{A39749A6-6249-4180-A5B4-D056207B766C}"/>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209" name="Groep 208">
              <a:extLst>
                <a:ext uri="{FF2B5EF4-FFF2-40B4-BE49-F238E27FC236}">
                  <a16:creationId xmlns:a16="http://schemas.microsoft.com/office/drawing/2014/main" id="{4C6F4EAD-137C-4F28-B613-1E2389BB5A23}"/>
                </a:ext>
              </a:extLst>
            </p:cNvPr>
            <p:cNvGrpSpPr/>
            <p:nvPr userDrawn="1"/>
          </p:nvGrpSpPr>
          <p:grpSpPr>
            <a:xfrm>
              <a:off x="-2095303" y="1071657"/>
              <a:ext cx="435437" cy="427699"/>
              <a:chOff x="-1845083" y="758027"/>
              <a:chExt cx="633800" cy="622540"/>
            </a:xfrm>
          </p:grpSpPr>
          <p:sp>
            <p:nvSpPr>
              <p:cNvPr id="236" name="Afgeronde rechthoek 120">
                <a:extLst>
                  <a:ext uri="{FF2B5EF4-FFF2-40B4-BE49-F238E27FC236}">
                    <a16:creationId xmlns:a16="http://schemas.microsoft.com/office/drawing/2014/main" id="{ABC9D4DA-23F0-46C5-9991-373C2488B646}"/>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237" name="Groep 236">
                <a:extLst>
                  <a:ext uri="{FF2B5EF4-FFF2-40B4-BE49-F238E27FC236}">
                    <a16:creationId xmlns:a16="http://schemas.microsoft.com/office/drawing/2014/main" id="{49B2B4A6-EDB4-4BD5-9BB4-FD6377784A27}"/>
                  </a:ext>
                </a:extLst>
              </p:cNvPr>
              <p:cNvGrpSpPr/>
              <p:nvPr userDrawn="1"/>
            </p:nvGrpSpPr>
            <p:grpSpPr>
              <a:xfrm>
                <a:off x="-1737766" y="864082"/>
                <a:ext cx="419166" cy="410430"/>
                <a:chOff x="3708400" y="309013"/>
                <a:chExt cx="1901295" cy="1861668"/>
              </a:xfrm>
              <a:solidFill>
                <a:schemeClr val="tx1"/>
              </a:solidFill>
            </p:grpSpPr>
            <p:sp>
              <p:nvSpPr>
                <p:cNvPr id="238" name="Rechthoek 237">
                  <a:extLst>
                    <a:ext uri="{FF2B5EF4-FFF2-40B4-BE49-F238E27FC236}">
                      <a16:creationId xmlns:a16="http://schemas.microsoft.com/office/drawing/2014/main" id="{53D64158-3C12-4631-A43D-D5BB4816FBDC}"/>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9" name="Rechthoek 238">
                  <a:extLst>
                    <a:ext uri="{FF2B5EF4-FFF2-40B4-BE49-F238E27FC236}">
                      <a16:creationId xmlns:a16="http://schemas.microsoft.com/office/drawing/2014/main" id="{B677133F-246F-476B-BA44-7C162899B389}"/>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0" name="Rechthoek 239">
                  <a:extLst>
                    <a:ext uri="{FF2B5EF4-FFF2-40B4-BE49-F238E27FC236}">
                      <a16:creationId xmlns:a16="http://schemas.microsoft.com/office/drawing/2014/main" id="{AF371B08-2169-48DC-87FC-1E74446EC487}"/>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1" name="Rechthoek 240">
                  <a:extLst>
                    <a:ext uri="{FF2B5EF4-FFF2-40B4-BE49-F238E27FC236}">
                      <a16:creationId xmlns:a16="http://schemas.microsoft.com/office/drawing/2014/main" id="{71C1FACD-8EFD-42E7-9BC0-904A010F3658}"/>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2" name="Rechthoek 241">
                  <a:extLst>
                    <a:ext uri="{FF2B5EF4-FFF2-40B4-BE49-F238E27FC236}">
                      <a16:creationId xmlns:a16="http://schemas.microsoft.com/office/drawing/2014/main" id="{0C382542-1386-482F-9AB1-57987706407C}"/>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3" name="Rechthoek 242">
                  <a:extLst>
                    <a:ext uri="{FF2B5EF4-FFF2-40B4-BE49-F238E27FC236}">
                      <a16:creationId xmlns:a16="http://schemas.microsoft.com/office/drawing/2014/main" id="{0F1439A1-2176-49F1-A3A9-EE4C792F424B}"/>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4" name="Rechthoek 243">
                  <a:extLst>
                    <a:ext uri="{FF2B5EF4-FFF2-40B4-BE49-F238E27FC236}">
                      <a16:creationId xmlns:a16="http://schemas.microsoft.com/office/drawing/2014/main" id="{07B30244-F8DD-407A-AEEF-CFE57698A147}"/>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5" name="Rechthoek 244">
                  <a:extLst>
                    <a:ext uri="{FF2B5EF4-FFF2-40B4-BE49-F238E27FC236}">
                      <a16:creationId xmlns:a16="http://schemas.microsoft.com/office/drawing/2014/main" id="{0276CB80-CB70-4ABA-9064-430CE423DA32}"/>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6" name="Rechthoek 245">
                  <a:extLst>
                    <a:ext uri="{FF2B5EF4-FFF2-40B4-BE49-F238E27FC236}">
                      <a16:creationId xmlns:a16="http://schemas.microsoft.com/office/drawing/2014/main" id="{3E2AEE70-7E25-4929-B2C6-AC39082720C2}"/>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7" name="Rechthoek 246">
                  <a:extLst>
                    <a:ext uri="{FF2B5EF4-FFF2-40B4-BE49-F238E27FC236}">
                      <a16:creationId xmlns:a16="http://schemas.microsoft.com/office/drawing/2014/main" id="{D77FBC09-C0CB-4500-AA57-8269AEDB73FB}"/>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8" name="Vrije vorm 132">
                  <a:extLst>
                    <a:ext uri="{FF2B5EF4-FFF2-40B4-BE49-F238E27FC236}">
                      <a16:creationId xmlns:a16="http://schemas.microsoft.com/office/drawing/2014/main" id="{3DFF1050-671A-4D68-BB2F-D2A1BA8306CE}"/>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210" name="Rechte verbindingslijn 209">
              <a:extLst>
                <a:ext uri="{FF2B5EF4-FFF2-40B4-BE49-F238E27FC236}">
                  <a16:creationId xmlns:a16="http://schemas.microsoft.com/office/drawing/2014/main" id="{EC4B8F8E-432F-4A5E-970F-88CA33D2C2B2}"/>
                </a:ext>
              </a:extLst>
            </p:cNvPr>
            <p:cNvCxnSpPr>
              <a:stCxn id="212" idx="2"/>
              <a:endCxn id="236"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11" name="Rechte verbindingslijn 210">
              <a:extLst>
                <a:ext uri="{FF2B5EF4-FFF2-40B4-BE49-F238E27FC236}">
                  <a16:creationId xmlns:a16="http://schemas.microsoft.com/office/drawing/2014/main" id="{D0A39862-EC6D-4E47-9405-BD049DAA97AB}"/>
                </a:ext>
              </a:extLst>
            </p:cNvPr>
            <p:cNvCxnSpPr>
              <a:stCxn id="213" idx="3"/>
              <a:endCxn id="249"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12" name="Ovaal 211">
              <a:extLst>
                <a:ext uri="{FF2B5EF4-FFF2-40B4-BE49-F238E27FC236}">
                  <a16:creationId xmlns:a16="http://schemas.microsoft.com/office/drawing/2014/main" id="{73C1FA09-32F5-4798-9543-26A2636E0B49}"/>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13" name="Ovaal 212">
              <a:extLst>
                <a:ext uri="{FF2B5EF4-FFF2-40B4-BE49-F238E27FC236}">
                  <a16:creationId xmlns:a16="http://schemas.microsoft.com/office/drawing/2014/main" id="{E2FAB600-DBCE-4B56-A8DB-A5FC9893F8C9}"/>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14" name="Textfield placeholder">
              <a:extLst>
                <a:ext uri="{FF2B5EF4-FFF2-40B4-BE49-F238E27FC236}">
                  <a16:creationId xmlns:a16="http://schemas.microsoft.com/office/drawing/2014/main" id="{9BDEE1E5-2711-4A1D-AF98-66006C4897E5}"/>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215" name="Textfield placeholder">
              <a:extLst>
                <a:ext uri="{FF2B5EF4-FFF2-40B4-BE49-F238E27FC236}">
                  <a16:creationId xmlns:a16="http://schemas.microsoft.com/office/drawing/2014/main" id="{F39E803C-A736-4F40-A0A8-BAD606655EF7}"/>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216" name="Ovaal 215">
              <a:extLst>
                <a:ext uri="{FF2B5EF4-FFF2-40B4-BE49-F238E27FC236}">
                  <a16:creationId xmlns:a16="http://schemas.microsoft.com/office/drawing/2014/main" id="{A8B1EA0F-EC1E-410A-9A0D-44986FDE0FFC}"/>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217" name="Ovaal 216">
              <a:extLst>
                <a:ext uri="{FF2B5EF4-FFF2-40B4-BE49-F238E27FC236}">
                  <a16:creationId xmlns:a16="http://schemas.microsoft.com/office/drawing/2014/main" id="{F4133332-FD6D-464F-9F91-2D7C74E5BC87}"/>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218" name="Ovaal 217">
              <a:extLst>
                <a:ext uri="{FF2B5EF4-FFF2-40B4-BE49-F238E27FC236}">
                  <a16:creationId xmlns:a16="http://schemas.microsoft.com/office/drawing/2014/main" id="{68EFC65A-CBF2-454C-B10B-0AF123602640}"/>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219" name="Ovaal 218">
              <a:extLst>
                <a:ext uri="{FF2B5EF4-FFF2-40B4-BE49-F238E27FC236}">
                  <a16:creationId xmlns:a16="http://schemas.microsoft.com/office/drawing/2014/main" id="{6B14F23F-EF6E-443E-8221-681091D5A210}"/>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220" name="Ovaal 219">
              <a:extLst>
                <a:ext uri="{FF2B5EF4-FFF2-40B4-BE49-F238E27FC236}">
                  <a16:creationId xmlns:a16="http://schemas.microsoft.com/office/drawing/2014/main" id="{A9DF95C6-79FF-48B7-9A17-6DAA879007D0}"/>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221" name="Textfield placeholder">
              <a:extLst>
                <a:ext uri="{FF2B5EF4-FFF2-40B4-BE49-F238E27FC236}">
                  <a16:creationId xmlns:a16="http://schemas.microsoft.com/office/drawing/2014/main" id="{13292490-4E2C-40A5-9BDF-49A9576899CA}"/>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22" name="Textfield placeholder">
              <a:extLst>
                <a:ext uri="{FF2B5EF4-FFF2-40B4-BE49-F238E27FC236}">
                  <a16:creationId xmlns:a16="http://schemas.microsoft.com/office/drawing/2014/main" id="{D37A30A6-42CC-4579-989A-39F97AA3F408}"/>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23" name="Textfield placeholder">
              <a:extLst>
                <a:ext uri="{FF2B5EF4-FFF2-40B4-BE49-F238E27FC236}">
                  <a16:creationId xmlns:a16="http://schemas.microsoft.com/office/drawing/2014/main" id="{B9F6ADBC-7D62-4D14-AC9D-CF33EED0A01C}"/>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24" name="Textfield placeholder">
              <a:extLst>
                <a:ext uri="{FF2B5EF4-FFF2-40B4-BE49-F238E27FC236}">
                  <a16:creationId xmlns:a16="http://schemas.microsoft.com/office/drawing/2014/main" id="{B23F86E5-5311-4E42-B648-BC6805ABA2A4}"/>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225" name="Textfield placeholder">
              <a:extLst>
                <a:ext uri="{FF2B5EF4-FFF2-40B4-BE49-F238E27FC236}">
                  <a16:creationId xmlns:a16="http://schemas.microsoft.com/office/drawing/2014/main" id="{2F477FF8-2616-4C0A-B08F-CEEAFF3A1C7B}"/>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26" name="Groep 225">
              <a:extLst>
                <a:ext uri="{FF2B5EF4-FFF2-40B4-BE49-F238E27FC236}">
                  <a16:creationId xmlns:a16="http://schemas.microsoft.com/office/drawing/2014/main" id="{E5540EA9-580E-4564-8470-1FDDD46268E8}"/>
                </a:ext>
              </a:extLst>
            </p:cNvPr>
            <p:cNvGrpSpPr/>
            <p:nvPr userDrawn="1"/>
          </p:nvGrpSpPr>
          <p:grpSpPr>
            <a:xfrm>
              <a:off x="-950342" y="1837957"/>
              <a:ext cx="687412" cy="3758146"/>
              <a:chOff x="-740196" y="1837957"/>
              <a:chExt cx="1374825" cy="3758146"/>
            </a:xfrm>
          </p:grpSpPr>
          <p:sp>
            <p:nvSpPr>
              <p:cNvPr id="227" name="Textfield placeholder">
                <a:extLst>
                  <a:ext uri="{FF2B5EF4-FFF2-40B4-BE49-F238E27FC236}">
                    <a16:creationId xmlns:a16="http://schemas.microsoft.com/office/drawing/2014/main" id="{6B877FFF-E304-4DB6-8F56-32ACDEF46CE5}"/>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28" name="Textfield placeholder">
                <a:extLst>
                  <a:ext uri="{FF2B5EF4-FFF2-40B4-BE49-F238E27FC236}">
                    <a16:creationId xmlns:a16="http://schemas.microsoft.com/office/drawing/2014/main" id="{E4F4A4B0-96A7-4544-B2D2-BAAEE9974378}"/>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29" name="Textfield placeholder">
                <a:extLst>
                  <a:ext uri="{FF2B5EF4-FFF2-40B4-BE49-F238E27FC236}">
                    <a16:creationId xmlns:a16="http://schemas.microsoft.com/office/drawing/2014/main" id="{3CF4D93D-3857-4D76-89C7-1257B51FFE95}"/>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30" name="Textfield placeholder">
                <a:extLst>
                  <a:ext uri="{FF2B5EF4-FFF2-40B4-BE49-F238E27FC236}">
                    <a16:creationId xmlns:a16="http://schemas.microsoft.com/office/drawing/2014/main" id="{A0B75F6E-C75F-442D-95C8-2BD3CC86D444}"/>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231" name="Textfield placeholder">
                <a:extLst>
                  <a:ext uri="{FF2B5EF4-FFF2-40B4-BE49-F238E27FC236}">
                    <a16:creationId xmlns:a16="http://schemas.microsoft.com/office/drawing/2014/main" id="{8500118B-709A-4FE1-B797-9AE06FD59F91}"/>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232" name="Textfield placeholder">
                <a:extLst>
                  <a:ext uri="{FF2B5EF4-FFF2-40B4-BE49-F238E27FC236}">
                    <a16:creationId xmlns:a16="http://schemas.microsoft.com/office/drawing/2014/main" id="{49CE3B45-7ADE-4A2C-BA73-0D4094E47906}"/>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33" name="Textfield placeholder">
                <a:extLst>
                  <a:ext uri="{FF2B5EF4-FFF2-40B4-BE49-F238E27FC236}">
                    <a16:creationId xmlns:a16="http://schemas.microsoft.com/office/drawing/2014/main" id="{9179BDD3-BEEE-4CF4-9DF3-03B9902D934A}"/>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34" name="Textfield placeholder">
                <a:extLst>
                  <a:ext uri="{FF2B5EF4-FFF2-40B4-BE49-F238E27FC236}">
                    <a16:creationId xmlns:a16="http://schemas.microsoft.com/office/drawing/2014/main" id="{01A97E45-1CD7-4FF1-8C53-270B9594B521}"/>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235" name="Textfield placeholder">
                <a:extLst>
                  <a:ext uri="{FF2B5EF4-FFF2-40B4-BE49-F238E27FC236}">
                    <a16:creationId xmlns:a16="http://schemas.microsoft.com/office/drawing/2014/main" id="{BD53674B-FBE4-4B88-AD8F-26BA9FEEA4FC}"/>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grpSp>
        <p:nvGrpSpPr>
          <p:cNvPr id="262" name="Groep 261">
            <a:extLst>
              <a:ext uri="{FF2B5EF4-FFF2-40B4-BE49-F238E27FC236}">
                <a16:creationId xmlns:a16="http://schemas.microsoft.com/office/drawing/2014/main" id="{97CE642F-8439-4C22-AFCB-354C9C3D4B44}"/>
              </a:ext>
            </a:extLst>
          </p:cNvPr>
          <p:cNvGrpSpPr/>
          <p:nvPr userDrawn="1"/>
        </p:nvGrpSpPr>
        <p:grpSpPr>
          <a:xfrm>
            <a:off x="12363871" y="-26002"/>
            <a:ext cx="3064812" cy="4530930"/>
            <a:chOff x="15419739" y="-26002"/>
            <a:chExt cx="3064812" cy="4530930"/>
          </a:xfrm>
        </p:grpSpPr>
        <p:sp>
          <p:nvSpPr>
            <p:cNvPr id="263" name="Tekstvak 33">
              <a:extLst>
                <a:ext uri="{FF2B5EF4-FFF2-40B4-BE49-F238E27FC236}">
                  <a16:creationId xmlns:a16="http://schemas.microsoft.com/office/drawing/2014/main" id="{30C2AE98-196E-4AD7-A7E1-20116671386C}"/>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264" name="Tekstvak 33">
              <a:extLst>
                <a:ext uri="{FF2B5EF4-FFF2-40B4-BE49-F238E27FC236}">
                  <a16:creationId xmlns:a16="http://schemas.microsoft.com/office/drawing/2014/main" id="{31315FA6-03A6-4177-8F08-FF6F3C99EF10}"/>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265" name="Ovaal 264">
              <a:extLst>
                <a:ext uri="{FF2B5EF4-FFF2-40B4-BE49-F238E27FC236}">
                  <a16:creationId xmlns:a16="http://schemas.microsoft.com/office/drawing/2014/main" id="{9668120F-81C8-418F-BB38-B5F203B67F87}"/>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266" name="Ovaal 265">
              <a:extLst>
                <a:ext uri="{FF2B5EF4-FFF2-40B4-BE49-F238E27FC236}">
                  <a16:creationId xmlns:a16="http://schemas.microsoft.com/office/drawing/2014/main" id="{CCE861AD-8C81-48FB-ACB2-A934133302D3}"/>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267" name="Picture 3">
              <a:extLst>
                <a:ext uri="{FF2B5EF4-FFF2-40B4-BE49-F238E27FC236}">
                  <a16:creationId xmlns:a16="http://schemas.microsoft.com/office/drawing/2014/main" id="{759DABC0-A593-45BE-BD57-67809CB928F0}"/>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68" name="Picture 3">
              <a:extLst>
                <a:ext uri="{FF2B5EF4-FFF2-40B4-BE49-F238E27FC236}">
                  <a16:creationId xmlns:a16="http://schemas.microsoft.com/office/drawing/2014/main" id="{B6DA0D88-7544-4277-8460-73A2F1DC22FA}"/>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69" name="Tekstvak 268">
              <a:extLst>
                <a:ext uri="{FF2B5EF4-FFF2-40B4-BE49-F238E27FC236}">
                  <a16:creationId xmlns:a16="http://schemas.microsoft.com/office/drawing/2014/main" id="{2EF96CA6-C30C-45AC-A170-90F1184873F8}"/>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270" name="Rechthoek 269">
              <a:extLst>
                <a:ext uri="{FF2B5EF4-FFF2-40B4-BE49-F238E27FC236}">
                  <a16:creationId xmlns:a16="http://schemas.microsoft.com/office/drawing/2014/main" id="{49D77FF3-0247-4AA5-91B7-EBCCFC5AD5C2}"/>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271" name="Groep 270">
              <a:extLst>
                <a:ext uri="{FF2B5EF4-FFF2-40B4-BE49-F238E27FC236}">
                  <a16:creationId xmlns:a16="http://schemas.microsoft.com/office/drawing/2014/main" id="{413B22E0-EF8E-4789-BC4F-3F9FD16B6125}"/>
                </a:ext>
              </a:extLst>
            </p:cNvPr>
            <p:cNvGrpSpPr/>
            <p:nvPr userDrawn="1"/>
          </p:nvGrpSpPr>
          <p:grpSpPr>
            <a:xfrm>
              <a:off x="15563079" y="358984"/>
              <a:ext cx="2489424" cy="4145944"/>
              <a:chOff x="15563079" y="358984"/>
              <a:chExt cx="2315772" cy="4145944"/>
            </a:xfrm>
          </p:grpSpPr>
          <p:cxnSp>
            <p:nvCxnSpPr>
              <p:cNvPr id="273" name="Rechte verbindingslijn 272">
                <a:extLst>
                  <a:ext uri="{FF2B5EF4-FFF2-40B4-BE49-F238E27FC236}">
                    <a16:creationId xmlns:a16="http://schemas.microsoft.com/office/drawing/2014/main" id="{ED6426FF-A379-4AE6-9357-127B403AAE14}"/>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4" name="Rechte verbindingslijn 273">
                <a:extLst>
                  <a:ext uri="{FF2B5EF4-FFF2-40B4-BE49-F238E27FC236}">
                    <a16:creationId xmlns:a16="http://schemas.microsoft.com/office/drawing/2014/main" id="{6D0CACC0-A765-4871-AE5A-B41E02554D4D}"/>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5" name="Rechte verbindingslijn 274">
                <a:extLst>
                  <a:ext uri="{FF2B5EF4-FFF2-40B4-BE49-F238E27FC236}">
                    <a16:creationId xmlns:a16="http://schemas.microsoft.com/office/drawing/2014/main" id="{1E1BF8FA-304D-450C-9C37-8FBB1F23F7A4}"/>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72" name="Afbeelding 271">
              <a:extLst>
                <a:ext uri="{FF2B5EF4-FFF2-40B4-BE49-F238E27FC236}">
                  <a16:creationId xmlns:a16="http://schemas.microsoft.com/office/drawing/2014/main" id="{3E6E2849-9F60-4ECE-A432-B0BBA4C0035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2732819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kst Rechts + afbeelding (M)">
    <p:spTree>
      <p:nvGrpSpPr>
        <p:cNvPr id="1" name=""/>
        <p:cNvGrpSpPr/>
        <p:nvPr/>
      </p:nvGrpSpPr>
      <p:grpSpPr>
        <a:xfrm>
          <a:off x="0" y="0"/>
          <a:ext cx="0" cy="0"/>
          <a:chOff x="0" y="0"/>
          <a:chExt cx="0" cy="0"/>
        </a:xfrm>
      </p:grpSpPr>
      <p:sp>
        <p:nvSpPr>
          <p:cNvPr id="8" name="Rechthoek 7"/>
          <p:cNvSpPr/>
          <p:nvPr userDrawn="1"/>
        </p:nvSpPr>
        <p:spPr>
          <a:xfrm>
            <a:off x="-1" y="1425708"/>
            <a:ext cx="6071101" cy="455510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p>
        </p:txBody>
      </p:sp>
      <p:sp>
        <p:nvSpPr>
          <p:cNvPr id="2" name="Titel 1"/>
          <p:cNvSpPr>
            <a:spLocks noGrp="1"/>
          </p:cNvSpPr>
          <p:nvPr>
            <p:ph type="title"/>
          </p:nvPr>
        </p:nvSpPr>
        <p:spPr/>
        <p:txBody>
          <a:bodyPr/>
          <a:lstStyle/>
          <a:p>
            <a:r>
              <a:rPr lang="nl-NL"/>
              <a:t>Klik om stijl te bewerken</a:t>
            </a:r>
            <a:endParaRPr lang="en-GB"/>
          </a:p>
        </p:txBody>
      </p:sp>
      <p:sp>
        <p:nvSpPr>
          <p:cNvPr id="3" name="Tijdelijke aanduiding voor verticale tekst 2"/>
          <p:cNvSpPr>
            <a:spLocks noGrp="1"/>
          </p:cNvSpPr>
          <p:nvPr>
            <p:ph type="body" orient="vert" idx="1"/>
          </p:nvPr>
        </p:nvSpPr>
        <p:spPr>
          <a:xfrm>
            <a:off x="6537338" y="1420099"/>
            <a:ext cx="5651487" cy="4562263"/>
          </a:xfrm>
        </p:spPr>
        <p:txBody>
          <a:bodyPr vert="horz"/>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dirty="0"/>
          </a:p>
        </p:txBody>
      </p:sp>
      <p:sp>
        <p:nvSpPr>
          <p:cNvPr id="4" name="Tijdelijke aanduiding voor datum 3"/>
          <p:cNvSpPr>
            <a:spLocks noGrp="1"/>
          </p:cNvSpPr>
          <p:nvPr>
            <p:ph type="dt" sz="half" idx="10"/>
          </p:nvPr>
        </p:nvSpPr>
        <p:spPr/>
        <p:txBody>
          <a:bodyPr/>
          <a:lstStyle/>
          <a:p>
            <a:fld id="{A27BD5F8-9262-46B7-AE54-8AA2239036AD}"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ijdelijke aanduiding voor afbeelding 2"/>
          <p:cNvSpPr>
            <a:spLocks noGrp="1"/>
          </p:cNvSpPr>
          <p:nvPr>
            <p:ph type="pic" idx="13"/>
          </p:nvPr>
        </p:nvSpPr>
        <p:spPr>
          <a:xfrm>
            <a:off x="-365" y="1420099"/>
            <a:ext cx="6071464" cy="4562269"/>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11" name="Tekstvak 10"/>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Tekst Rechts + afbeelding (M) + onderschrift</a:t>
            </a:r>
          </a:p>
        </p:txBody>
      </p:sp>
      <p:sp>
        <p:nvSpPr>
          <p:cNvPr id="12" name="Tijdelijke aanduiding voor verticale tekst 2"/>
          <p:cNvSpPr>
            <a:spLocks noGrp="1"/>
          </p:cNvSpPr>
          <p:nvPr>
            <p:ph type="body" orient="vert" idx="14" hasCustomPrompt="1"/>
          </p:nvPr>
        </p:nvSpPr>
        <p:spPr>
          <a:xfrm>
            <a:off x="-2" y="5476812"/>
            <a:ext cx="6071101" cy="504000"/>
          </a:xfrm>
          <a:solidFill>
            <a:schemeClr val="accent2"/>
          </a:solidFill>
        </p:spPr>
        <p:txBody>
          <a:bodyPr vert="horz" lIns="216000" tIns="36000" rIns="216000" bIns="0" anchor="ctr"/>
          <a:lstStyle>
            <a:lvl1pPr algn="r">
              <a:defRPr sz="1800" b="0">
                <a:solidFill>
                  <a:schemeClr val="tx2"/>
                </a:solidFill>
              </a:defRPr>
            </a:lvl1pPr>
          </a:lstStyle>
          <a:p>
            <a:pPr lvl="0"/>
            <a:r>
              <a:rPr lang="nl-NL" dirty="0"/>
              <a:t>Onderschrift</a:t>
            </a:r>
          </a:p>
        </p:txBody>
      </p:sp>
      <p:grpSp>
        <p:nvGrpSpPr>
          <p:cNvPr id="94" name="Groep 93">
            <a:extLst>
              <a:ext uri="{FF2B5EF4-FFF2-40B4-BE49-F238E27FC236}">
                <a16:creationId xmlns:a16="http://schemas.microsoft.com/office/drawing/2014/main" id="{62079A10-5F8D-41F5-B01B-7555DF45CBE9}"/>
              </a:ext>
            </a:extLst>
          </p:cNvPr>
          <p:cNvGrpSpPr/>
          <p:nvPr userDrawn="1"/>
        </p:nvGrpSpPr>
        <p:grpSpPr>
          <a:xfrm>
            <a:off x="12353686" y="0"/>
            <a:ext cx="2808312" cy="5805264"/>
            <a:chOff x="-2973833" y="0"/>
            <a:chExt cx="2808312" cy="5805264"/>
          </a:xfrm>
        </p:grpSpPr>
        <p:sp>
          <p:nvSpPr>
            <p:cNvPr id="95" name="Rechthoek 94">
              <a:extLst>
                <a:ext uri="{FF2B5EF4-FFF2-40B4-BE49-F238E27FC236}">
                  <a16:creationId xmlns:a16="http://schemas.microsoft.com/office/drawing/2014/main" id="{30DA1E19-4539-4790-9624-1AE4C51597DB}"/>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179" name="Textfield placeholder">
              <a:extLst>
                <a:ext uri="{FF2B5EF4-FFF2-40B4-BE49-F238E27FC236}">
                  <a16:creationId xmlns:a16="http://schemas.microsoft.com/office/drawing/2014/main" id="{573FA3A2-3D48-4AFD-A1CF-8A1F684187D5}"/>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180" name="Ovaal 179">
              <a:extLst>
                <a:ext uri="{FF2B5EF4-FFF2-40B4-BE49-F238E27FC236}">
                  <a16:creationId xmlns:a16="http://schemas.microsoft.com/office/drawing/2014/main" id="{7FEB74FF-8D65-4D2C-A11F-67D1793AEC98}"/>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181" name="Ovaal 180">
              <a:extLst>
                <a:ext uri="{FF2B5EF4-FFF2-40B4-BE49-F238E27FC236}">
                  <a16:creationId xmlns:a16="http://schemas.microsoft.com/office/drawing/2014/main" id="{7441DFC8-4457-48F4-9D92-67332DA3C909}"/>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182" name="Ovaal 181">
              <a:extLst>
                <a:ext uri="{FF2B5EF4-FFF2-40B4-BE49-F238E27FC236}">
                  <a16:creationId xmlns:a16="http://schemas.microsoft.com/office/drawing/2014/main" id="{88CA91E5-977A-4B35-B28F-89C5B0FC0593}"/>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183" name="Ovaal 182">
              <a:extLst>
                <a:ext uri="{FF2B5EF4-FFF2-40B4-BE49-F238E27FC236}">
                  <a16:creationId xmlns:a16="http://schemas.microsoft.com/office/drawing/2014/main" id="{CDDE8723-DCA3-4465-8E5D-86DCEB2ECD6F}"/>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184" name="Textfield placeholder">
              <a:extLst>
                <a:ext uri="{FF2B5EF4-FFF2-40B4-BE49-F238E27FC236}">
                  <a16:creationId xmlns:a16="http://schemas.microsoft.com/office/drawing/2014/main" id="{2E98AB4D-3CD8-4C2C-9F8A-E1275CFB5435}"/>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185" name="Textfield placeholder">
              <a:extLst>
                <a:ext uri="{FF2B5EF4-FFF2-40B4-BE49-F238E27FC236}">
                  <a16:creationId xmlns:a16="http://schemas.microsoft.com/office/drawing/2014/main" id="{7F95DE44-0612-4022-A4B1-32806E7C2DD3}"/>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186" name="Textfield placeholder">
              <a:extLst>
                <a:ext uri="{FF2B5EF4-FFF2-40B4-BE49-F238E27FC236}">
                  <a16:creationId xmlns:a16="http://schemas.microsoft.com/office/drawing/2014/main" id="{FD16D2FE-05DC-42C4-8158-91B96AA149A8}"/>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187" name="Rechte verbindingslijn 186">
              <a:extLst>
                <a:ext uri="{FF2B5EF4-FFF2-40B4-BE49-F238E27FC236}">
                  <a16:creationId xmlns:a16="http://schemas.microsoft.com/office/drawing/2014/main" id="{78BF1228-2369-48E2-801B-3BE5D0C552EF}"/>
                </a:ext>
              </a:extLst>
            </p:cNvPr>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8" name="Rechte verbindingslijn 187">
              <a:extLst>
                <a:ext uri="{FF2B5EF4-FFF2-40B4-BE49-F238E27FC236}">
                  <a16:creationId xmlns:a16="http://schemas.microsoft.com/office/drawing/2014/main" id="{937CA062-C9A6-43E0-A96D-43BB73D97DB6}"/>
                </a:ext>
              </a:extLst>
            </p:cNvPr>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9" name="Rechte verbindingslijn 188">
              <a:extLst>
                <a:ext uri="{FF2B5EF4-FFF2-40B4-BE49-F238E27FC236}">
                  <a16:creationId xmlns:a16="http://schemas.microsoft.com/office/drawing/2014/main" id="{6937F681-33B9-45D0-9A2B-89925E73DC14}"/>
                </a:ext>
              </a:extLst>
            </p:cNvPr>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190" name="Picture 3">
              <a:extLst>
                <a:ext uri="{FF2B5EF4-FFF2-40B4-BE49-F238E27FC236}">
                  <a16:creationId xmlns:a16="http://schemas.microsoft.com/office/drawing/2014/main" id="{4F00F5F1-71CA-4DF1-B338-B3B52447FAC2}"/>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1" name="Picture 4">
              <a:extLst>
                <a:ext uri="{FF2B5EF4-FFF2-40B4-BE49-F238E27FC236}">
                  <a16:creationId xmlns:a16="http://schemas.microsoft.com/office/drawing/2014/main" id="{271FDDC7-6ACA-441B-8E9A-36A4BAE07708}"/>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92" name="Groep 191">
              <a:extLst>
                <a:ext uri="{FF2B5EF4-FFF2-40B4-BE49-F238E27FC236}">
                  <a16:creationId xmlns:a16="http://schemas.microsoft.com/office/drawing/2014/main" id="{08E0FF81-03E2-4373-A984-106F04822B1D}"/>
                </a:ext>
              </a:extLst>
            </p:cNvPr>
            <p:cNvGrpSpPr/>
            <p:nvPr userDrawn="1"/>
          </p:nvGrpSpPr>
          <p:grpSpPr>
            <a:xfrm>
              <a:off x="-2098870" y="523279"/>
              <a:ext cx="435437" cy="427699"/>
              <a:chOff x="-1085063" y="758027"/>
              <a:chExt cx="633800" cy="622540"/>
            </a:xfrm>
          </p:grpSpPr>
          <p:sp>
            <p:nvSpPr>
              <p:cNvPr id="233" name="Afgeronde rechthoek 133">
                <a:extLst>
                  <a:ext uri="{FF2B5EF4-FFF2-40B4-BE49-F238E27FC236}">
                    <a16:creationId xmlns:a16="http://schemas.microsoft.com/office/drawing/2014/main" id="{F7B39E77-E8AC-487C-B5C2-40F0994121C7}"/>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234" name="Groep 233">
                <a:extLst>
                  <a:ext uri="{FF2B5EF4-FFF2-40B4-BE49-F238E27FC236}">
                    <a16:creationId xmlns:a16="http://schemas.microsoft.com/office/drawing/2014/main" id="{F2605656-1850-423B-9FC5-F2958DA1208D}"/>
                  </a:ext>
                </a:extLst>
              </p:cNvPr>
              <p:cNvGrpSpPr/>
              <p:nvPr userDrawn="1"/>
            </p:nvGrpSpPr>
            <p:grpSpPr>
              <a:xfrm>
                <a:off x="-977746" y="864082"/>
                <a:ext cx="419166" cy="410430"/>
                <a:chOff x="6366933" y="309013"/>
                <a:chExt cx="1901295" cy="1861668"/>
              </a:xfrm>
              <a:solidFill>
                <a:schemeClr val="tx1"/>
              </a:solidFill>
            </p:grpSpPr>
            <p:sp>
              <p:nvSpPr>
                <p:cNvPr id="235" name="Rechthoek 234">
                  <a:extLst>
                    <a:ext uri="{FF2B5EF4-FFF2-40B4-BE49-F238E27FC236}">
                      <a16:creationId xmlns:a16="http://schemas.microsoft.com/office/drawing/2014/main" id="{2763B469-5F69-41FD-8B6D-8DA67044425C}"/>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6" name="Rechthoek 235">
                  <a:extLst>
                    <a:ext uri="{FF2B5EF4-FFF2-40B4-BE49-F238E27FC236}">
                      <a16:creationId xmlns:a16="http://schemas.microsoft.com/office/drawing/2014/main" id="{4A98D7B9-7C0E-4841-BFD1-90F5068A0184}"/>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7" name="Rechthoek 236">
                  <a:extLst>
                    <a:ext uri="{FF2B5EF4-FFF2-40B4-BE49-F238E27FC236}">
                      <a16:creationId xmlns:a16="http://schemas.microsoft.com/office/drawing/2014/main" id="{5FE80F86-08FB-414F-ACB2-09649C696CAE}"/>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8" name="Rechthoek 237">
                  <a:extLst>
                    <a:ext uri="{FF2B5EF4-FFF2-40B4-BE49-F238E27FC236}">
                      <a16:creationId xmlns:a16="http://schemas.microsoft.com/office/drawing/2014/main" id="{1C553773-A6C7-47B4-A50C-7215F9E77C63}"/>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9" name="Rechthoek 238">
                  <a:extLst>
                    <a:ext uri="{FF2B5EF4-FFF2-40B4-BE49-F238E27FC236}">
                      <a16:creationId xmlns:a16="http://schemas.microsoft.com/office/drawing/2014/main" id="{0204B8F6-056F-4763-A779-FD7F2DC3801C}"/>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0" name="Rechthoek 239">
                  <a:extLst>
                    <a:ext uri="{FF2B5EF4-FFF2-40B4-BE49-F238E27FC236}">
                      <a16:creationId xmlns:a16="http://schemas.microsoft.com/office/drawing/2014/main" id="{E912ADDE-9372-40BE-99ED-753C1B9BA673}"/>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1" name="Rechthoek 240">
                  <a:extLst>
                    <a:ext uri="{FF2B5EF4-FFF2-40B4-BE49-F238E27FC236}">
                      <a16:creationId xmlns:a16="http://schemas.microsoft.com/office/drawing/2014/main" id="{B25EB52F-1007-4D9E-8C8F-3EF0CD77B5DC}"/>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2" name="Rechthoek 241">
                  <a:extLst>
                    <a:ext uri="{FF2B5EF4-FFF2-40B4-BE49-F238E27FC236}">
                      <a16:creationId xmlns:a16="http://schemas.microsoft.com/office/drawing/2014/main" id="{C52D3766-F86B-4CBD-A2A3-F4CD2EE6D185}"/>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3" name="Rechthoek 242">
                  <a:extLst>
                    <a:ext uri="{FF2B5EF4-FFF2-40B4-BE49-F238E27FC236}">
                      <a16:creationId xmlns:a16="http://schemas.microsoft.com/office/drawing/2014/main" id="{E1C0DD08-656F-43F6-A502-44F92E98C8BA}"/>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4" name="Rechthoek 243">
                  <a:extLst>
                    <a:ext uri="{FF2B5EF4-FFF2-40B4-BE49-F238E27FC236}">
                      <a16:creationId xmlns:a16="http://schemas.microsoft.com/office/drawing/2014/main" id="{72EBCFEE-B04A-44DA-9032-98F7B3E6BDE5}"/>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5" name="Vrije vorm 145">
                  <a:extLst>
                    <a:ext uri="{FF2B5EF4-FFF2-40B4-BE49-F238E27FC236}">
                      <a16:creationId xmlns:a16="http://schemas.microsoft.com/office/drawing/2014/main" id="{B9B91F69-BA62-4681-8129-E6BB2D79FF8E}"/>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193" name="Groep 192">
              <a:extLst>
                <a:ext uri="{FF2B5EF4-FFF2-40B4-BE49-F238E27FC236}">
                  <a16:creationId xmlns:a16="http://schemas.microsoft.com/office/drawing/2014/main" id="{A19E0B6F-E41E-40F2-89EB-F9D976898F0E}"/>
                </a:ext>
              </a:extLst>
            </p:cNvPr>
            <p:cNvGrpSpPr/>
            <p:nvPr userDrawn="1"/>
          </p:nvGrpSpPr>
          <p:grpSpPr>
            <a:xfrm>
              <a:off x="-2095303" y="1071657"/>
              <a:ext cx="435437" cy="427699"/>
              <a:chOff x="-1845083" y="758027"/>
              <a:chExt cx="633800" cy="622540"/>
            </a:xfrm>
          </p:grpSpPr>
          <p:sp>
            <p:nvSpPr>
              <p:cNvPr id="220" name="Afgeronde rechthoek 120">
                <a:extLst>
                  <a:ext uri="{FF2B5EF4-FFF2-40B4-BE49-F238E27FC236}">
                    <a16:creationId xmlns:a16="http://schemas.microsoft.com/office/drawing/2014/main" id="{4F1D6854-1EAE-46C0-94AC-A38DA8B2D262}"/>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221" name="Groep 220">
                <a:extLst>
                  <a:ext uri="{FF2B5EF4-FFF2-40B4-BE49-F238E27FC236}">
                    <a16:creationId xmlns:a16="http://schemas.microsoft.com/office/drawing/2014/main" id="{583036F7-784C-43CB-BD0D-CB53A1A29E40}"/>
                  </a:ext>
                </a:extLst>
              </p:cNvPr>
              <p:cNvGrpSpPr/>
              <p:nvPr userDrawn="1"/>
            </p:nvGrpSpPr>
            <p:grpSpPr>
              <a:xfrm>
                <a:off x="-1737766" y="864082"/>
                <a:ext cx="419166" cy="410430"/>
                <a:chOff x="3708400" y="309013"/>
                <a:chExt cx="1901295" cy="1861668"/>
              </a:xfrm>
              <a:solidFill>
                <a:schemeClr val="tx1"/>
              </a:solidFill>
            </p:grpSpPr>
            <p:sp>
              <p:nvSpPr>
                <p:cNvPr id="222" name="Rechthoek 221">
                  <a:extLst>
                    <a:ext uri="{FF2B5EF4-FFF2-40B4-BE49-F238E27FC236}">
                      <a16:creationId xmlns:a16="http://schemas.microsoft.com/office/drawing/2014/main" id="{B86FA791-EA3D-4109-A382-BAB12D1780C3}"/>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3" name="Rechthoek 222">
                  <a:extLst>
                    <a:ext uri="{FF2B5EF4-FFF2-40B4-BE49-F238E27FC236}">
                      <a16:creationId xmlns:a16="http://schemas.microsoft.com/office/drawing/2014/main" id="{2D7DB73D-BC6D-4692-8109-6D98C394688A}"/>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4" name="Rechthoek 223">
                  <a:extLst>
                    <a:ext uri="{FF2B5EF4-FFF2-40B4-BE49-F238E27FC236}">
                      <a16:creationId xmlns:a16="http://schemas.microsoft.com/office/drawing/2014/main" id="{3F7E8C51-7E87-44F3-9B05-1DB988F01116}"/>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5" name="Rechthoek 224">
                  <a:extLst>
                    <a:ext uri="{FF2B5EF4-FFF2-40B4-BE49-F238E27FC236}">
                      <a16:creationId xmlns:a16="http://schemas.microsoft.com/office/drawing/2014/main" id="{4CA7A953-3F73-4BD5-AF6C-24AFAD1130D9}"/>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6" name="Rechthoek 225">
                  <a:extLst>
                    <a:ext uri="{FF2B5EF4-FFF2-40B4-BE49-F238E27FC236}">
                      <a16:creationId xmlns:a16="http://schemas.microsoft.com/office/drawing/2014/main" id="{E1A87BC6-A57D-488F-B4CF-AAF10BF15844}"/>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7" name="Rechthoek 226">
                  <a:extLst>
                    <a:ext uri="{FF2B5EF4-FFF2-40B4-BE49-F238E27FC236}">
                      <a16:creationId xmlns:a16="http://schemas.microsoft.com/office/drawing/2014/main" id="{934B6E17-F9D3-4C15-BEC4-45045C8DEC34}"/>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8" name="Rechthoek 227">
                  <a:extLst>
                    <a:ext uri="{FF2B5EF4-FFF2-40B4-BE49-F238E27FC236}">
                      <a16:creationId xmlns:a16="http://schemas.microsoft.com/office/drawing/2014/main" id="{8F61463F-4731-4D88-990B-75E0F9D0FCC8}"/>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9" name="Rechthoek 228">
                  <a:extLst>
                    <a:ext uri="{FF2B5EF4-FFF2-40B4-BE49-F238E27FC236}">
                      <a16:creationId xmlns:a16="http://schemas.microsoft.com/office/drawing/2014/main" id="{BB8A5ED1-3A02-477E-8382-B89021D97879}"/>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0" name="Rechthoek 229">
                  <a:extLst>
                    <a:ext uri="{FF2B5EF4-FFF2-40B4-BE49-F238E27FC236}">
                      <a16:creationId xmlns:a16="http://schemas.microsoft.com/office/drawing/2014/main" id="{5EE105AD-EE89-42C9-86F8-507C46625389}"/>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1" name="Rechthoek 230">
                  <a:extLst>
                    <a:ext uri="{FF2B5EF4-FFF2-40B4-BE49-F238E27FC236}">
                      <a16:creationId xmlns:a16="http://schemas.microsoft.com/office/drawing/2014/main" id="{2FDEBBE1-72F6-4577-A4FB-1EAB567F30AD}"/>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2" name="Vrije vorm 132">
                  <a:extLst>
                    <a:ext uri="{FF2B5EF4-FFF2-40B4-BE49-F238E27FC236}">
                      <a16:creationId xmlns:a16="http://schemas.microsoft.com/office/drawing/2014/main" id="{48F35AA2-7539-48CA-8DF9-6402FDBD81FF}"/>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194" name="Rechte verbindingslijn 193">
              <a:extLst>
                <a:ext uri="{FF2B5EF4-FFF2-40B4-BE49-F238E27FC236}">
                  <a16:creationId xmlns:a16="http://schemas.microsoft.com/office/drawing/2014/main" id="{19F54E13-20BC-49D2-B1AC-8A8500377973}"/>
                </a:ext>
              </a:extLst>
            </p:cNvPr>
            <p:cNvCxnSpPr>
              <a:stCxn id="196" idx="2"/>
              <a:endCxn id="220"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5" name="Rechte verbindingslijn 194">
              <a:extLst>
                <a:ext uri="{FF2B5EF4-FFF2-40B4-BE49-F238E27FC236}">
                  <a16:creationId xmlns:a16="http://schemas.microsoft.com/office/drawing/2014/main" id="{9824CE2B-B359-427F-9207-BF65EC079525}"/>
                </a:ext>
              </a:extLst>
            </p:cNvPr>
            <p:cNvCxnSpPr>
              <a:stCxn id="197" idx="3"/>
              <a:endCxn id="233"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96" name="Ovaal 195">
              <a:extLst>
                <a:ext uri="{FF2B5EF4-FFF2-40B4-BE49-F238E27FC236}">
                  <a16:creationId xmlns:a16="http://schemas.microsoft.com/office/drawing/2014/main" id="{E47175B4-7E50-47EF-9ABF-1CE6BE2CE866}"/>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97" name="Ovaal 196">
              <a:extLst>
                <a:ext uri="{FF2B5EF4-FFF2-40B4-BE49-F238E27FC236}">
                  <a16:creationId xmlns:a16="http://schemas.microsoft.com/office/drawing/2014/main" id="{7CE7AA7A-5C40-498A-A350-E71C1EE40F2E}"/>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98" name="Textfield placeholder">
              <a:extLst>
                <a:ext uri="{FF2B5EF4-FFF2-40B4-BE49-F238E27FC236}">
                  <a16:creationId xmlns:a16="http://schemas.microsoft.com/office/drawing/2014/main" id="{F4ACBF05-DB92-45E6-95E6-B777403F1C92}"/>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latin typeface="+mn-lt"/>
                </a:rPr>
                <a:t>Niveau</a:t>
              </a:r>
              <a:r>
                <a:rPr lang="en-GB" sz="1200" b="0" dirty="0">
                  <a:solidFill>
                    <a:schemeClr val="tx1"/>
                  </a:solidFill>
                  <a:latin typeface="+mn-lt"/>
                </a:rPr>
                <a:t> vooruit</a:t>
              </a:r>
            </a:p>
          </p:txBody>
        </p:sp>
        <p:sp>
          <p:nvSpPr>
            <p:cNvPr id="199" name="Textfield placeholder">
              <a:extLst>
                <a:ext uri="{FF2B5EF4-FFF2-40B4-BE49-F238E27FC236}">
                  <a16:creationId xmlns:a16="http://schemas.microsoft.com/office/drawing/2014/main" id="{DAC364AE-C4AB-4000-A5A5-E97C53DC1011}"/>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latin typeface="+mn-lt"/>
                </a:rPr>
                <a:t>Niveau</a:t>
              </a:r>
              <a:r>
                <a:rPr lang="en-GB" sz="1200" b="0" dirty="0">
                  <a:solidFill>
                    <a:schemeClr val="tx1"/>
                  </a:solidFill>
                  <a:latin typeface="+mn-lt"/>
                </a:rPr>
                <a:t> terug</a:t>
              </a:r>
            </a:p>
          </p:txBody>
        </p:sp>
        <p:sp>
          <p:nvSpPr>
            <p:cNvPr id="200" name="Ovaal 199">
              <a:extLst>
                <a:ext uri="{FF2B5EF4-FFF2-40B4-BE49-F238E27FC236}">
                  <a16:creationId xmlns:a16="http://schemas.microsoft.com/office/drawing/2014/main" id="{FF914D6C-8E19-4508-ABD9-75F4D346603F}"/>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201" name="Ovaal 200">
              <a:extLst>
                <a:ext uri="{FF2B5EF4-FFF2-40B4-BE49-F238E27FC236}">
                  <a16:creationId xmlns:a16="http://schemas.microsoft.com/office/drawing/2014/main" id="{10F0BE0C-D4B5-4555-9E20-6B9503EAB55E}"/>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202" name="Ovaal 201">
              <a:extLst>
                <a:ext uri="{FF2B5EF4-FFF2-40B4-BE49-F238E27FC236}">
                  <a16:creationId xmlns:a16="http://schemas.microsoft.com/office/drawing/2014/main" id="{430635CD-1E38-4D52-BF0F-80CFE4F749E5}"/>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203" name="Ovaal 202">
              <a:extLst>
                <a:ext uri="{FF2B5EF4-FFF2-40B4-BE49-F238E27FC236}">
                  <a16:creationId xmlns:a16="http://schemas.microsoft.com/office/drawing/2014/main" id="{51A85580-4DD2-42CC-8666-F3D9A37D3A58}"/>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204" name="Ovaal 203">
              <a:extLst>
                <a:ext uri="{FF2B5EF4-FFF2-40B4-BE49-F238E27FC236}">
                  <a16:creationId xmlns:a16="http://schemas.microsoft.com/office/drawing/2014/main" id="{EA7A3DF9-7FF9-4495-9348-3945F2456089}"/>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205" name="Textfield placeholder">
              <a:extLst>
                <a:ext uri="{FF2B5EF4-FFF2-40B4-BE49-F238E27FC236}">
                  <a16:creationId xmlns:a16="http://schemas.microsoft.com/office/drawing/2014/main" id="{DB5C2C79-802E-4B52-84F5-31F98030E036}"/>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06" name="Textfield placeholder">
              <a:extLst>
                <a:ext uri="{FF2B5EF4-FFF2-40B4-BE49-F238E27FC236}">
                  <a16:creationId xmlns:a16="http://schemas.microsoft.com/office/drawing/2014/main" id="{004635A1-87D9-457B-8FA6-42379281D9B0}"/>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07" name="Textfield placeholder">
              <a:extLst>
                <a:ext uri="{FF2B5EF4-FFF2-40B4-BE49-F238E27FC236}">
                  <a16:creationId xmlns:a16="http://schemas.microsoft.com/office/drawing/2014/main" id="{4829F181-385B-4095-A026-BF2B7753F461}"/>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08" name="Textfield placeholder">
              <a:extLst>
                <a:ext uri="{FF2B5EF4-FFF2-40B4-BE49-F238E27FC236}">
                  <a16:creationId xmlns:a16="http://schemas.microsoft.com/office/drawing/2014/main" id="{5030979A-4D70-4555-BFB1-FB18FC1E21F4}"/>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209" name="Textfield placeholder">
              <a:extLst>
                <a:ext uri="{FF2B5EF4-FFF2-40B4-BE49-F238E27FC236}">
                  <a16:creationId xmlns:a16="http://schemas.microsoft.com/office/drawing/2014/main" id="{09AB7D44-5CEC-419B-B02A-B509A821E1A7}"/>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10" name="Groep 209">
              <a:extLst>
                <a:ext uri="{FF2B5EF4-FFF2-40B4-BE49-F238E27FC236}">
                  <a16:creationId xmlns:a16="http://schemas.microsoft.com/office/drawing/2014/main" id="{C6278A4B-869D-467F-A7B4-83F6AF48FB71}"/>
                </a:ext>
              </a:extLst>
            </p:cNvPr>
            <p:cNvGrpSpPr/>
            <p:nvPr userDrawn="1"/>
          </p:nvGrpSpPr>
          <p:grpSpPr>
            <a:xfrm>
              <a:off x="-950342" y="1837957"/>
              <a:ext cx="687412" cy="3758146"/>
              <a:chOff x="-740196" y="1837957"/>
              <a:chExt cx="1374825" cy="3758146"/>
            </a:xfrm>
          </p:grpSpPr>
          <p:sp>
            <p:nvSpPr>
              <p:cNvPr id="211" name="Textfield placeholder">
                <a:extLst>
                  <a:ext uri="{FF2B5EF4-FFF2-40B4-BE49-F238E27FC236}">
                    <a16:creationId xmlns:a16="http://schemas.microsoft.com/office/drawing/2014/main" id="{B97D6C4C-BBFD-4449-B51B-56815F114D61}"/>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12" name="Textfield placeholder">
                <a:extLst>
                  <a:ext uri="{FF2B5EF4-FFF2-40B4-BE49-F238E27FC236}">
                    <a16:creationId xmlns:a16="http://schemas.microsoft.com/office/drawing/2014/main" id="{D1950F9C-CD3C-4FAA-87E1-7A3A08E83E22}"/>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13" name="Textfield placeholder">
                <a:extLst>
                  <a:ext uri="{FF2B5EF4-FFF2-40B4-BE49-F238E27FC236}">
                    <a16:creationId xmlns:a16="http://schemas.microsoft.com/office/drawing/2014/main" id="{FD0F3D4B-0AE8-46EF-9F51-F2A2C237ECEE}"/>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4" name="Textfield placeholder">
                <a:extLst>
                  <a:ext uri="{FF2B5EF4-FFF2-40B4-BE49-F238E27FC236}">
                    <a16:creationId xmlns:a16="http://schemas.microsoft.com/office/drawing/2014/main" id="{3D807C02-B053-4F40-8301-EE3FEEBE0610}"/>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215" name="Textfield placeholder">
                <a:extLst>
                  <a:ext uri="{FF2B5EF4-FFF2-40B4-BE49-F238E27FC236}">
                    <a16:creationId xmlns:a16="http://schemas.microsoft.com/office/drawing/2014/main" id="{B35AB65E-ED7B-4AC5-A4F8-E029B1CE9909}"/>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216" name="Textfield placeholder">
                <a:extLst>
                  <a:ext uri="{FF2B5EF4-FFF2-40B4-BE49-F238E27FC236}">
                    <a16:creationId xmlns:a16="http://schemas.microsoft.com/office/drawing/2014/main" id="{122D5F5C-A2C3-4365-806E-65E1282C67AC}"/>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7" name="Textfield placeholder">
                <a:extLst>
                  <a:ext uri="{FF2B5EF4-FFF2-40B4-BE49-F238E27FC236}">
                    <a16:creationId xmlns:a16="http://schemas.microsoft.com/office/drawing/2014/main" id="{A3CF8FA5-0A75-4BCD-81D2-D9EC7440218D}"/>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8" name="Textfield placeholder">
                <a:extLst>
                  <a:ext uri="{FF2B5EF4-FFF2-40B4-BE49-F238E27FC236}">
                    <a16:creationId xmlns:a16="http://schemas.microsoft.com/office/drawing/2014/main" id="{CEE59FC1-D9E0-4441-9B7D-9AA509312953}"/>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219" name="Textfield placeholder">
                <a:extLst>
                  <a:ext uri="{FF2B5EF4-FFF2-40B4-BE49-F238E27FC236}">
                    <a16:creationId xmlns:a16="http://schemas.microsoft.com/office/drawing/2014/main" id="{8FB6A6BA-4D21-4991-8E0F-786FE5D542BB}"/>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grpSp>
        <p:nvGrpSpPr>
          <p:cNvPr id="260" name="Groep 259">
            <a:extLst>
              <a:ext uri="{FF2B5EF4-FFF2-40B4-BE49-F238E27FC236}">
                <a16:creationId xmlns:a16="http://schemas.microsoft.com/office/drawing/2014/main" id="{EDDCBD6F-0EE3-435B-B673-FDC85C97EAE2}"/>
              </a:ext>
            </a:extLst>
          </p:cNvPr>
          <p:cNvGrpSpPr/>
          <p:nvPr userDrawn="1"/>
        </p:nvGrpSpPr>
        <p:grpSpPr>
          <a:xfrm>
            <a:off x="-3205835" y="-26002"/>
            <a:ext cx="3064812" cy="4530930"/>
            <a:chOff x="15419739" y="-26002"/>
            <a:chExt cx="3064812" cy="4530930"/>
          </a:xfrm>
        </p:grpSpPr>
        <p:sp>
          <p:nvSpPr>
            <p:cNvPr id="261" name="Tekstvak 33">
              <a:extLst>
                <a:ext uri="{FF2B5EF4-FFF2-40B4-BE49-F238E27FC236}">
                  <a16:creationId xmlns:a16="http://schemas.microsoft.com/office/drawing/2014/main" id="{39646866-2242-4285-916E-C815F2A86E74}"/>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262" name="Tekstvak 33">
              <a:extLst>
                <a:ext uri="{FF2B5EF4-FFF2-40B4-BE49-F238E27FC236}">
                  <a16:creationId xmlns:a16="http://schemas.microsoft.com/office/drawing/2014/main" id="{8A1054B1-52EE-44CD-A91A-6633A1BC51CA}"/>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263" name="Ovaal 262">
              <a:extLst>
                <a:ext uri="{FF2B5EF4-FFF2-40B4-BE49-F238E27FC236}">
                  <a16:creationId xmlns:a16="http://schemas.microsoft.com/office/drawing/2014/main" id="{6FB3631A-531F-4C65-9C24-589C9C7289A6}"/>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264" name="Ovaal 263">
              <a:extLst>
                <a:ext uri="{FF2B5EF4-FFF2-40B4-BE49-F238E27FC236}">
                  <a16:creationId xmlns:a16="http://schemas.microsoft.com/office/drawing/2014/main" id="{3AC3AC44-3D3C-48F1-83DC-F7A38AE78810}"/>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265" name="Picture 3">
              <a:extLst>
                <a:ext uri="{FF2B5EF4-FFF2-40B4-BE49-F238E27FC236}">
                  <a16:creationId xmlns:a16="http://schemas.microsoft.com/office/drawing/2014/main" id="{226A1FFC-37DD-4E28-A4BC-2E955556AF46}"/>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66" name="Picture 3">
              <a:extLst>
                <a:ext uri="{FF2B5EF4-FFF2-40B4-BE49-F238E27FC236}">
                  <a16:creationId xmlns:a16="http://schemas.microsoft.com/office/drawing/2014/main" id="{58E39C98-8060-4EBC-97A4-FB0227137463}"/>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67" name="Tekstvak 266">
              <a:extLst>
                <a:ext uri="{FF2B5EF4-FFF2-40B4-BE49-F238E27FC236}">
                  <a16:creationId xmlns:a16="http://schemas.microsoft.com/office/drawing/2014/main" id="{F1CBE52F-1EE3-4156-9A7F-332552D91E72}"/>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268" name="Rechthoek 267">
              <a:extLst>
                <a:ext uri="{FF2B5EF4-FFF2-40B4-BE49-F238E27FC236}">
                  <a16:creationId xmlns:a16="http://schemas.microsoft.com/office/drawing/2014/main" id="{32E2EBBC-C2ED-4D14-A96F-A1B7AE4A9985}"/>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269" name="Groep 268">
              <a:extLst>
                <a:ext uri="{FF2B5EF4-FFF2-40B4-BE49-F238E27FC236}">
                  <a16:creationId xmlns:a16="http://schemas.microsoft.com/office/drawing/2014/main" id="{7C4F20E0-52D5-4769-ABDA-65CD7C92BEF9}"/>
                </a:ext>
              </a:extLst>
            </p:cNvPr>
            <p:cNvGrpSpPr/>
            <p:nvPr userDrawn="1"/>
          </p:nvGrpSpPr>
          <p:grpSpPr>
            <a:xfrm>
              <a:off x="15563079" y="358984"/>
              <a:ext cx="2489424" cy="4145944"/>
              <a:chOff x="15563079" y="358984"/>
              <a:chExt cx="2315772" cy="4145944"/>
            </a:xfrm>
          </p:grpSpPr>
          <p:cxnSp>
            <p:nvCxnSpPr>
              <p:cNvPr id="271" name="Rechte verbindingslijn 270">
                <a:extLst>
                  <a:ext uri="{FF2B5EF4-FFF2-40B4-BE49-F238E27FC236}">
                    <a16:creationId xmlns:a16="http://schemas.microsoft.com/office/drawing/2014/main" id="{F409B5C6-2B09-436D-B25B-11266890DE6C}"/>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2" name="Rechte verbindingslijn 271">
                <a:extLst>
                  <a:ext uri="{FF2B5EF4-FFF2-40B4-BE49-F238E27FC236}">
                    <a16:creationId xmlns:a16="http://schemas.microsoft.com/office/drawing/2014/main" id="{DF38CDE2-5D8E-4457-B1FB-15B2FE79C001}"/>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3" name="Rechte verbindingslijn 272">
                <a:extLst>
                  <a:ext uri="{FF2B5EF4-FFF2-40B4-BE49-F238E27FC236}">
                    <a16:creationId xmlns:a16="http://schemas.microsoft.com/office/drawing/2014/main" id="{09C3E865-41F2-4713-81FA-8EE78E122DA4}"/>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70" name="Afbeelding 269">
              <a:extLst>
                <a:ext uri="{FF2B5EF4-FFF2-40B4-BE49-F238E27FC236}">
                  <a16:creationId xmlns:a16="http://schemas.microsoft.com/office/drawing/2014/main" id="{0937FA3E-FEAC-4930-BD6A-4068C44B2625}"/>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856754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kst Links + afbeelding (L)">
    <p:spTree>
      <p:nvGrpSpPr>
        <p:cNvPr id="1" name=""/>
        <p:cNvGrpSpPr/>
        <p:nvPr/>
      </p:nvGrpSpPr>
      <p:grpSpPr>
        <a:xfrm>
          <a:off x="0" y="0"/>
          <a:ext cx="0" cy="0"/>
          <a:chOff x="0" y="0"/>
          <a:chExt cx="0" cy="0"/>
        </a:xfrm>
      </p:grpSpPr>
      <p:sp>
        <p:nvSpPr>
          <p:cNvPr id="8" name="Rechthoek 7"/>
          <p:cNvSpPr/>
          <p:nvPr userDrawn="1"/>
        </p:nvSpPr>
        <p:spPr>
          <a:xfrm>
            <a:off x="4644782" y="1420099"/>
            <a:ext cx="7550393" cy="4558246"/>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p>
        </p:txBody>
      </p:sp>
      <p:sp>
        <p:nvSpPr>
          <p:cNvPr id="2" name="Titel 1"/>
          <p:cNvSpPr>
            <a:spLocks noGrp="1"/>
          </p:cNvSpPr>
          <p:nvPr>
            <p:ph type="title"/>
          </p:nvPr>
        </p:nvSpPr>
        <p:spPr/>
        <p:txBody>
          <a:bodyPr/>
          <a:lstStyle/>
          <a:p>
            <a:r>
              <a:rPr lang="nl-NL"/>
              <a:t>Klik om stijl te bewerken</a:t>
            </a:r>
            <a:endParaRPr lang="en-GB"/>
          </a:p>
        </p:txBody>
      </p:sp>
      <p:sp>
        <p:nvSpPr>
          <p:cNvPr id="3" name="Tijdelijke aanduiding voor verticale tekst 2"/>
          <p:cNvSpPr>
            <a:spLocks noGrp="1"/>
          </p:cNvSpPr>
          <p:nvPr>
            <p:ph type="body" orient="vert" idx="1"/>
          </p:nvPr>
        </p:nvSpPr>
        <p:spPr>
          <a:xfrm>
            <a:off x="472587" y="1420099"/>
            <a:ext cx="4172195" cy="4558244"/>
          </a:xfrm>
        </p:spPr>
        <p:txBody>
          <a:bodyPr vert="horz"/>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10"/>
          </p:nvPr>
        </p:nvSpPr>
        <p:spPr/>
        <p:txBody>
          <a:bodyPr/>
          <a:lstStyle/>
          <a:p>
            <a:fld id="{A60DC5D8-C67E-4D10-9FCA-ED4FF8967CED}"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ijdelijke aanduiding voor afbeelding 2"/>
          <p:cNvSpPr>
            <a:spLocks noGrp="1"/>
          </p:cNvSpPr>
          <p:nvPr>
            <p:ph type="pic" idx="13"/>
          </p:nvPr>
        </p:nvSpPr>
        <p:spPr>
          <a:xfrm>
            <a:off x="4644781" y="1420099"/>
            <a:ext cx="7550393" cy="4558244"/>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en-GB"/>
          </a:p>
        </p:txBody>
      </p:sp>
      <p:sp>
        <p:nvSpPr>
          <p:cNvPr id="10" name="Tekstvak 9"/>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Tekst Links + afbeelding (L) + onderschrift</a:t>
            </a:r>
          </a:p>
        </p:txBody>
      </p:sp>
      <p:sp>
        <p:nvSpPr>
          <p:cNvPr id="11" name="Tijdelijke aanduiding voor verticale tekst 2"/>
          <p:cNvSpPr>
            <a:spLocks noGrp="1"/>
          </p:cNvSpPr>
          <p:nvPr>
            <p:ph type="body" orient="vert" idx="14" hasCustomPrompt="1"/>
          </p:nvPr>
        </p:nvSpPr>
        <p:spPr>
          <a:xfrm>
            <a:off x="4644781" y="5483135"/>
            <a:ext cx="7550394" cy="504000"/>
          </a:xfrm>
          <a:solidFill>
            <a:schemeClr val="accent2"/>
          </a:solidFill>
        </p:spPr>
        <p:txBody>
          <a:bodyPr vert="horz" lIns="216000" tIns="36000" rIns="216000" bIns="0" anchor="ctr"/>
          <a:lstStyle>
            <a:lvl1pPr algn="l">
              <a:defRPr sz="1800" b="0">
                <a:solidFill>
                  <a:schemeClr val="tx2"/>
                </a:solidFill>
              </a:defRPr>
            </a:lvl1pPr>
          </a:lstStyle>
          <a:p>
            <a:pPr lvl="0"/>
            <a:r>
              <a:rPr lang="nl-NL" dirty="0"/>
              <a:t>Onderschrift</a:t>
            </a:r>
          </a:p>
        </p:txBody>
      </p:sp>
      <p:grpSp>
        <p:nvGrpSpPr>
          <p:cNvPr id="178" name="Groep 177">
            <a:extLst>
              <a:ext uri="{FF2B5EF4-FFF2-40B4-BE49-F238E27FC236}">
                <a16:creationId xmlns:a16="http://schemas.microsoft.com/office/drawing/2014/main" id="{8DF5A290-56F4-4679-BB2F-3F26F89F84BD}"/>
              </a:ext>
            </a:extLst>
          </p:cNvPr>
          <p:cNvGrpSpPr/>
          <p:nvPr userDrawn="1"/>
        </p:nvGrpSpPr>
        <p:grpSpPr>
          <a:xfrm>
            <a:off x="-2973833" y="0"/>
            <a:ext cx="2808312" cy="5805264"/>
            <a:chOff x="-2973833" y="0"/>
            <a:chExt cx="2808312" cy="5805264"/>
          </a:xfrm>
        </p:grpSpPr>
        <p:sp>
          <p:nvSpPr>
            <p:cNvPr id="179" name="Rechthoek 178">
              <a:extLst>
                <a:ext uri="{FF2B5EF4-FFF2-40B4-BE49-F238E27FC236}">
                  <a16:creationId xmlns:a16="http://schemas.microsoft.com/office/drawing/2014/main" id="{511B22E5-E1A3-4199-8ACE-09C4F87B07A0}"/>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180" name="Textfield placeholder">
              <a:extLst>
                <a:ext uri="{FF2B5EF4-FFF2-40B4-BE49-F238E27FC236}">
                  <a16:creationId xmlns:a16="http://schemas.microsoft.com/office/drawing/2014/main" id="{27F206B5-0C7E-42F8-A848-D064F6C02134}"/>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181" name="Ovaal 180">
              <a:extLst>
                <a:ext uri="{FF2B5EF4-FFF2-40B4-BE49-F238E27FC236}">
                  <a16:creationId xmlns:a16="http://schemas.microsoft.com/office/drawing/2014/main" id="{0ED2AB90-C357-4CFE-96BA-119AE1E9DD34}"/>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182" name="Ovaal 181">
              <a:extLst>
                <a:ext uri="{FF2B5EF4-FFF2-40B4-BE49-F238E27FC236}">
                  <a16:creationId xmlns:a16="http://schemas.microsoft.com/office/drawing/2014/main" id="{82C61F81-319A-46B1-B572-4FE1BD6A6D49}"/>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183" name="Ovaal 182">
              <a:extLst>
                <a:ext uri="{FF2B5EF4-FFF2-40B4-BE49-F238E27FC236}">
                  <a16:creationId xmlns:a16="http://schemas.microsoft.com/office/drawing/2014/main" id="{010F9B68-195B-486C-90B7-F850FE8A0851}"/>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184" name="Ovaal 183">
              <a:extLst>
                <a:ext uri="{FF2B5EF4-FFF2-40B4-BE49-F238E27FC236}">
                  <a16:creationId xmlns:a16="http://schemas.microsoft.com/office/drawing/2014/main" id="{26867DF1-F22F-49F3-847C-70B8698B2156}"/>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185" name="Textfield placeholder">
              <a:extLst>
                <a:ext uri="{FF2B5EF4-FFF2-40B4-BE49-F238E27FC236}">
                  <a16:creationId xmlns:a16="http://schemas.microsoft.com/office/drawing/2014/main" id="{95BB224F-6899-4AA9-ABF2-9B835AE22EE0}"/>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186" name="Textfield placeholder">
              <a:extLst>
                <a:ext uri="{FF2B5EF4-FFF2-40B4-BE49-F238E27FC236}">
                  <a16:creationId xmlns:a16="http://schemas.microsoft.com/office/drawing/2014/main" id="{9E194317-3CD5-449E-A13E-DE6DFA32C6BE}"/>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187" name="Textfield placeholder">
              <a:extLst>
                <a:ext uri="{FF2B5EF4-FFF2-40B4-BE49-F238E27FC236}">
                  <a16:creationId xmlns:a16="http://schemas.microsoft.com/office/drawing/2014/main" id="{B74AB4F5-50BD-4E42-B74E-DE00C26CCF64}"/>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188" name="Rechte verbindingslijn 187">
              <a:extLst>
                <a:ext uri="{FF2B5EF4-FFF2-40B4-BE49-F238E27FC236}">
                  <a16:creationId xmlns:a16="http://schemas.microsoft.com/office/drawing/2014/main" id="{7A539033-7A7F-4C39-AE13-9DC75C86FD28}"/>
                </a:ext>
              </a:extLst>
            </p:cNvPr>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9" name="Rechte verbindingslijn 188">
              <a:extLst>
                <a:ext uri="{FF2B5EF4-FFF2-40B4-BE49-F238E27FC236}">
                  <a16:creationId xmlns:a16="http://schemas.microsoft.com/office/drawing/2014/main" id="{B7227AFB-C9CC-464D-B739-3844CE703B37}"/>
                </a:ext>
              </a:extLst>
            </p:cNvPr>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0" name="Rechte verbindingslijn 189">
              <a:extLst>
                <a:ext uri="{FF2B5EF4-FFF2-40B4-BE49-F238E27FC236}">
                  <a16:creationId xmlns:a16="http://schemas.microsoft.com/office/drawing/2014/main" id="{55DB8CF7-F3AB-4639-8651-F6AEFAA82F54}"/>
                </a:ext>
              </a:extLst>
            </p:cNvPr>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91" name="Picture 3">
              <a:extLst>
                <a:ext uri="{FF2B5EF4-FFF2-40B4-BE49-F238E27FC236}">
                  <a16:creationId xmlns:a16="http://schemas.microsoft.com/office/drawing/2014/main" id="{FF295C84-6F5E-4BF8-A609-568D0BBF689B}"/>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2" name="Picture 4">
              <a:extLst>
                <a:ext uri="{FF2B5EF4-FFF2-40B4-BE49-F238E27FC236}">
                  <a16:creationId xmlns:a16="http://schemas.microsoft.com/office/drawing/2014/main" id="{A9E56FA6-0B8C-46FB-8780-B1444CF76F9E}"/>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93" name="Groep 192">
              <a:extLst>
                <a:ext uri="{FF2B5EF4-FFF2-40B4-BE49-F238E27FC236}">
                  <a16:creationId xmlns:a16="http://schemas.microsoft.com/office/drawing/2014/main" id="{78B7AD53-DE50-428C-A42D-3E6C576D2D91}"/>
                </a:ext>
              </a:extLst>
            </p:cNvPr>
            <p:cNvGrpSpPr/>
            <p:nvPr userDrawn="1"/>
          </p:nvGrpSpPr>
          <p:grpSpPr>
            <a:xfrm>
              <a:off x="-2098870" y="523279"/>
              <a:ext cx="435437" cy="427699"/>
              <a:chOff x="-1085063" y="758027"/>
              <a:chExt cx="633800" cy="622540"/>
            </a:xfrm>
          </p:grpSpPr>
          <p:sp>
            <p:nvSpPr>
              <p:cNvPr id="234" name="Afgeronde rechthoek 133">
                <a:extLst>
                  <a:ext uri="{FF2B5EF4-FFF2-40B4-BE49-F238E27FC236}">
                    <a16:creationId xmlns:a16="http://schemas.microsoft.com/office/drawing/2014/main" id="{5A4F2636-D199-4D6F-9C18-E0939B8E451E}"/>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235" name="Groep 234">
                <a:extLst>
                  <a:ext uri="{FF2B5EF4-FFF2-40B4-BE49-F238E27FC236}">
                    <a16:creationId xmlns:a16="http://schemas.microsoft.com/office/drawing/2014/main" id="{4378F78C-5E97-43AF-B901-7B969D46CD80}"/>
                  </a:ext>
                </a:extLst>
              </p:cNvPr>
              <p:cNvGrpSpPr/>
              <p:nvPr userDrawn="1"/>
            </p:nvGrpSpPr>
            <p:grpSpPr>
              <a:xfrm>
                <a:off x="-977746" y="864082"/>
                <a:ext cx="419166" cy="410430"/>
                <a:chOff x="6366933" y="309013"/>
                <a:chExt cx="1901295" cy="1861668"/>
              </a:xfrm>
              <a:solidFill>
                <a:schemeClr val="tx1"/>
              </a:solidFill>
            </p:grpSpPr>
            <p:sp>
              <p:nvSpPr>
                <p:cNvPr id="236" name="Rechthoek 235">
                  <a:extLst>
                    <a:ext uri="{FF2B5EF4-FFF2-40B4-BE49-F238E27FC236}">
                      <a16:creationId xmlns:a16="http://schemas.microsoft.com/office/drawing/2014/main" id="{C7DBB36F-7BAC-4BD6-A797-306496BAE93E}"/>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7" name="Rechthoek 236">
                  <a:extLst>
                    <a:ext uri="{FF2B5EF4-FFF2-40B4-BE49-F238E27FC236}">
                      <a16:creationId xmlns:a16="http://schemas.microsoft.com/office/drawing/2014/main" id="{16534E7F-3F4A-4E80-BD02-B6423CEFF796}"/>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8" name="Rechthoek 237">
                  <a:extLst>
                    <a:ext uri="{FF2B5EF4-FFF2-40B4-BE49-F238E27FC236}">
                      <a16:creationId xmlns:a16="http://schemas.microsoft.com/office/drawing/2014/main" id="{8A97CE47-E8DA-40BC-B37C-0CBF7547B6DA}"/>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9" name="Rechthoek 238">
                  <a:extLst>
                    <a:ext uri="{FF2B5EF4-FFF2-40B4-BE49-F238E27FC236}">
                      <a16:creationId xmlns:a16="http://schemas.microsoft.com/office/drawing/2014/main" id="{98918B14-E8D7-4DBC-906D-163521338651}"/>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0" name="Rechthoek 239">
                  <a:extLst>
                    <a:ext uri="{FF2B5EF4-FFF2-40B4-BE49-F238E27FC236}">
                      <a16:creationId xmlns:a16="http://schemas.microsoft.com/office/drawing/2014/main" id="{F974A533-4184-4E95-986A-62F737001909}"/>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1" name="Rechthoek 240">
                  <a:extLst>
                    <a:ext uri="{FF2B5EF4-FFF2-40B4-BE49-F238E27FC236}">
                      <a16:creationId xmlns:a16="http://schemas.microsoft.com/office/drawing/2014/main" id="{E19DBA5D-9FA4-4D92-AE57-16A0A64CC14E}"/>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2" name="Rechthoek 241">
                  <a:extLst>
                    <a:ext uri="{FF2B5EF4-FFF2-40B4-BE49-F238E27FC236}">
                      <a16:creationId xmlns:a16="http://schemas.microsoft.com/office/drawing/2014/main" id="{5A4504C0-3B5E-4AA6-B42B-9D77F1C313E7}"/>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3" name="Rechthoek 242">
                  <a:extLst>
                    <a:ext uri="{FF2B5EF4-FFF2-40B4-BE49-F238E27FC236}">
                      <a16:creationId xmlns:a16="http://schemas.microsoft.com/office/drawing/2014/main" id="{C4774FD9-93D0-43C8-9146-6D3546E6D7BD}"/>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4" name="Rechthoek 243">
                  <a:extLst>
                    <a:ext uri="{FF2B5EF4-FFF2-40B4-BE49-F238E27FC236}">
                      <a16:creationId xmlns:a16="http://schemas.microsoft.com/office/drawing/2014/main" id="{7041CFF5-D851-40FF-9AE6-1C8987848FAE}"/>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5" name="Rechthoek 244">
                  <a:extLst>
                    <a:ext uri="{FF2B5EF4-FFF2-40B4-BE49-F238E27FC236}">
                      <a16:creationId xmlns:a16="http://schemas.microsoft.com/office/drawing/2014/main" id="{42E02C84-2C2F-4CF1-87A0-AE6DE87C7E11}"/>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6" name="Vrije vorm 145">
                  <a:extLst>
                    <a:ext uri="{FF2B5EF4-FFF2-40B4-BE49-F238E27FC236}">
                      <a16:creationId xmlns:a16="http://schemas.microsoft.com/office/drawing/2014/main" id="{0816ADA2-86B5-463F-833A-2E3394BDE388}"/>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194" name="Groep 193">
              <a:extLst>
                <a:ext uri="{FF2B5EF4-FFF2-40B4-BE49-F238E27FC236}">
                  <a16:creationId xmlns:a16="http://schemas.microsoft.com/office/drawing/2014/main" id="{19FCFEED-4417-4F45-8D0D-453B85655454}"/>
                </a:ext>
              </a:extLst>
            </p:cNvPr>
            <p:cNvGrpSpPr/>
            <p:nvPr userDrawn="1"/>
          </p:nvGrpSpPr>
          <p:grpSpPr>
            <a:xfrm>
              <a:off x="-2095303" y="1071657"/>
              <a:ext cx="435437" cy="427699"/>
              <a:chOff x="-1845083" y="758027"/>
              <a:chExt cx="633800" cy="622540"/>
            </a:xfrm>
          </p:grpSpPr>
          <p:sp>
            <p:nvSpPr>
              <p:cNvPr id="221" name="Afgeronde rechthoek 120">
                <a:extLst>
                  <a:ext uri="{FF2B5EF4-FFF2-40B4-BE49-F238E27FC236}">
                    <a16:creationId xmlns:a16="http://schemas.microsoft.com/office/drawing/2014/main" id="{327B2A07-8C1C-4794-AD73-E0AC3026D0EB}"/>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222" name="Groep 221">
                <a:extLst>
                  <a:ext uri="{FF2B5EF4-FFF2-40B4-BE49-F238E27FC236}">
                    <a16:creationId xmlns:a16="http://schemas.microsoft.com/office/drawing/2014/main" id="{82BAAAE4-AC72-4377-869C-67A7C4A7DF79}"/>
                  </a:ext>
                </a:extLst>
              </p:cNvPr>
              <p:cNvGrpSpPr/>
              <p:nvPr userDrawn="1"/>
            </p:nvGrpSpPr>
            <p:grpSpPr>
              <a:xfrm>
                <a:off x="-1737766" y="864082"/>
                <a:ext cx="419166" cy="410430"/>
                <a:chOff x="3708400" y="309013"/>
                <a:chExt cx="1901295" cy="1861668"/>
              </a:xfrm>
              <a:solidFill>
                <a:schemeClr val="tx1"/>
              </a:solidFill>
            </p:grpSpPr>
            <p:sp>
              <p:nvSpPr>
                <p:cNvPr id="223" name="Rechthoek 222">
                  <a:extLst>
                    <a:ext uri="{FF2B5EF4-FFF2-40B4-BE49-F238E27FC236}">
                      <a16:creationId xmlns:a16="http://schemas.microsoft.com/office/drawing/2014/main" id="{3788C76F-ED27-40E1-818F-433550B506C2}"/>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4" name="Rechthoek 223">
                  <a:extLst>
                    <a:ext uri="{FF2B5EF4-FFF2-40B4-BE49-F238E27FC236}">
                      <a16:creationId xmlns:a16="http://schemas.microsoft.com/office/drawing/2014/main" id="{24A6F2A1-F988-4907-BE49-39637B6E4C7F}"/>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5" name="Rechthoek 224">
                  <a:extLst>
                    <a:ext uri="{FF2B5EF4-FFF2-40B4-BE49-F238E27FC236}">
                      <a16:creationId xmlns:a16="http://schemas.microsoft.com/office/drawing/2014/main" id="{5CE3216E-4795-490B-8F08-643851503E61}"/>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6" name="Rechthoek 225">
                  <a:extLst>
                    <a:ext uri="{FF2B5EF4-FFF2-40B4-BE49-F238E27FC236}">
                      <a16:creationId xmlns:a16="http://schemas.microsoft.com/office/drawing/2014/main" id="{9E4E9E72-A672-433A-BB63-FFC079609E3B}"/>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7" name="Rechthoek 226">
                  <a:extLst>
                    <a:ext uri="{FF2B5EF4-FFF2-40B4-BE49-F238E27FC236}">
                      <a16:creationId xmlns:a16="http://schemas.microsoft.com/office/drawing/2014/main" id="{81302484-F3B9-4424-961B-CEB6DAB9D36D}"/>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8" name="Rechthoek 227">
                  <a:extLst>
                    <a:ext uri="{FF2B5EF4-FFF2-40B4-BE49-F238E27FC236}">
                      <a16:creationId xmlns:a16="http://schemas.microsoft.com/office/drawing/2014/main" id="{0A647C6F-D7CD-4B99-889C-B88A93A941CE}"/>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9" name="Rechthoek 228">
                  <a:extLst>
                    <a:ext uri="{FF2B5EF4-FFF2-40B4-BE49-F238E27FC236}">
                      <a16:creationId xmlns:a16="http://schemas.microsoft.com/office/drawing/2014/main" id="{9AD336B8-F937-4879-9BD1-A597DB1E961B}"/>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0" name="Rechthoek 229">
                  <a:extLst>
                    <a:ext uri="{FF2B5EF4-FFF2-40B4-BE49-F238E27FC236}">
                      <a16:creationId xmlns:a16="http://schemas.microsoft.com/office/drawing/2014/main" id="{32C86986-1AA8-45B6-9FC7-BA1FDC7608BE}"/>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1" name="Rechthoek 230">
                  <a:extLst>
                    <a:ext uri="{FF2B5EF4-FFF2-40B4-BE49-F238E27FC236}">
                      <a16:creationId xmlns:a16="http://schemas.microsoft.com/office/drawing/2014/main" id="{03E7705D-D8C8-4F81-A4F1-378D2FD8FC40}"/>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2" name="Rechthoek 231">
                  <a:extLst>
                    <a:ext uri="{FF2B5EF4-FFF2-40B4-BE49-F238E27FC236}">
                      <a16:creationId xmlns:a16="http://schemas.microsoft.com/office/drawing/2014/main" id="{E6F0318C-77C4-4D33-9733-0FF09C84FE07}"/>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3" name="Vrije vorm 132">
                  <a:extLst>
                    <a:ext uri="{FF2B5EF4-FFF2-40B4-BE49-F238E27FC236}">
                      <a16:creationId xmlns:a16="http://schemas.microsoft.com/office/drawing/2014/main" id="{7625DE47-D4E7-4482-ABC2-917B5484E128}"/>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195" name="Rechte verbindingslijn 194">
              <a:extLst>
                <a:ext uri="{FF2B5EF4-FFF2-40B4-BE49-F238E27FC236}">
                  <a16:creationId xmlns:a16="http://schemas.microsoft.com/office/drawing/2014/main" id="{6D2757B8-8B63-45B3-8E95-C2C0559BD2BC}"/>
                </a:ext>
              </a:extLst>
            </p:cNvPr>
            <p:cNvCxnSpPr>
              <a:stCxn id="197" idx="2"/>
              <a:endCxn id="221"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6" name="Rechte verbindingslijn 195">
              <a:extLst>
                <a:ext uri="{FF2B5EF4-FFF2-40B4-BE49-F238E27FC236}">
                  <a16:creationId xmlns:a16="http://schemas.microsoft.com/office/drawing/2014/main" id="{D9B37F15-45CF-46B9-89A1-70F50BAFF09D}"/>
                </a:ext>
              </a:extLst>
            </p:cNvPr>
            <p:cNvCxnSpPr>
              <a:stCxn id="198" idx="3"/>
              <a:endCxn id="234"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97" name="Ovaal 196">
              <a:extLst>
                <a:ext uri="{FF2B5EF4-FFF2-40B4-BE49-F238E27FC236}">
                  <a16:creationId xmlns:a16="http://schemas.microsoft.com/office/drawing/2014/main" id="{B61DAE91-868B-4662-BC04-6A627F4F7A1B}"/>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98" name="Ovaal 197">
              <a:extLst>
                <a:ext uri="{FF2B5EF4-FFF2-40B4-BE49-F238E27FC236}">
                  <a16:creationId xmlns:a16="http://schemas.microsoft.com/office/drawing/2014/main" id="{D89F31E4-EB9D-4E57-BE74-A17EF5C2D4D3}"/>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99" name="Textfield placeholder">
              <a:extLst>
                <a:ext uri="{FF2B5EF4-FFF2-40B4-BE49-F238E27FC236}">
                  <a16:creationId xmlns:a16="http://schemas.microsoft.com/office/drawing/2014/main" id="{3B5ABE71-8972-4D94-8663-99A7A0DA2950}"/>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200" name="Textfield placeholder">
              <a:extLst>
                <a:ext uri="{FF2B5EF4-FFF2-40B4-BE49-F238E27FC236}">
                  <a16:creationId xmlns:a16="http://schemas.microsoft.com/office/drawing/2014/main" id="{EF358FF0-1386-4E29-99AC-4E0F5251590C}"/>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201" name="Ovaal 200">
              <a:extLst>
                <a:ext uri="{FF2B5EF4-FFF2-40B4-BE49-F238E27FC236}">
                  <a16:creationId xmlns:a16="http://schemas.microsoft.com/office/drawing/2014/main" id="{899D9FEE-C122-460C-8046-EDC9F41D7EE5}"/>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202" name="Ovaal 201">
              <a:extLst>
                <a:ext uri="{FF2B5EF4-FFF2-40B4-BE49-F238E27FC236}">
                  <a16:creationId xmlns:a16="http://schemas.microsoft.com/office/drawing/2014/main" id="{FEE189B2-4623-40B1-8682-87112D9FF906}"/>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203" name="Ovaal 202">
              <a:extLst>
                <a:ext uri="{FF2B5EF4-FFF2-40B4-BE49-F238E27FC236}">
                  <a16:creationId xmlns:a16="http://schemas.microsoft.com/office/drawing/2014/main" id="{2D207429-AAA5-40F0-BDAD-0912D3E1BBC8}"/>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204" name="Ovaal 203">
              <a:extLst>
                <a:ext uri="{FF2B5EF4-FFF2-40B4-BE49-F238E27FC236}">
                  <a16:creationId xmlns:a16="http://schemas.microsoft.com/office/drawing/2014/main" id="{EEAB5E69-C8B2-45C9-82B3-36DB93A8AF13}"/>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205" name="Ovaal 204">
              <a:extLst>
                <a:ext uri="{FF2B5EF4-FFF2-40B4-BE49-F238E27FC236}">
                  <a16:creationId xmlns:a16="http://schemas.microsoft.com/office/drawing/2014/main" id="{648A1BE7-166D-4DF0-9541-5F9C848FF3D4}"/>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206" name="Textfield placeholder">
              <a:extLst>
                <a:ext uri="{FF2B5EF4-FFF2-40B4-BE49-F238E27FC236}">
                  <a16:creationId xmlns:a16="http://schemas.microsoft.com/office/drawing/2014/main" id="{CD847E2D-4799-4E7D-A962-0C8C5550C560}"/>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07" name="Textfield placeholder">
              <a:extLst>
                <a:ext uri="{FF2B5EF4-FFF2-40B4-BE49-F238E27FC236}">
                  <a16:creationId xmlns:a16="http://schemas.microsoft.com/office/drawing/2014/main" id="{4B0260F9-E838-4F3D-87A2-B5C15A862B4E}"/>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08" name="Textfield placeholder">
              <a:extLst>
                <a:ext uri="{FF2B5EF4-FFF2-40B4-BE49-F238E27FC236}">
                  <a16:creationId xmlns:a16="http://schemas.microsoft.com/office/drawing/2014/main" id="{9FDD821F-C5C7-421B-9475-6ED9338D066C}"/>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09" name="Textfield placeholder">
              <a:extLst>
                <a:ext uri="{FF2B5EF4-FFF2-40B4-BE49-F238E27FC236}">
                  <a16:creationId xmlns:a16="http://schemas.microsoft.com/office/drawing/2014/main" id="{0C501CB1-2CF3-4461-9807-EED0C18676BB}"/>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210" name="Textfield placeholder">
              <a:extLst>
                <a:ext uri="{FF2B5EF4-FFF2-40B4-BE49-F238E27FC236}">
                  <a16:creationId xmlns:a16="http://schemas.microsoft.com/office/drawing/2014/main" id="{26B4A174-0EB3-43F1-8FCF-5823C1D3E237}"/>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11" name="Groep 210">
              <a:extLst>
                <a:ext uri="{FF2B5EF4-FFF2-40B4-BE49-F238E27FC236}">
                  <a16:creationId xmlns:a16="http://schemas.microsoft.com/office/drawing/2014/main" id="{37420118-A4CC-4A68-BB80-C2DC6674A75B}"/>
                </a:ext>
              </a:extLst>
            </p:cNvPr>
            <p:cNvGrpSpPr/>
            <p:nvPr userDrawn="1"/>
          </p:nvGrpSpPr>
          <p:grpSpPr>
            <a:xfrm>
              <a:off x="-950342" y="1837957"/>
              <a:ext cx="687412" cy="3758146"/>
              <a:chOff x="-740196" y="1837957"/>
              <a:chExt cx="1374825" cy="3758146"/>
            </a:xfrm>
          </p:grpSpPr>
          <p:sp>
            <p:nvSpPr>
              <p:cNvPr id="212" name="Textfield placeholder">
                <a:extLst>
                  <a:ext uri="{FF2B5EF4-FFF2-40B4-BE49-F238E27FC236}">
                    <a16:creationId xmlns:a16="http://schemas.microsoft.com/office/drawing/2014/main" id="{0AAAAFF3-AE80-4FB8-A3D4-48827AD3B5A9}"/>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13" name="Textfield placeholder">
                <a:extLst>
                  <a:ext uri="{FF2B5EF4-FFF2-40B4-BE49-F238E27FC236}">
                    <a16:creationId xmlns:a16="http://schemas.microsoft.com/office/drawing/2014/main" id="{A25716E6-0F73-4515-820E-0088B5609DE0}"/>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14" name="Textfield placeholder">
                <a:extLst>
                  <a:ext uri="{FF2B5EF4-FFF2-40B4-BE49-F238E27FC236}">
                    <a16:creationId xmlns:a16="http://schemas.microsoft.com/office/drawing/2014/main" id="{DCCA80B4-5313-413D-AA71-C445268DB102}"/>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5" name="Textfield placeholder">
                <a:extLst>
                  <a:ext uri="{FF2B5EF4-FFF2-40B4-BE49-F238E27FC236}">
                    <a16:creationId xmlns:a16="http://schemas.microsoft.com/office/drawing/2014/main" id="{ED967D37-33DC-4F8F-8CAA-34499EF21BE2}"/>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216" name="Textfield placeholder">
                <a:extLst>
                  <a:ext uri="{FF2B5EF4-FFF2-40B4-BE49-F238E27FC236}">
                    <a16:creationId xmlns:a16="http://schemas.microsoft.com/office/drawing/2014/main" id="{4561EC12-73FE-474B-A284-BEE24D36E5C5}"/>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217" name="Textfield placeholder">
                <a:extLst>
                  <a:ext uri="{FF2B5EF4-FFF2-40B4-BE49-F238E27FC236}">
                    <a16:creationId xmlns:a16="http://schemas.microsoft.com/office/drawing/2014/main" id="{B12364DC-A9CF-43C0-8E04-B12E947FC122}"/>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8" name="Textfield placeholder">
                <a:extLst>
                  <a:ext uri="{FF2B5EF4-FFF2-40B4-BE49-F238E27FC236}">
                    <a16:creationId xmlns:a16="http://schemas.microsoft.com/office/drawing/2014/main" id="{B20D00A0-A2C8-4F93-B208-375F46C02452}"/>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9" name="Textfield placeholder">
                <a:extLst>
                  <a:ext uri="{FF2B5EF4-FFF2-40B4-BE49-F238E27FC236}">
                    <a16:creationId xmlns:a16="http://schemas.microsoft.com/office/drawing/2014/main" id="{F433623F-8165-4E78-B2EB-1581F004753E}"/>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220" name="Textfield placeholder">
                <a:extLst>
                  <a:ext uri="{FF2B5EF4-FFF2-40B4-BE49-F238E27FC236}">
                    <a16:creationId xmlns:a16="http://schemas.microsoft.com/office/drawing/2014/main" id="{567BECA2-18E8-4A84-91E0-F982CE0E0AD4}"/>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grpSp>
        <p:nvGrpSpPr>
          <p:cNvPr id="247" name="Groep 246">
            <a:extLst>
              <a:ext uri="{FF2B5EF4-FFF2-40B4-BE49-F238E27FC236}">
                <a16:creationId xmlns:a16="http://schemas.microsoft.com/office/drawing/2014/main" id="{175F4B50-553D-4727-A350-600B52DE1F55}"/>
              </a:ext>
            </a:extLst>
          </p:cNvPr>
          <p:cNvGrpSpPr/>
          <p:nvPr userDrawn="1"/>
        </p:nvGrpSpPr>
        <p:grpSpPr>
          <a:xfrm>
            <a:off x="12363871" y="-26002"/>
            <a:ext cx="3064812" cy="4530930"/>
            <a:chOff x="15419739" y="-26002"/>
            <a:chExt cx="3064812" cy="4530930"/>
          </a:xfrm>
        </p:grpSpPr>
        <p:sp>
          <p:nvSpPr>
            <p:cNvPr id="248" name="Tekstvak 33">
              <a:extLst>
                <a:ext uri="{FF2B5EF4-FFF2-40B4-BE49-F238E27FC236}">
                  <a16:creationId xmlns:a16="http://schemas.microsoft.com/office/drawing/2014/main" id="{402FB69E-A3CC-4641-9B32-7AB09B05C959}"/>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249" name="Tekstvak 33">
              <a:extLst>
                <a:ext uri="{FF2B5EF4-FFF2-40B4-BE49-F238E27FC236}">
                  <a16:creationId xmlns:a16="http://schemas.microsoft.com/office/drawing/2014/main" id="{3ABFB2E6-9FCA-4101-AFB3-28366B9AAA65}"/>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250" name="Ovaal 249">
              <a:extLst>
                <a:ext uri="{FF2B5EF4-FFF2-40B4-BE49-F238E27FC236}">
                  <a16:creationId xmlns:a16="http://schemas.microsoft.com/office/drawing/2014/main" id="{DD6291DB-06F3-4A43-9998-07988BCD60F8}"/>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251" name="Ovaal 250">
              <a:extLst>
                <a:ext uri="{FF2B5EF4-FFF2-40B4-BE49-F238E27FC236}">
                  <a16:creationId xmlns:a16="http://schemas.microsoft.com/office/drawing/2014/main" id="{021D2216-D0B6-4C85-8BA3-A2AEF2F376F3}"/>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252" name="Picture 3">
              <a:extLst>
                <a:ext uri="{FF2B5EF4-FFF2-40B4-BE49-F238E27FC236}">
                  <a16:creationId xmlns:a16="http://schemas.microsoft.com/office/drawing/2014/main" id="{A43A63C6-4F53-4938-84F7-71A4D419BC3B}"/>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53" name="Picture 3">
              <a:extLst>
                <a:ext uri="{FF2B5EF4-FFF2-40B4-BE49-F238E27FC236}">
                  <a16:creationId xmlns:a16="http://schemas.microsoft.com/office/drawing/2014/main" id="{E207D827-33A3-415F-B6AB-27D84339B423}"/>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54" name="Tekstvak 253">
              <a:extLst>
                <a:ext uri="{FF2B5EF4-FFF2-40B4-BE49-F238E27FC236}">
                  <a16:creationId xmlns:a16="http://schemas.microsoft.com/office/drawing/2014/main" id="{D125B444-2FA1-4669-8457-F025465E5875}"/>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255" name="Rechthoek 254">
              <a:extLst>
                <a:ext uri="{FF2B5EF4-FFF2-40B4-BE49-F238E27FC236}">
                  <a16:creationId xmlns:a16="http://schemas.microsoft.com/office/drawing/2014/main" id="{40632C77-BCA0-4457-882C-BA341324F525}"/>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256" name="Groep 255">
              <a:extLst>
                <a:ext uri="{FF2B5EF4-FFF2-40B4-BE49-F238E27FC236}">
                  <a16:creationId xmlns:a16="http://schemas.microsoft.com/office/drawing/2014/main" id="{E013ED7A-292D-4539-A6DA-BF278351AA00}"/>
                </a:ext>
              </a:extLst>
            </p:cNvPr>
            <p:cNvGrpSpPr/>
            <p:nvPr userDrawn="1"/>
          </p:nvGrpSpPr>
          <p:grpSpPr>
            <a:xfrm>
              <a:off x="15563079" y="358984"/>
              <a:ext cx="2489424" cy="4145944"/>
              <a:chOff x="15563079" y="358984"/>
              <a:chExt cx="2315772" cy="4145944"/>
            </a:xfrm>
          </p:grpSpPr>
          <p:cxnSp>
            <p:nvCxnSpPr>
              <p:cNvPr id="258" name="Rechte verbindingslijn 257">
                <a:extLst>
                  <a:ext uri="{FF2B5EF4-FFF2-40B4-BE49-F238E27FC236}">
                    <a16:creationId xmlns:a16="http://schemas.microsoft.com/office/drawing/2014/main" id="{BA5B8B8C-FDC9-4931-B4C7-7F0A881F6B2B}"/>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9" name="Rechte verbindingslijn 258">
                <a:extLst>
                  <a:ext uri="{FF2B5EF4-FFF2-40B4-BE49-F238E27FC236}">
                    <a16:creationId xmlns:a16="http://schemas.microsoft.com/office/drawing/2014/main" id="{4ABA9649-3C8C-4FE4-83C0-2A8BB48B2E38}"/>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0" name="Rechte verbindingslijn 259">
                <a:extLst>
                  <a:ext uri="{FF2B5EF4-FFF2-40B4-BE49-F238E27FC236}">
                    <a16:creationId xmlns:a16="http://schemas.microsoft.com/office/drawing/2014/main" id="{5203C02D-082C-4139-B60C-A2026FE43B29}"/>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57" name="Afbeelding 256">
              <a:extLst>
                <a:ext uri="{FF2B5EF4-FFF2-40B4-BE49-F238E27FC236}">
                  <a16:creationId xmlns:a16="http://schemas.microsoft.com/office/drawing/2014/main" id="{8F50405B-C272-4E1B-BB0B-A36F17A6BF9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3853037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kst Rechts + afbeelding (L)">
    <p:spTree>
      <p:nvGrpSpPr>
        <p:cNvPr id="1" name=""/>
        <p:cNvGrpSpPr/>
        <p:nvPr/>
      </p:nvGrpSpPr>
      <p:grpSpPr>
        <a:xfrm>
          <a:off x="0" y="0"/>
          <a:ext cx="0" cy="0"/>
          <a:chOff x="0" y="0"/>
          <a:chExt cx="0" cy="0"/>
        </a:xfrm>
      </p:grpSpPr>
      <p:sp>
        <p:nvSpPr>
          <p:cNvPr id="8" name="Rechthoek 7"/>
          <p:cNvSpPr/>
          <p:nvPr userDrawn="1"/>
        </p:nvSpPr>
        <p:spPr>
          <a:xfrm>
            <a:off x="0" y="1424256"/>
            <a:ext cx="7563017" cy="455812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p>
        </p:txBody>
      </p:sp>
      <p:sp>
        <p:nvSpPr>
          <p:cNvPr id="2" name="Titel 1"/>
          <p:cNvSpPr>
            <a:spLocks noGrp="1"/>
          </p:cNvSpPr>
          <p:nvPr>
            <p:ph type="title"/>
          </p:nvPr>
        </p:nvSpPr>
        <p:spPr/>
        <p:txBody>
          <a:bodyPr/>
          <a:lstStyle/>
          <a:p>
            <a:r>
              <a:rPr lang="nl-NL"/>
              <a:t>Klik om stijl te bewerken</a:t>
            </a:r>
            <a:endParaRPr lang="en-GB"/>
          </a:p>
        </p:txBody>
      </p:sp>
      <p:sp>
        <p:nvSpPr>
          <p:cNvPr id="3" name="Tijdelijke aanduiding voor verticale tekst 2"/>
          <p:cNvSpPr>
            <a:spLocks noGrp="1"/>
          </p:cNvSpPr>
          <p:nvPr>
            <p:ph type="body" orient="vert" idx="1"/>
          </p:nvPr>
        </p:nvSpPr>
        <p:spPr>
          <a:xfrm>
            <a:off x="8035604" y="1420100"/>
            <a:ext cx="4159571" cy="4297034"/>
          </a:xfrm>
        </p:spPr>
        <p:txBody>
          <a:bodyPr vert="horz"/>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10"/>
          </p:nvPr>
        </p:nvSpPr>
        <p:spPr/>
        <p:txBody>
          <a:bodyPr/>
          <a:lstStyle/>
          <a:p>
            <a:fld id="{E2BFF14C-FEFA-477F-8BD2-FB2582A56D9C}"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ijdelijke aanduiding voor afbeelding 2"/>
          <p:cNvSpPr>
            <a:spLocks noGrp="1"/>
          </p:cNvSpPr>
          <p:nvPr>
            <p:ph type="pic" idx="13"/>
          </p:nvPr>
        </p:nvSpPr>
        <p:spPr>
          <a:xfrm>
            <a:off x="0" y="1420098"/>
            <a:ext cx="7563015" cy="4558121"/>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10" name="Tekstvak 9"/>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Tekst Rechts + afbeelding (L) + onderschrift</a:t>
            </a:r>
          </a:p>
        </p:txBody>
      </p:sp>
      <p:sp>
        <p:nvSpPr>
          <p:cNvPr id="11" name="Tijdelijke aanduiding voor verticale tekst 2"/>
          <p:cNvSpPr>
            <a:spLocks noGrp="1"/>
          </p:cNvSpPr>
          <p:nvPr>
            <p:ph type="body" orient="vert" idx="14" hasCustomPrompt="1"/>
          </p:nvPr>
        </p:nvSpPr>
        <p:spPr>
          <a:xfrm>
            <a:off x="1" y="5476298"/>
            <a:ext cx="7563016" cy="504000"/>
          </a:xfrm>
          <a:solidFill>
            <a:schemeClr val="accent2"/>
          </a:solidFill>
        </p:spPr>
        <p:txBody>
          <a:bodyPr vert="horz" lIns="216000" tIns="36000" rIns="216000" bIns="0" anchor="ctr"/>
          <a:lstStyle>
            <a:lvl1pPr algn="r">
              <a:defRPr sz="1800" b="0">
                <a:solidFill>
                  <a:schemeClr val="tx2"/>
                </a:solidFill>
              </a:defRPr>
            </a:lvl1pPr>
          </a:lstStyle>
          <a:p>
            <a:pPr lvl="0"/>
            <a:r>
              <a:rPr lang="nl-NL" dirty="0"/>
              <a:t>Onderschrift</a:t>
            </a:r>
          </a:p>
        </p:txBody>
      </p:sp>
      <p:grpSp>
        <p:nvGrpSpPr>
          <p:cNvPr id="94" name="Groep 93">
            <a:extLst>
              <a:ext uri="{FF2B5EF4-FFF2-40B4-BE49-F238E27FC236}">
                <a16:creationId xmlns:a16="http://schemas.microsoft.com/office/drawing/2014/main" id="{C603C7F5-0AFE-4EA8-9B7E-7767EA5D98F3}"/>
              </a:ext>
            </a:extLst>
          </p:cNvPr>
          <p:cNvGrpSpPr/>
          <p:nvPr userDrawn="1"/>
        </p:nvGrpSpPr>
        <p:grpSpPr>
          <a:xfrm>
            <a:off x="12353686" y="0"/>
            <a:ext cx="2808312" cy="5805264"/>
            <a:chOff x="-2973833" y="0"/>
            <a:chExt cx="2808312" cy="5805264"/>
          </a:xfrm>
        </p:grpSpPr>
        <p:sp>
          <p:nvSpPr>
            <p:cNvPr id="178" name="Rechthoek 177">
              <a:extLst>
                <a:ext uri="{FF2B5EF4-FFF2-40B4-BE49-F238E27FC236}">
                  <a16:creationId xmlns:a16="http://schemas.microsoft.com/office/drawing/2014/main" id="{D5FA12D4-D3A7-41A5-9578-EBF933913C72}"/>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179" name="Textfield placeholder">
              <a:extLst>
                <a:ext uri="{FF2B5EF4-FFF2-40B4-BE49-F238E27FC236}">
                  <a16:creationId xmlns:a16="http://schemas.microsoft.com/office/drawing/2014/main" id="{F4A21FEF-394D-4B21-B598-DF51A7AF3ACD}"/>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180" name="Ovaal 179">
              <a:extLst>
                <a:ext uri="{FF2B5EF4-FFF2-40B4-BE49-F238E27FC236}">
                  <a16:creationId xmlns:a16="http://schemas.microsoft.com/office/drawing/2014/main" id="{91DC4AC0-10DA-4E97-AFE2-8A3F7C756502}"/>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181" name="Ovaal 180">
              <a:extLst>
                <a:ext uri="{FF2B5EF4-FFF2-40B4-BE49-F238E27FC236}">
                  <a16:creationId xmlns:a16="http://schemas.microsoft.com/office/drawing/2014/main" id="{B1EC6C87-D204-4D30-8E42-72A156919F81}"/>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182" name="Ovaal 181">
              <a:extLst>
                <a:ext uri="{FF2B5EF4-FFF2-40B4-BE49-F238E27FC236}">
                  <a16:creationId xmlns:a16="http://schemas.microsoft.com/office/drawing/2014/main" id="{2CC97C10-2FEE-46CC-B280-7EAE4FFBD609}"/>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183" name="Ovaal 182">
              <a:extLst>
                <a:ext uri="{FF2B5EF4-FFF2-40B4-BE49-F238E27FC236}">
                  <a16:creationId xmlns:a16="http://schemas.microsoft.com/office/drawing/2014/main" id="{27963F4F-21A4-4CD6-B8A2-4252F95F49A4}"/>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184" name="Textfield placeholder">
              <a:extLst>
                <a:ext uri="{FF2B5EF4-FFF2-40B4-BE49-F238E27FC236}">
                  <a16:creationId xmlns:a16="http://schemas.microsoft.com/office/drawing/2014/main" id="{B0E4CC89-01CE-44D0-A855-08B5BB82E74D}"/>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185" name="Textfield placeholder">
              <a:extLst>
                <a:ext uri="{FF2B5EF4-FFF2-40B4-BE49-F238E27FC236}">
                  <a16:creationId xmlns:a16="http://schemas.microsoft.com/office/drawing/2014/main" id="{6A63B35C-6B13-44C3-891E-F6ECEEC7156F}"/>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186" name="Textfield placeholder">
              <a:extLst>
                <a:ext uri="{FF2B5EF4-FFF2-40B4-BE49-F238E27FC236}">
                  <a16:creationId xmlns:a16="http://schemas.microsoft.com/office/drawing/2014/main" id="{A1B41407-518B-4F74-AD27-479C97C002E6}"/>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187" name="Rechte verbindingslijn 186">
              <a:extLst>
                <a:ext uri="{FF2B5EF4-FFF2-40B4-BE49-F238E27FC236}">
                  <a16:creationId xmlns:a16="http://schemas.microsoft.com/office/drawing/2014/main" id="{B0DA4D58-679E-44B2-B615-314FDA5AC50F}"/>
                </a:ext>
              </a:extLst>
            </p:cNvPr>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8" name="Rechte verbindingslijn 187">
              <a:extLst>
                <a:ext uri="{FF2B5EF4-FFF2-40B4-BE49-F238E27FC236}">
                  <a16:creationId xmlns:a16="http://schemas.microsoft.com/office/drawing/2014/main" id="{F83F3CD1-050A-4A1A-AFDE-14530122F4C7}"/>
                </a:ext>
              </a:extLst>
            </p:cNvPr>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9" name="Rechte verbindingslijn 188">
              <a:extLst>
                <a:ext uri="{FF2B5EF4-FFF2-40B4-BE49-F238E27FC236}">
                  <a16:creationId xmlns:a16="http://schemas.microsoft.com/office/drawing/2014/main" id="{0BBE6A0B-E755-45BD-9B3F-037EFCAE9C4E}"/>
                </a:ext>
              </a:extLst>
            </p:cNvPr>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190" name="Picture 3">
              <a:extLst>
                <a:ext uri="{FF2B5EF4-FFF2-40B4-BE49-F238E27FC236}">
                  <a16:creationId xmlns:a16="http://schemas.microsoft.com/office/drawing/2014/main" id="{9C414244-AB53-4584-B7FC-491CF933A865}"/>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1" name="Picture 4">
              <a:extLst>
                <a:ext uri="{FF2B5EF4-FFF2-40B4-BE49-F238E27FC236}">
                  <a16:creationId xmlns:a16="http://schemas.microsoft.com/office/drawing/2014/main" id="{E817BE5F-6AB4-4252-A6E8-640366783FC8}"/>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92" name="Groep 191">
              <a:extLst>
                <a:ext uri="{FF2B5EF4-FFF2-40B4-BE49-F238E27FC236}">
                  <a16:creationId xmlns:a16="http://schemas.microsoft.com/office/drawing/2014/main" id="{1A5E0D1E-C296-45A5-8029-B670BBAA533F}"/>
                </a:ext>
              </a:extLst>
            </p:cNvPr>
            <p:cNvGrpSpPr/>
            <p:nvPr userDrawn="1"/>
          </p:nvGrpSpPr>
          <p:grpSpPr>
            <a:xfrm>
              <a:off x="-2098870" y="523279"/>
              <a:ext cx="435437" cy="427699"/>
              <a:chOff x="-1085063" y="758027"/>
              <a:chExt cx="633800" cy="622540"/>
            </a:xfrm>
          </p:grpSpPr>
          <p:sp>
            <p:nvSpPr>
              <p:cNvPr id="233" name="Afgeronde rechthoek 133">
                <a:extLst>
                  <a:ext uri="{FF2B5EF4-FFF2-40B4-BE49-F238E27FC236}">
                    <a16:creationId xmlns:a16="http://schemas.microsoft.com/office/drawing/2014/main" id="{66CB8A8E-365B-479B-9A76-97D56F762D9A}"/>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234" name="Groep 233">
                <a:extLst>
                  <a:ext uri="{FF2B5EF4-FFF2-40B4-BE49-F238E27FC236}">
                    <a16:creationId xmlns:a16="http://schemas.microsoft.com/office/drawing/2014/main" id="{460E2CD0-6922-485E-B8FD-077548109927}"/>
                  </a:ext>
                </a:extLst>
              </p:cNvPr>
              <p:cNvGrpSpPr/>
              <p:nvPr userDrawn="1"/>
            </p:nvGrpSpPr>
            <p:grpSpPr>
              <a:xfrm>
                <a:off x="-977746" y="864082"/>
                <a:ext cx="419166" cy="410430"/>
                <a:chOff x="6366933" y="309013"/>
                <a:chExt cx="1901295" cy="1861668"/>
              </a:xfrm>
              <a:solidFill>
                <a:schemeClr val="tx1"/>
              </a:solidFill>
            </p:grpSpPr>
            <p:sp>
              <p:nvSpPr>
                <p:cNvPr id="235" name="Rechthoek 234">
                  <a:extLst>
                    <a:ext uri="{FF2B5EF4-FFF2-40B4-BE49-F238E27FC236}">
                      <a16:creationId xmlns:a16="http://schemas.microsoft.com/office/drawing/2014/main" id="{D5779893-45BE-4FB7-BED2-2613F33EDA2E}"/>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6" name="Rechthoek 235">
                  <a:extLst>
                    <a:ext uri="{FF2B5EF4-FFF2-40B4-BE49-F238E27FC236}">
                      <a16:creationId xmlns:a16="http://schemas.microsoft.com/office/drawing/2014/main" id="{0A3EA5C3-0A16-468E-9A77-B82D720ABBDA}"/>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7" name="Rechthoek 236">
                  <a:extLst>
                    <a:ext uri="{FF2B5EF4-FFF2-40B4-BE49-F238E27FC236}">
                      <a16:creationId xmlns:a16="http://schemas.microsoft.com/office/drawing/2014/main" id="{F72384C8-C7FA-452C-9194-F7E76CC67E4E}"/>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8" name="Rechthoek 237">
                  <a:extLst>
                    <a:ext uri="{FF2B5EF4-FFF2-40B4-BE49-F238E27FC236}">
                      <a16:creationId xmlns:a16="http://schemas.microsoft.com/office/drawing/2014/main" id="{FCD3468F-C7C8-4729-81E5-CFD8F6FCEC66}"/>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9" name="Rechthoek 238">
                  <a:extLst>
                    <a:ext uri="{FF2B5EF4-FFF2-40B4-BE49-F238E27FC236}">
                      <a16:creationId xmlns:a16="http://schemas.microsoft.com/office/drawing/2014/main" id="{EDABBB61-5CDE-4956-8837-AEF04850555C}"/>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0" name="Rechthoek 239">
                  <a:extLst>
                    <a:ext uri="{FF2B5EF4-FFF2-40B4-BE49-F238E27FC236}">
                      <a16:creationId xmlns:a16="http://schemas.microsoft.com/office/drawing/2014/main" id="{F05CAF46-1DBA-43F8-8ACC-57D1F741EEEA}"/>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1" name="Rechthoek 240">
                  <a:extLst>
                    <a:ext uri="{FF2B5EF4-FFF2-40B4-BE49-F238E27FC236}">
                      <a16:creationId xmlns:a16="http://schemas.microsoft.com/office/drawing/2014/main" id="{190D0A02-4C75-40C3-9BBB-32E3AA94C7E8}"/>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2" name="Rechthoek 241">
                  <a:extLst>
                    <a:ext uri="{FF2B5EF4-FFF2-40B4-BE49-F238E27FC236}">
                      <a16:creationId xmlns:a16="http://schemas.microsoft.com/office/drawing/2014/main" id="{35B3BDEC-49C8-4A7B-A013-5A80B0975279}"/>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3" name="Rechthoek 242">
                  <a:extLst>
                    <a:ext uri="{FF2B5EF4-FFF2-40B4-BE49-F238E27FC236}">
                      <a16:creationId xmlns:a16="http://schemas.microsoft.com/office/drawing/2014/main" id="{9D76A03B-0B2B-42B5-980F-10B873AADE3A}"/>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4" name="Rechthoek 243">
                  <a:extLst>
                    <a:ext uri="{FF2B5EF4-FFF2-40B4-BE49-F238E27FC236}">
                      <a16:creationId xmlns:a16="http://schemas.microsoft.com/office/drawing/2014/main" id="{B0B936B6-AC34-4642-8E80-A6CB7603127C}"/>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5" name="Vrije vorm 145">
                  <a:extLst>
                    <a:ext uri="{FF2B5EF4-FFF2-40B4-BE49-F238E27FC236}">
                      <a16:creationId xmlns:a16="http://schemas.microsoft.com/office/drawing/2014/main" id="{3E975FAA-19CB-4E36-8BDE-3D4F854AABD6}"/>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193" name="Groep 192">
              <a:extLst>
                <a:ext uri="{FF2B5EF4-FFF2-40B4-BE49-F238E27FC236}">
                  <a16:creationId xmlns:a16="http://schemas.microsoft.com/office/drawing/2014/main" id="{07C92253-CB18-47BE-851A-9E5C3364E08A}"/>
                </a:ext>
              </a:extLst>
            </p:cNvPr>
            <p:cNvGrpSpPr/>
            <p:nvPr userDrawn="1"/>
          </p:nvGrpSpPr>
          <p:grpSpPr>
            <a:xfrm>
              <a:off x="-2095303" y="1071657"/>
              <a:ext cx="435437" cy="427699"/>
              <a:chOff x="-1845083" y="758027"/>
              <a:chExt cx="633800" cy="622540"/>
            </a:xfrm>
          </p:grpSpPr>
          <p:sp>
            <p:nvSpPr>
              <p:cNvPr id="220" name="Afgeronde rechthoek 120">
                <a:extLst>
                  <a:ext uri="{FF2B5EF4-FFF2-40B4-BE49-F238E27FC236}">
                    <a16:creationId xmlns:a16="http://schemas.microsoft.com/office/drawing/2014/main" id="{281EA0AA-8483-41B1-8D6C-63302228A278}"/>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221" name="Groep 220">
                <a:extLst>
                  <a:ext uri="{FF2B5EF4-FFF2-40B4-BE49-F238E27FC236}">
                    <a16:creationId xmlns:a16="http://schemas.microsoft.com/office/drawing/2014/main" id="{985C5B2F-7F31-413A-9958-0C62335F92E1}"/>
                  </a:ext>
                </a:extLst>
              </p:cNvPr>
              <p:cNvGrpSpPr/>
              <p:nvPr userDrawn="1"/>
            </p:nvGrpSpPr>
            <p:grpSpPr>
              <a:xfrm>
                <a:off x="-1737766" y="864082"/>
                <a:ext cx="419166" cy="410430"/>
                <a:chOff x="3708400" y="309013"/>
                <a:chExt cx="1901295" cy="1861668"/>
              </a:xfrm>
              <a:solidFill>
                <a:schemeClr val="tx1"/>
              </a:solidFill>
            </p:grpSpPr>
            <p:sp>
              <p:nvSpPr>
                <p:cNvPr id="222" name="Rechthoek 221">
                  <a:extLst>
                    <a:ext uri="{FF2B5EF4-FFF2-40B4-BE49-F238E27FC236}">
                      <a16:creationId xmlns:a16="http://schemas.microsoft.com/office/drawing/2014/main" id="{31E651C0-F063-4FF2-B9CC-EAB005205D6B}"/>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3" name="Rechthoek 222">
                  <a:extLst>
                    <a:ext uri="{FF2B5EF4-FFF2-40B4-BE49-F238E27FC236}">
                      <a16:creationId xmlns:a16="http://schemas.microsoft.com/office/drawing/2014/main" id="{73C7C9BB-3D81-44F5-9E26-A8C6CFB74695}"/>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4" name="Rechthoek 223">
                  <a:extLst>
                    <a:ext uri="{FF2B5EF4-FFF2-40B4-BE49-F238E27FC236}">
                      <a16:creationId xmlns:a16="http://schemas.microsoft.com/office/drawing/2014/main" id="{4361ECCA-63A1-4F6A-94CE-BE97030201AA}"/>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5" name="Rechthoek 224">
                  <a:extLst>
                    <a:ext uri="{FF2B5EF4-FFF2-40B4-BE49-F238E27FC236}">
                      <a16:creationId xmlns:a16="http://schemas.microsoft.com/office/drawing/2014/main" id="{347F984A-C1CB-4EC0-8B22-43C724B96F91}"/>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6" name="Rechthoek 225">
                  <a:extLst>
                    <a:ext uri="{FF2B5EF4-FFF2-40B4-BE49-F238E27FC236}">
                      <a16:creationId xmlns:a16="http://schemas.microsoft.com/office/drawing/2014/main" id="{E48E34E4-A69E-426E-8385-F982490979F5}"/>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7" name="Rechthoek 226">
                  <a:extLst>
                    <a:ext uri="{FF2B5EF4-FFF2-40B4-BE49-F238E27FC236}">
                      <a16:creationId xmlns:a16="http://schemas.microsoft.com/office/drawing/2014/main" id="{47E82461-1621-47AA-9E0F-8C6BA69C98CA}"/>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8" name="Rechthoek 227">
                  <a:extLst>
                    <a:ext uri="{FF2B5EF4-FFF2-40B4-BE49-F238E27FC236}">
                      <a16:creationId xmlns:a16="http://schemas.microsoft.com/office/drawing/2014/main" id="{03C88864-46ED-4682-9660-F47EFE99BB3C}"/>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9" name="Rechthoek 228">
                  <a:extLst>
                    <a:ext uri="{FF2B5EF4-FFF2-40B4-BE49-F238E27FC236}">
                      <a16:creationId xmlns:a16="http://schemas.microsoft.com/office/drawing/2014/main" id="{68A72BAC-0D8B-4CCF-9FF3-7AAB10BA9AB5}"/>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0" name="Rechthoek 229">
                  <a:extLst>
                    <a:ext uri="{FF2B5EF4-FFF2-40B4-BE49-F238E27FC236}">
                      <a16:creationId xmlns:a16="http://schemas.microsoft.com/office/drawing/2014/main" id="{04856851-12EC-442C-A1A3-2251256E5C4E}"/>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1" name="Rechthoek 230">
                  <a:extLst>
                    <a:ext uri="{FF2B5EF4-FFF2-40B4-BE49-F238E27FC236}">
                      <a16:creationId xmlns:a16="http://schemas.microsoft.com/office/drawing/2014/main" id="{8C824CBB-9315-4E87-8D4A-AAAA83EA5E68}"/>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2" name="Vrije vorm 132">
                  <a:extLst>
                    <a:ext uri="{FF2B5EF4-FFF2-40B4-BE49-F238E27FC236}">
                      <a16:creationId xmlns:a16="http://schemas.microsoft.com/office/drawing/2014/main" id="{521C6783-8897-4DD1-AF62-4A43E76BE4D6}"/>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194" name="Rechte verbindingslijn 193">
              <a:extLst>
                <a:ext uri="{FF2B5EF4-FFF2-40B4-BE49-F238E27FC236}">
                  <a16:creationId xmlns:a16="http://schemas.microsoft.com/office/drawing/2014/main" id="{819D67A2-DD2E-4A6E-B606-E10B197F0653}"/>
                </a:ext>
              </a:extLst>
            </p:cNvPr>
            <p:cNvCxnSpPr>
              <a:stCxn id="196" idx="2"/>
              <a:endCxn id="220"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5" name="Rechte verbindingslijn 194">
              <a:extLst>
                <a:ext uri="{FF2B5EF4-FFF2-40B4-BE49-F238E27FC236}">
                  <a16:creationId xmlns:a16="http://schemas.microsoft.com/office/drawing/2014/main" id="{30CC2453-A70D-4665-A502-47C85EEC08FA}"/>
                </a:ext>
              </a:extLst>
            </p:cNvPr>
            <p:cNvCxnSpPr>
              <a:stCxn id="197" idx="3"/>
              <a:endCxn id="233"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96" name="Ovaal 195">
              <a:extLst>
                <a:ext uri="{FF2B5EF4-FFF2-40B4-BE49-F238E27FC236}">
                  <a16:creationId xmlns:a16="http://schemas.microsoft.com/office/drawing/2014/main" id="{3EC60F58-7371-4ADC-B169-A61055FEEF0D}"/>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97" name="Ovaal 196">
              <a:extLst>
                <a:ext uri="{FF2B5EF4-FFF2-40B4-BE49-F238E27FC236}">
                  <a16:creationId xmlns:a16="http://schemas.microsoft.com/office/drawing/2014/main" id="{5E2B4518-21D4-424E-9BBB-87C7CB411AE1}"/>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98" name="Textfield placeholder">
              <a:extLst>
                <a:ext uri="{FF2B5EF4-FFF2-40B4-BE49-F238E27FC236}">
                  <a16:creationId xmlns:a16="http://schemas.microsoft.com/office/drawing/2014/main" id="{890410EB-B64C-4461-BE6C-F798103E02BB}"/>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latin typeface="+mn-lt"/>
                </a:rPr>
                <a:t>Niveau</a:t>
              </a:r>
              <a:r>
                <a:rPr lang="en-GB" sz="1200" b="0" dirty="0">
                  <a:solidFill>
                    <a:schemeClr val="tx1"/>
                  </a:solidFill>
                  <a:latin typeface="+mn-lt"/>
                </a:rPr>
                <a:t> vooruit</a:t>
              </a:r>
            </a:p>
          </p:txBody>
        </p:sp>
        <p:sp>
          <p:nvSpPr>
            <p:cNvPr id="199" name="Textfield placeholder">
              <a:extLst>
                <a:ext uri="{FF2B5EF4-FFF2-40B4-BE49-F238E27FC236}">
                  <a16:creationId xmlns:a16="http://schemas.microsoft.com/office/drawing/2014/main" id="{DE749410-E861-41E5-B1C1-4ABBF85CC568}"/>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latin typeface="+mn-lt"/>
                </a:rPr>
                <a:t>Niveau</a:t>
              </a:r>
              <a:r>
                <a:rPr lang="en-GB" sz="1200" b="0" dirty="0">
                  <a:solidFill>
                    <a:schemeClr val="tx1"/>
                  </a:solidFill>
                  <a:latin typeface="+mn-lt"/>
                </a:rPr>
                <a:t> terug</a:t>
              </a:r>
            </a:p>
          </p:txBody>
        </p:sp>
        <p:sp>
          <p:nvSpPr>
            <p:cNvPr id="200" name="Ovaal 199">
              <a:extLst>
                <a:ext uri="{FF2B5EF4-FFF2-40B4-BE49-F238E27FC236}">
                  <a16:creationId xmlns:a16="http://schemas.microsoft.com/office/drawing/2014/main" id="{565691BD-689B-4EFA-BE81-9E476E87CAA2}"/>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201" name="Ovaal 200">
              <a:extLst>
                <a:ext uri="{FF2B5EF4-FFF2-40B4-BE49-F238E27FC236}">
                  <a16:creationId xmlns:a16="http://schemas.microsoft.com/office/drawing/2014/main" id="{2E90605D-9059-4AD7-BA15-FD6BFDCBCDFB}"/>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202" name="Ovaal 201">
              <a:extLst>
                <a:ext uri="{FF2B5EF4-FFF2-40B4-BE49-F238E27FC236}">
                  <a16:creationId xmlns:a16="http://schemas.microsoft.com/office/drawing/2014/main" id="{557C605A-1019-4F5E-8A15-D018BB1CA362}"/>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203" name="Ovaal 202">
              <a:extLst>
                <a:ext uri="{FF2B5EF4-FFF2-40B4-BE49-F238E27FC236}">
                  <a16:creationId xmlns:a16="http://schemas.microsoft.com/office/drawing/2014/main" id="{AA6286B2-09DE-4FEB-B34B-E6D029CFCC88}"/>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204" name="Ovaal 203">
              <a:extLst>
                <a:ext uri="{FF2B5EF4-FFF2-40B4-BE49-F238E27FC236}">
                  <a16:creationId xmlns:a16="http://schemas.microsoft.com/office/drawing/2014/main" id="{CA196278-06D7-423C-BEE9-162EB828BD38}"/>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205" name="Textfield placeholder">
              <a:extLst>
                <a:ext uri="{FF2B5EF4-FFF2-40B4-BE49-F238E27FC236}">
                  <a16:creationId xmlns:a16="http://schemas.microsoft.com/office/drawing/2014/main" id="{F0BEC048-EC5F-4EC1-B5F3-8742A0C6E19A}"/>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06" name="Textfield placeholder">
              <a:extLst>
                <a:ext uri="{FF2B5EF4-FFF2-40B4-BE49-F238E27FC236}">
                  <a16:creationId xmlns:a16="http://schemas.microsoft.com/office/drawing/2014/main" id="{69B2A92C-1352-480F-A78D-2A69D674EC18}"/>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07" name="Textfield placeholder">
              <a:extLst>
                <a:ext uri="{FF2B5EF4-FFF2-40B4-BE49-F238E27FC236}">
                  <a16:creationId xmlns:a16="http://schemas.microsoft.com/office/drawing/2014/main" id="{BCCD9606-965B-4A83-A08E-6978E63452D5}"/>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08" name="Textfield placeholder">
              <a:extLst>
                <a:ext uri="{FF2B5EF4-FFF2-40B4-BE49-F238E27FC236}">
                  <a16:creationId xmlns:a16="http://schemas.microsoft.com/office/drawing/2014/main" id="{B69CB865-1D73-441D-AEDE-ABD513742C55}"/>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209" name="Textfield placeholder">
              <a:extLst>
                <a:ext uri="{FF2B5EF4-FFF2-40B4-BE49-F238E27FC236}">
                  <a16:creationId xmlns:a16="http://schemas.microsoft.com/office/drawing/2014/main" id="{F7596182-6A3C-4EC4-888A-04D93DC03166}"/>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10" name="Groep 209">
              <a:extLst>
                <a:ext uri="{FF2B5EF4-FFF2-40B4-BE49-F238E27FC236}">
                  <a16:creationId xmlns:a16="http://schemas.microsoft.com/office/drawing/2014/main" id="{608D05BA-9E46-47E2-8C26-962813C1D96C}"/>
                </a:ext>
              </a:extLst>
            </p:cNvPr>
            <p:cNvGrpSpPr/>
            <p:nvPr userDrawn="1"/>
          </p:nvGrpSpPr>
          <p:grpSpPr>
            <a:xfrm>
              <a:off x="-950342" y="1837957"/>
              <a:ext cx="687412" cy="3758146"/>
              <a:chOff x="-740196" y="1837957"/>
              <a:chExt cx="1374825" cy="3758146"/>
            </a:xfrm>
          </p:grpSpPr>
          <p:sp>
            <p:nvSpPr>
              <p:cNvPr id="211" name="Textfield placeholder">
                <a:extLst>
                  <a:ext uri="{FF2B5EF4-FFF2-40B4-BE49-F238E27FC236}">
                    <a16:creationId xmlns:a16="http://schemas.microsoft.com/office/drawing/2014/main" id="{476C08D9-873E-4925-8B13-42A892A04437}"/>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12" name="Textfield placeholder">
                <a:extLst>
                  <a:ext uri="{FF2B5EF4-FFF2-40B4-BE49-F238E27FC236}">
                    <a16:creationId xmlns:a16="http://schemas.microsoft.com/office/drawing/2014/main" id="{7B9EE28B-F29C-4F1D-A9BA-5B977B0A3B71}"/>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13" name="Textfield placeholder">
                <a:extLst>
                  <a:ext uri="{FF2B5EF4-FFF2-40B4-BE49-F238E27FC236}">
                    <a16:creationId xmlns:a16="http://schemas.microsoft.com/office/drawing/2014/main" id="{E8FBEB91-8064-49C0-A8EE-02D50645986D}"/>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4" name="Textfield placeholder">
                <a:extLst>
                  <a:ext uri="{FF2B5EF4-FFF2-40B4-BE49-F238E27FC236}">
                    <a16:creationId xmlns:a16="http://schemas.microsoft.com/office/drawing/2014/main" id="{9BF693BF-AF1D-495D-A908-75B0B5939FFB}"/>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215" name="Textfield placeholder">
                <a:extLst>
                  <a:ext uri="{FF2B5EF4-FFF2-40B4-BE49-F238E27FC236}">
                    <a16:creationId xmlns:a16="http://schemas.microsoft.com/office/drawing/2014/main" id="{7F229BA5-CC49-46EC-A0DF-0F6CF3E3F0D7}"/>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216" name="Textfield placeholder">
                <a:extLst>
                  <a:ext uri="{FF2B5EF4-FFF2-40B4-BE49-F238E27FC236}">
                    <a16:creationId xmlns:a16="http://schemas.microsoft.com/office/drawing/2014/main" id="{512E9BC3-264A-4178-8F06-AC0E0A3A585D}"/>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7" name="Textfield placeholder">
                <a:extLst>
                  <a:ext uri="{FF2B5EF4-FFF2-40B4-BE49-F238E27FC236}">
                    <a16:creationId xmlns:a16="http://schemas.microsoft.com/office/drawing/2014/main" id="{754033EB-6818-4563-BC8C-882325A75C89}"/>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8" name="Textfield placeholder">
                <a:extLst>
                  <a:ext uri="{FF2B5EF4-FFF2-40B4-BE49-F238E27FC236}">
                    <a16:creationId xmlns:a16="http://schemas.microsoft.com/office/drawing/2014/main" id="{37C7B801-5560-4127-8100-0B3AC1A42015}"/>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219" name="Textfield placeholder">
                <a:extLst>
                  <a:ext uri="{FF2B5EF4-FFF2-40B4-BE49-F238E27FC236}">
                    <a16:creationId xmlns:a16="http://schemas.microsoft.com/office/drawing/2014/main" id="{414F6862-F25C-4F09-8C36-095515175203}"/>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grpSp>
        <p:nvGrpSpPr>
          <p:cNvPr id="260" name="Groep 259">
            <a:extLst>
              <a:ext uri="{FF2B5EF4-FFF2-40B4-BE49-F238E27FC236}">
                <a16:creationId xmlns:a16="http://schemas.microsoft.com/office/drawing/2014/main" id="{6EB89481-E6FB-4EFB-9108-B24CF43CCED4}"/>
              </a:ext>
            </a:extLst>
          </p:cNvPr>
          <p:cNvGrpSpPr/>
          <p:nvPr userDrawn="1"/>
        </p:nvGrpSpPr>
        <p:grpSpPr>
          <a:xfrm>
            <a:off x="-3205835" y="-26002"/>
            <a:ext cx="3064812" cy="4530930"/>
            <a:chOff x="15419739" y="-26002"/>
            <a:chExt cx="3064812" cy="4530930"/>
          </a:xfrm>
        </p:grpSpPr>
        <p:sp>
          <p:nvSpPr>
            <p:cNvPr id="261" name="Tekstvak 33">
              <a:extLst>
                <a:ext uri="{FF2B5EF4-FFF2-40B4-BE49-F238E27FC236}">
                  <a16:creationId xmlns:a16="http://schemas.microsoft.com/office/drawing/2014/main" id="{231A5FC1-D091-49F6-953D-7E837AB305FE}"/>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262" name="Tekstvak 33">
              <a:extLst>
                <a:ext uri="{FF2B5EF4-FFF2-40B4-BE49-F238E27FC236}">
                  <a16:creationId xmlns:a16="http://schemas.microsoft.com/office/drawing/2014/main" id="{11294DCD-98BD-4896-B9B0-13920A95A688}"/>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263" name="Ovaal 262">
              <a:extLst>
                <a:ext uri="{FF2B5EF4-FFF2-40B4-BE49-F238E27FC236}">
                  <a16:creationId xmlns:a16="http://schemas.microsoft.com/office/drawing/2014/main" id="{334BEC87-C286-4461-8193-63BA20A55773}"/>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264" name="Ovaal 263">
              <a:extLst>
                <a:ext uri="{FF2B5EF4-FFF2-40B4-BE49-F238E27FC236}">
                  <a16:creationId xmlns:a16="http://schemas.microsoft.com/office/drawing/2014/main" id="{CCC5B05A-F671-456D-B8A9-A50E7AA62322}"/>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265" name="Picture 3">
              <a:extLst>
                <a:ext uri="{FF2B5EF4-FFF2-40B4-BE49-F238E27FC236}">
                  <a16:creationId xmlns:a16="http://schemas.microsoft.com/office/drawing/2014/main" id="{603A281F-F0EB-40D2-A68E-BE296673695F}"/>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66" name="Picture 3">
              <a:extLst>
                <a:ext uri="{FF2B5EF4-FFF2-40B4-BE49-F238E27FC236}">
                  <a16:creationId xmlns:a16="http://schemas.microsoft.com/office/drawing/2014/main" id="{55323D51-FF47-4C26-8FA3-FD70987F1B54}"/>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67" name="Tekstvak 266">
              <a:extLst>
                <a:ext uri="{FF2B5EF4-FFF2-40B4-BE49-F238E27FC236}">
                  <a16:creationId xmlns:a16="http://schemas.microsoft.com/office/drawing/2014/main" id="{BD6821B7-1A62-49FA-8F65-FE52460930B1}"/>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268" name="Rechthoek 267">
              <a:extLst>
                <a:ext uri="{FF2B5EF4-FFF2-40B4-BE49-F238E27FC236}">
                  <a16:creationId xmlns:a16="http://schemas.microsoft.com/office/drawing/2014/main" id="{44BABA74-08BB-4742-B85E-8669185E1ED9}"/>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269" name="Groep 268">
              <a:extLst>
                <a:ext uri="{FF2B5EF4-FFF2-40B4-BE49-F238E27FC236}">
                  <a16:creationId xmlns:a16="http://schemas.microsoft.com/office/drawing/2014/main" id="{9EF4E413-13FA-431A-99B6-12321FAC3F55}"/>
                </a:ext>
              </a:extLst>
            </p:cNvPr>
            <p:cNvGrpSpPr/>
            <p:nvPr userDrawn="1"/>
          </p:nvGrpSpPr>
          <p:grpSpPr>
            <a:xfrm>
              <a:off x="15563079" y="358984"/>
              <a:ext cx="2489424" cy="4145944"/>
              <a:chOff x="15563079" y="358984"/>
              <a:chExt cx="2315772" cy="4145944"/>
            </a:xfrm>
          </p:grpSpPr>
          <p:cxnSp>
            <p:nvCxnSpPr>
              <p:cNvPr id="271" name="Rechte verbindingslijn 270">
                <a:extLst>
                  <a:ext uri="{FF2B5EF4-FFF2-40B4-BE49-F238E27FC236}">
                    <a16:creationId xmlns:a16="http://schemas.microsoft.com/office/drawing/2014/main" id="{890659EF-3418-4BC7-9BE0-7C06849DDBE2}"/>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2" name="Rechte verbindingslijn 271">
                <a:extLst>
                  <a:ext uri="{FF2B5EF4-FFF2-40B4-BE49-F238E27FC236}">
                    <a16:creationId xmlns:a16="http://schemas.microsoft.com/office/drawing/2014/main" id="{029736F7-433B-4E54-9F9C-C5A0999EC9C3}"/>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3" name="Rechte verbindingslijn 272">
                <a:extLst>
                  <a:ext uri="{FF2B5EF4-FFF2-40B4-BE49-F238E27FC236}">
                    <a16:creationId xmlns:a16="http://schemas.microsoft.com/office/drawing/2014/main" id="{A985CA0D-5380-447C-9F77-04AA26E2510C}"/>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70" name="Afbeelding 269">
              <a:extLst>
                <a:ext uri="{FF2B5EF4-FFF2-40B4-BE49-F238E27FC236}">
                  <a16:creationId xmlns:a16="http://schemas.microsoft.com/office/drawing/2014/main" id="{A351FE8E-1570-4BE6-AFF3-97D79F724BC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7483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kst Links + Object (S)">
    <p:spTree>
      <p:nvGrpSpPr>
        <p:cNvPr id="1" name=""/>
        <p:cNvGrpSpPr/>
        <p:nvPr/>
      </p:nvGrpSpPr>
      <p:grpSpPr>
        <a:xfrm>
          <a:off x="0" y="0"/>
          <a:ext cx="0" cy="0"/>
          <a:chOff x="0" y="0"/>
          <a:chExt cx="0" cy="0"/>
        </a:xfrm>
      </p:grpSpPr>
      <p:sp>
        <p:nvSpPr>
          <p:cNvPr id="168" name="Rechthoek 167"/>
          <p:cNvSpPr/>
          <p:nvPr userDrawn="1"/>
        </p:nvSpPr>
        <p:spPr>
          <a:xfrm>
            <a:off x="7435970" y="1422382"/>
            <a:ext cx="4759205" cy="455693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tel 1"/>
          <p:cNvSpPr>
            <a:spLocks noGrp="1"/>
          </p:cNvSpPr>
          <p:nvPr>
            <p:ph type="title"/>
          </p:nvPr>
        </p:nvSpPr>
        <p:spPr/>
        <p:txBody>
          <a:bodyPr/>
          <a:lstStyle/>
          <a:p>
            <a:r>
              <a:rPr lang="nl-NL"/>
              <a:t>Klik om stijl te bewerken</a:t>
            </a:r>
            <a:endParaRPr lang="en-GB" dirty="0"/>
          </a:p>
        </p:txBody>
      </p:sp>
      <p:sp>
        <p:nvSpPr>
          <p:cNvPr id="3" name="Tijdelijke aanduiding voor verticale tekst 2"/>
          <p:cNvSpPr>
            <a:spLocks noGrp="1"/>
          </p:cNvSpPr>
          <p:nvPr>
            <p:ph type="body" orient="vert" idx="1"/>
          </p:nvPr>
        </p:nvSpPr>
        <p:spPr>
          <a:xfrm>
            <a:off x="472587" y="1420099"/>
            <a:ext cx="6962189" cy="4556925"/>
          </a:xfrm>
        </p:spPr>
        <p:txBody>
          <a:bodyPr vert="horz"/>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10"/>
          </p:nvPr>
        </p:nvSpPr>
        <p:spPr/>
        <p:txBody>
          <a:bodyPr/>
          <a:lstStyle/>
          <a:p>
            <a:fld id="{4C4E1F0F-C2F0-484E-AD63-ECCE7CCF3C8E}"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9" name="Tijdelijke aanduiding voor inhoud 2"/>
          <p:cNvSpPr>
            <a:spLocks noGrp="1"/>
          </p:cNvSpPr>
          <p:nvPr>
            <p:ph idx="13"/>
          </p:nvPr>
        </p:nvSpPr>
        <p:spPr>
          <a:xfrm>
            <a:off x="7836512" y="1641026"/>
            <a:ext cx="3956928" cy="3586068"/>
          </a:xfrm>
          <a:noFill/>
        </p:spPr>
        <p:txBody>
          <a:bodyPr anchor="ctr"/>
          <a:lstStyle>
            <a:lvl1pPr algn="ctr">
              <a:defRPr sz="1200"/>
            </a:lvl1pPr>
          </a:lstStyle>
          <a:p>
            <a:pPr lvl="0"/>
            <a:r>
              <a:rPr lang="nl-NL"/>
              <a:t>Klikken om de tekststijl van het model te bewerken</a:t>
            </a:r>
          </a:p>
        </p:txBody>
      </p:sp>
      <p:sp>
        <p:nvSpPr>
          <p:cNvPr id="11" name="Tekstvak 10"/>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Tekst Links + Object (S) + onderschrift</a:t>
            </a:r>
          </a:p>
        </p:txBody>
      </p:sp>
      <p:sp>
        <p:nvSpPr>
          <p:cNvPr id="12" name="Tijdelijke aanduiding voor verticale tekst 2"/>
          <p:cNvSpPr>
            <a:spLocks noGrp="1"/>
          </p:cNvSpPr>
          <p:nvPr>
            <p:ph type="body" orient="vert" idx="14" hasCustomPrompt="1"/>
          </p:nvPr>
        </p:nvSpPr>
        <p:spPr>
          <a:xfrm>
            <a:off x="7434776" y="5475315"/>
            <a:ext cx="4759205" cy="504000"/>
          </a:xfrm>
          <a:solidFill>
            <a:schemeClr val="accent2"/>
          </a:solidFill>
        </p:spPr>
        <p:txBody>
          <a:bodyPr vert="horz" lIns="360000" tIns="36000" rIns="216000" bIns="0" anchor="ctr"/>
          <a:lstStyle>
            <a:lvl1pPr algn="l">
              <a:defRPr sz="1800" b="0">
                <a:solidFill>
                  <a:schemeClr val="tx2"/>
                </a:solidFill>
              </a:defRPr>
            </a:lvl1pPr>
          </a:lstStyle>
          <a:p>
            <a:pPr lvl="0"/>
            <a:r>
              <a:rPr lang="nl-NL" dirty="0"/>
              <a:t>Onderschrift</a:t>
            </a:r>
          </a:p>
        </p:txBody>
      </p:sp>
      <p:grpSp>
        <p:nvGrpSpPr>
          <p:cNvPr id="7" name="Groep 6"/>
          <p:cNvGrpSpPr/>
          <p:nvPr userDrawn="1"/>
        </p:nvGrpSpPr>
        <p:grpSpPr>
          <a:xfrm>
            <a:off x="12363871" y="-26002"/>
            <a:ext cx="3064812" cy="6864697"/>
            <a:chOff x="12363871" y="-26002"/>
            <a:chExt cx="3064812" cy="6864697"/>
          </a:xfrm>
        </p:grpSpPr>
        <p:sp>
          <p:nvSpPr>
            <p:cNvPr id="14" name="Tekstvak 33"/>
            <p:cNvSpPr txBox="1"/>
            <p:nvPr userDrawn="1"/>
          </p:nvSpPr>
          <p:spPr>
            <a:xfrm>
              <a:off x="12537681" y="1001584"/>
              <a:ext cx="2285302" cy="430887"/>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 om een grafiek in te voegen</a:t>
              </a:r>
            </a:p>
          </p:txBody>
        </p:sp>
        <p:sp>
          <p:nvSpPr>
            <p:cNvPr id="15" name="Tekstvak 33"/>
            <p:cNvSpPr txBox="1"/>
            <p:nvPr userDrawn="1"/>
          </p:nvSpPr>
          <p:spPr>
            <a:xfrm>
              <a:off x="12537681"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Selecteer de grafiek die u wilt invoegen en klik op </a:t>
              </a:r>
              <a:r>
                <a:rPr kumimoji="0" lang="nl-NL" sz="1400" b="1"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p>
          </p:txBody>
        </p:sp>
        <p:sp>
          <p:nvSpPr>
            <p:cNvPr id="16" name="Ovaal 15"/>
            <p:cNvSpPr/>
            <p:nvPr userDrawn="1"/>
          </p:nvSpPr>
          <p:spPr>
            <a:xfrm>
              <a:off x="12494665"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17" name="Ovaal 16"/>
            <p:cNvSpPr/>
            <p:nvPr userDrawn="1"/>
          </p:nvSpPr>
          <p:spPr>
            <a:xfrm>
              <a:off x="12494665"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18"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2535130"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19"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2604588"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0" name="Tekstvak 19"/>
            <p:cNvSpPr txBox="1"/>
            <p:nvPr userDrawn="1"/>
          </p:nvSpPr>
          <p:spPr>
            <a:xfrm>
              <a:off x="12560359" y="4020160"/>
              <a:ext cx="88636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outerShdw blurRad="25400" algn="ctr" rotWithShape="0">
                      <a:prstClr val="white"/>
                    </a:outerShdw>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outerShdw blurRad="25400" algn="ctr" rotWithShape="0">
                    <a:prstClr val="white"/>
                  </a:outerShdw>
                </a:effectLst>
                <a:uLnTx/>
                <a:uFillTx/>
                <a:latin typeface="+mj-lt"/>
              </a:endParaRPr>
            </a:p>
          </p:txBody>
        </p:sp>
        <p:sp>
          <p:nvSpPr>
            <p:cNvPr id="21" name="Rechthoek 20"/>
            <p:cNvSpPr/>
            <p:nvPr userDrawn="1"/>
          </p:nvSpPr>
          <p:spPr>
            <a:xfrm>
              <a:off x="12363871"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GRAFIEK INVOEGEN</a:t>
              </a:r>
            </a:p>
          </p:txBody>
        </p:sp>
        <p:cxnSp>
          <p:nvCxnSpPr>
            <p:cNvPr id="24" name="Rechte verbindingslijn 23"/>
            <p:cNvCxnSpPr/>
            <p:nvPr userDrawn="1"/>
          </p:nvCxnSpPr>
          <p:spPr>
            <a:xfrm>
              <a:off x="12507575" y="33168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userDrawn="1"/>
          </p:nvCxnSpPr>
          <p:spPr>
            <a:xfrm>
              <a:off x="12507211" y="253760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p:cNvCxnSpPr/>
            <p:nvPr userDrawn="1"/>
          </p:nvCxnSpPr>
          <p:spPr>
            <a:xfrm>
              <a:off x="12507575" y="4423040"/>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6" name="Rechte verbindingslijn 95"/>
            <p:cNvCxnSpPr/>
            <p:nvPr userDrawn="1"/>
          </p:nvCxnSpPr>
          <p:spPr>
            <a:xfrm>
              <a:off x="12507575" y="6838695"/>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Rechte verbindingslijn 94"/>
            <p:cNvCxnSpPr/>
            <p:nvPr userDrawn="1"/>
          </p:nvCxnSpPr>
          <p:spPr>
            <a:xfrm>
              <a:off x="12507211" y="4898666"/>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8" name="Groep 27"/>
            <p:cNvGrpSpPr/>
            <p:nvPr userDrawn="1"/>
          </p:nvGrpSpPr>
          <p:grpSpPr>
            <a:xfrm>
              <a:off x="12436353" y="1728359"/>
              <a:ext cx="689983" cy="573048"/>
              <a:chOff x="15171969" y="1587338"/>
              <a:chExt cx="755407" cy="627385"/>
            </a:xfrm>
          </p:grpSpPr>
          <p:sp>
            <p:nvSpPr>
              <p:cNvPr id="82" name="Rechthoek 962"/>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83" name="Groep 82"/>
              <p:cNvGrpSpPr/>
              <p:nvPr userDrawn="1"/>
            </p:nvGrpSpPr>
            <p:grpSpPr>
              <a:xfrm>
                <a:off x="15281106" y="1587338"/>
                <a:ext cx="511775" cy="560304"/>
                <a:chOff x="10604642" y="969717"/>
                <a:chExt cx="1290643" cy="1427163"/>
              </a:xfrm>
            </p:grpSpPr>
            <p:grpSp>
              <p:nvGrpSpPr>
                <p:cNvPr id="84" name="Group 879"/>
                <p:cNvGrpSpPr>
                  <a:grpSpLocks noChangeAspect="1"/>
                </p:cNvGrpSpPr>
                <p:nvPr userDrawn="1"/>
              </p:nvGrpSpPr>
              <p:grpSpPr bwMode="auto">
                <a:xfrm>
                  <a:off x="10604642" y="969717"/>
                  <a:ext cx="1290643" cy="1427163"/>
                  <a:chOff x="4798" y="1515"/>
                  <a:chExt cx="813" cy="899"/>
                </a:xfrm>
              </p:grpSpPr>
              <p:sp>
                <p:nvSpPr>
                  <p:cNvPr id="86" name="Freeform 886"/>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87" name="Rectangle 880"/>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88" name="Rectangle 881"/>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89" name="Freeform 882"/>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90" name="Freeform 883"/>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91" name="Freeform 884"/>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92" name="Rectangle 885"/>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93" name="Rectangle 887"/>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94" name="Freeform 888"/>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85" name="Vrije vorm 84"/>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29" name="Groep 28"/>
            <p:cNvGrpSpPr/>
            <p:nvPr userDrawn="1"/>
          </p:nvGrpSpPr>
          <p:grpSpPr>
            <a:xfrm>
              <a:off x="12548778" y="6003628"/>
              <a:ext cx="1980859" cy="542924"/>
              <a:chOff x="12390702" y="6054428"/>
              <a:chExt cx="1980859" cy="542924"/>
            </a:xfrm>
          </p:grpSpPr>
          <p:sp>
            <p:nvSpPr>
              <p:cNvPr id="48" name="Rechthoek 47"/>
              <p:cNvSpPr/>
              <p:nvPr/>
            </p:nvSpPr>
            <p:spPr>
              <a:xfrm>
                <a:off x="12402284" y="6054428"/>
                <a:ext cx="1969277" cy="542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49" name="Rechthoek 48"/>
              <p:cNvSpPr/>
              <p:nvPr/>
            </p:nvSpPr>
            <p:spPr>
              <a:xfrm>
                <a:off x="12662053" y="6062530"/>
                <a:ext cx="1452642" cy="261610"/>
              </a:xfrm>
              <a:prstGeom prst="rect">
                <a:avLst/>
              </a:prstGeom>
            </p:spPr>
            <p:txBody>
              <a:bodyPr wrap="none">
                <a:spAutoFit/>
              </a:bodyPr>
              <a:lstStyle/>
              <a:p>
                <a:r>
                  <a:rPr lang="en-US" sz="1100" dirty="0">
                    <a:latin typeface="+mn-lt"/>
                    <a:ea typeface="Adobe Heiti Std R" panose="020B0400000000000000" pitchFamily="34" charset="-128"/>
                    <a:cs typeface="Segoe UI Light" panose="020B0502040204020203" pitchFamily="34" charset="0"/>
                  </a:rPr>
                  <a:t>Ander </a:t>
                </a:r>
                <a:r>
                  <a:rPr lang="en-US" sz="1100" dirty="0" err="1">
                    <a:latin typeface="+mn-lt"/>
                    <a:ea typeface="Adobe Heiti Std R" panose="020B0400000000000000" pitchFamily="34" charset="-128"/>
                    <a:cs typeface="Segoe UI Light" panose="020B0502040204020203" pitchFamily="34" charset="0"/>
                  </a:rPr>
                  <a:t>grafiektype</a:t>
                </a:r>
                <a:r>
                  <a:rPr lang="en-US" sz="1100" dirty="0">
                    <a:latin typeface="+mn-lt"/>
                    <a:ea typeface="Adobe Heiti Std R" panose="020B0400000000000000" pitchFamily="34" charset="-128"/>
                    <a:cs typeface="Segoe UI Light" panose="020B0502040204020203" pitchFamily="34" charset="0"/>
                  </a:rPr>
                  <a:t>…</a:t>
                </a:r>
              </a:p>
            </p:txBody>
          </p:sp>
          <p:sp>
            <p:nvSpPr>
              <p:cNvPr id="50" name="Gelijkbenige driehoek 49"/>
              <p:cNvSpPr/>
              <p:nvPr/>
            </p:nvSpPr>
            <p:spPr>
              <a:xfrm rot="5400000">
                <a:off x="14210471" y="6150144"/>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n-lt"/>
                  <a:ea typeface="Adobe Heiti Std R" panose="020B0400000000000000" pitchFamily="34" charset="-128"/>
                  <a:cs typeface="Segoe UI Light" panose="020B0502040204020203" pitchFamily="34" charset="0"/>
                </a:endParaRPr>
              </a:p>
            </p:txBody>
          </p:sp>
          <p:sp>
            <p:nvSpPr>
              <p:cNvPr id="51" name="Afgeronde rechthoek 50"/>
              <p:cNvSpPr/>
              <p:nvPr/>
            </p:nvSpPr>
            <p:spPr>
              <a:xfrm>
                <a:off x="12390702" y="6322741"/>
                <a:ext cx="1973675" cy="268314"/>
              </a:xfrm>
              <a:prstGeom prst="roundRect">
                <a:avLst/>
              </a:prstGeom>
              <a:gradFill>
                <a:gsLst>
                  <a:gs pos="0">
                    <a:srgbClr val="FFF2BD"/>
                  </a:gs>
                  <a:gs pos="34000">
                    <a:srgbClr val="FFE98B"/>
                  </a:gs>
                  <a:gs pos="78000">
                    <a:srgbClr val="FFF5C9"/>
                  </a:gs>
                  <a:gs pos="59000">
                    <a:srgbClr val="FFE98B"/>
                  </a:gs>
                </a:gsLst>
                <a:lin ang="5400000" scaled="0"/>
              </a:gra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1200" dirty="0" err="1">
                    <a:solidFill>
                      <a:schemeClr val="tx1"/>
                    </a:solidFill>
                    <a:latin typeface="+mn-lt"/>
                    <a:ea typeface="Adobe Heiti Std R" panose="020B0400000000000000" pitchFamily="34" charset="-128"/>
                    <a:cs typeface="Segoe UI Light" panose="020B0502040204020203" pitchFamily="34" charset="0"/>
                  </a:rPr>
                  <a:t>Gegevens</a:t>
                </a:r>
                <a:r>
                  <a:rPr lang="en-US" sz="1200" dirty="0">
                    <a:solidFill>
                      <a:schemeClr val="tx1"/>
                    </a:solidFill>
                    <a:latin typeface="+mn-lt"/>
                    <a:ea typeface="Adobe Heiti Std R" panose="020B0400000000000000" pitchFamily="34" charset="-128"/>
                    <a:cs typeface="Segoe UI Light" panose="020B0502040204020203" pitchFamily="34" charset="0"/>
                  </a:rPr>
                  <a:t> </a:t>
                </a:r>
                <a:r>
                  <a:rPr lang="en-US" sz="1200" dirty="0" err="1">
                    <a:solidFill>
                      <a:schemeClr val="tx1"/>
                    </a:solidFill>
                    <a:latin typeface="+mn-lt"/>
                    <a:ea typeface="Adobe Heiti Std R" panose="020B0400000000000000" pitchFamily="34" charset="-128"/>
                    <a:cs typeface="Segoe UI Light" panose="020B0502040204020203" pitchFamily="34" charset="0"/>
                  </a:rPr>
                  <a:t>bewerken</a:t>
                </a:r>
                <a:r>
                  <a:rPr lang="en-US" sz="1200" dirty="0">
                    <a:solidFill>
                      <a:schemeClr val="tx1"/>
                    </a:solidFill>
                    <a:latin typeface="+mn-lt"/>
                    <a:ea typeface="Adobe Heiti Std R" panose="020B0400000000000000" pitchFamily="34" charset="-128"/>
                    <a:cs typeface="Segoe UI Light" panose="020B0502040204020203" pitchFamily="34" charset="0"/>
                  </a:rPr>
                  <a:t>…</a:t>
                </a:r>
              </a:p>
            </p:txBody>
          </p:sp>
          <p:grpSp>
            <p:nvGrpSpPr>
              <p:cNvPr id="52" name="Groep 51"/>
              <p:cNvGrpSpPr/>
              <p:nvPr/>
            </p:nvGrpSpPr>
            <p:grpSpPr>
              <a:xfrm>
                <a:off x="12461788" y="6100223"/>
                <a:ext cx="204691" cy="170000"/>
                <a:chOff x="15171969" y="1587338"/>
                <a:chExt cx="755407" cy="627385"/>
              </a:xfrm>
            </p:grpSpPr>
            <p:sp>
              <p:nvSpPr>
                <p:cNvPr id="69" name="Rechthoek 962"/>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70" name="Groep 69"/>
                <p:cNvGrpSpPr/>
                <p:nvPr userDrawn="1"/>
              </p:nvGrpSpPr>
              <p:grpSpPr>
                <a:xfrm>
                  <a:off x="15281106" y="1587338"/>
                  <a:ext cx="511775" cy="560304"/>
                  <a:chOff x="10604642" y="969717"/>
                  <a:chExt cx="1290643" cy="1427163"/>
                </a:xfrm>
              </p:grpSpPr>
              <p:grpSp>
                <p:nvGrpSpPr>
                  <p:cNvPr id="71" name="Group 879"/>
                  <p:cNvGrpSpPr>
                    <a:grpSpLocks noChangeAspect="1"/>
                  </p:cNvGrpSpPr>
                  <p:nvPr userDrawn="1"/>
                </p:nvGrpSpPr>
                <p:grpSpPr bwMode="auto">
                  <a:xfrm>
                    <a:off x="10604642" y="969717"/>
                    <a:ext cx="1290643" cy="1427163"/>
                    <a:chOff x="4798" y="1515"/>
                    <a:chExt cx="813" cy="899"/>
                  </a:xfrm>
                </p:grpSpPr>
                <p:sp>
                  <p:nvSpPr>
                    <p:cNvPr id="73" name="Freeform 886"/>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74" name="Rectangle 880"/>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75" name="Rectangle 881"/>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76" name="Freeform 882"/>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77" name="Freeform 883"/>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78" name="Freeform 884"/>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79" name="Rectangle 885"/>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80" name="Rectangle 887"/>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81" name="Freeform 888"/>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72" name="Vrije vorm 71"/>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53" name="Groep 52"/>
              <p:cNvGrpSpPr/>
              <p:nvPr/>
            </p:nvGrpSpPr>
            <p:grpSpPr>
              <a:xfrm>
                <a:off x="12468521" y="6356844"/>
                <a:ext cx="133446" cy="114786"/>
                <a:chOff x="14587469" y="6356844"/>
                <a:chExt cx="133446" cy="114786"/>
              </a:xfrm>
            </p:grpSpPr>
            <p:sp>
              <p:nvSpPr>
                <p:cNvPr id="59" name="Rectangle 6"/>
                <p:cNvSpPr>
                  <a:spLocks noChangeArrowheads="1"/>
                </p:cNvSpPr>
                <p:nvPr userDrawn="1"/>
              </p:nvSpPr>
              <p:spPr bwMode="auto">
                <a:xfrm>
                  <a:off x="14588703" y="6379233"/>
                  <a:ext cx="130780" cy="91699"/>
                </a:xfrm>
                <a:prstGeom prst="rect">
                  <a:avLst/>
                </a:prstGeom>
                <a:solidFill>
                  <a:srgbClr val="F2FAFF"/>
                </a:solidFill>
                <a:ln w="0">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60" name="Rectangle 15"/>
                <p:cNvSpPr>
                  <a:spLocks noChangeArrowheads="1"/>
                </p:cNvSpPr>
                <p:nvPr userDrawn="1"/>
              </p:nvSpPr>
              <p:spPr bwMode="auto">
                <a:xfrm>
                  <a:off x="14587469" y="6423761"/>
                  <a:ext cx="131076" cy="1446"/>
                </a:xfrm>
                <a:prstGeom prst="rect">
                  <a:avLst/>
                </a:prstGeom>
                <a:gradFill flip="none" rotWithShape="1">
                  <a:gsLst>
                    <a:gs pos="20000">
                      <a:srgbClr val="0039AC"/>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61" name="Freeform 14"/>
                <p:cNvSpPr>
                  <a:spLocks noEditPoints="1"/>
                </p:cNvSpPr>
                <p:nvPr userDrawn="1"/>
              </p:nvSpPr>
              <p:spPr bwMode="auto">
                <a:xfrm>
                  <a:off x="14588901" y="6356844"/>
                  <a:ext cx="132014" cy="114786"/>
                </a:xfrm>
                <a:custGeom>
                  <a:avLst/>
                  <a:gdLst>
                    <a:gd name="T0" fmla="*/ 48 w 5347"/>
                    <a:gd name="T1" fmla="*/ 48 h 4605"/>
                    <a:gd name="T2" fmla="*/ 48 w 5347"/>
                    <a:gd name="T3" fmla="*/ 4557 h 4605"/>
                    <a:gd name="T4" fmla="*/ 5299 w 5347"/>
                    <a:gd name="T5" fmla="*/ 4557 h 4605"/>
                    <a:gd name="T6" fmla="*/ 5299 w 5347"/>
                    <a:gd name="T7" fmla="*/ 48 h 4605"/>
                    <a:gd name="T8" fmla="*/ 48 w 5347"/>
                    <a:gd name="T9" fmla="*/ 48 h 4605"/>
                    <a:gd name="T10" fmla="*/ 0 w 5347"/>
                    <a:gd name="T11" fmla="*/ 0 h 4605"/>
                    <a:gd name="T12" fmla="*/ 5347 w 5347"/>
                    <a:gd name="T13" fmla="*/ 0 h 4605"/>
                    <a:gd name="T14" fmla="*/ 5347 w 5347"/>
                    <a:gd name="T15" fmla="*/ 4605 h 4605"/>
                    <a:gd name="T16" fmla="*/ 0 w 5347"/>
                    <a:gd name="T17" fmla="*/ 4605 h 4605"/>
                    <a:gd name="T18" fmla="*/ 0 w 5347"/>
                    <a:gd name="T19" fmla="*/ 0 h 4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7" h="4605">
                      <a:moveTo>
                        <a:pt x="48" y="48"/>
                      </a:moveTo>
                      <a:lnTo>
                        <a:pt x="48" y="4557"/>
                      </a:lnTo>
                      <a:lnTo>
                        <a:pt x="5299" y="4557"/>
                      </a:lnTo>
                      <a:lnTo>
                        <a:pt x="5299" y="48"/>
                      </a:lnTo>
                      <a:lnTo>
                        <a:pt x="48" y="48"/>
                      </a:lnTo>
                      <a:close/>
                      <a:moveTo>
                        <a:pt x="0" y="0"/>
                      </a:moveTo>
                      <a:lnTo>
                        <a:pt x="5347" y="0"/>
                      </a:lnTo>
                      <a:lnTo>
                        <a:pt x="5347" y="4605"/>
                      </a:lnTo>
                      <a:lnTo>
                        <a:pt x="0" y="4605"/>
                      </a:lnTo>
                      <a:lnTo>
                        <a:pt x="0" y="0"/>
                      </a:lnTo>
                      <a:close/>
                    </a:path>
                  </a:pathLst>
                </a:custGeom>
                <a:solidFill>
                  <a:srgbClr val="2E5D8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cxnSp>
              <p:nvCxnSpPr>
                <p:cNvPr id="62" name="Rechte verbindingslijn 61"/>
                <p:cNvCxnSpPr/>
                <p:nvPr userDrawn="1"/>
              </p:nvCxnSpPr>
              <p:spPr>
                <a:xfrm flipH="1">
                  <a:off x="14654334" y="6382168"/>
                  <a:ext cx="162"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3" name="Rechte verbindingslijn 62"/>
                <p:cNvCxnSpPr/>
                <p:nvPr userDrawn="1"/>
              </p:nvCxnSpPr>
              <p:spPr>
                <a:xfrm>
                  <a:off x="14689188" y="6382168"/>
                  <a:ext cx="0"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4" name="Rechte verbindingslijn 63"/>
                <p:cNvCxnSpPr/>
                <p:nvPr userDrawn="1"/>
              </p:nvCxnSpPr>
              <p:spPr>
                <a:xfrm>
                  <a:off x="14619892" y="6382040"/>
                  <a:ext cx="0" cy="8577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5" name="Rechte verbindingslijn 64"/>
                <p:cNvCxnSpPr/>
                <p:nvPr userDrawn="1"/>
              </p:nvCxnSpPr>
              <p:spPr>
                <a:xfrm flipH="1">
                  <a:off x="14593115" y="6400164"/>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6" name="Rechte verbindingslijn 65"/>
                <p:cNvCxnSpPr/>
                <p:nvPr userDrawn="1"/>
              </p:nvCxnSpPr>
              <p:spPr>
                <a:xfrm flipH="1">
                  <a:off x="14593115" y="6423860"/>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7" name="Rechte verbindingslijn 66"/>
                <p:cNvCxnSpPr/>
                <p:nvPr userDrawn="1"/>
              </p:nvCxnSpPr>
              <p:spPr>
                <a:xfrm flipH="1">
                  <a:off x="14593115" y="6447556"/>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8" name="Rectangle 13"/>
                <p:cNvSpPr>
                  <a:spLocks noChangeArrowheads="1"/>
                </p:cNvSpPr>
                <p:nvPr userDrawn="1"/>
              </p:nvSpPr>
              <p:spPr bwMode="auto">
                <a:xfrm>
                  <a:off x="14590283" y="6359138"/>
                  <a:ext cx="128657" cy="19347"/>
                </a:xfrm>
                <a:prstGeom prst="rect">
                  <a:avLst/>
                </a:prstGeom>
                <a:gradFill flip="none" rotWithShape="1">
                  <a:gsLst>
                    <a:gs pos="0">
                      <a:srgbClr val="1929FF"/>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grpSp>
          <p:grpSp>
            <p:nvGrpSpPr>
              <p:cNvPr id="54" name="Groep 53"/>
              <p:cNvGrpSpPr/>
              <p:nvPr/>
            </p:nvGrpSpPr>
            <p:grpSpPr>
              <a:xfrm>
                <a:off x="12529899" y="6421402"/>
                <a:ext cx="97399" cy="97399"/>
                <a:chOff x="14546483" y="5323041"/>
                <a:chExt cx="242460" cy="242460"/>
              </a:xfrm>
            </p:grpSpPr>
            <p:sp>
              <p:nvSpPr>
                <p:cNvPr id="55" name="Rechthoek 54"/>
                <p:cNvSpPr/>
                <p:nvPr userDrawn="1"/>
              </p:nvSpPr>
              <p:spPr>
                <a:xfrm>
                  <a:off x="14546483" y="5323041"/>
                  <a:ext cx="242460" cy="242460"/>
                </a:xfrm>
                <a:prstGeom prst="rect">
                  <a:avLst/>
                </a:prstGeom>
                <a:solidFill>
                  <a:schemeClr val="bg1"/>
                </a:solidFill>
                <a:ln w="6350">
                  <a:solidFill>
                    <a:srgbClr val="00A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nvGrpSpPr>
                <p:cNvPr id="56" name="Groep 55"/>
                <p:cNvGrpSpPr/>
                <p:nvPr/>
              </p:nvGrpSpPr>
              <p:grpSpPr>
                <a:xfrm>
                  <a:off x="14568035" y="5357818"/>
                  <a:ext cx="199836" cy="175226"/>
                  <a:chOff x="14559757" y="5349611"/>
                  <a:chExt cx="216392" cy="191641"/>
                </a:xfrm>
              </p:grpSpPr>
              <p:sp>
                <p:nvSpPr>
                  <p:cNvPr id="57" name="Parallellogram 56"/>
                  <p:cNvSpPr/>
                  <p:nvPr/>
                </p:nvSpPr>
                <p:spPr>
                  <a:xfrm>
                    <a:off x="14559757" y="5369222"/>
                    <a:ext cx="214316" cy="147762"/>
                  </a:xfrm>
                  <a:prstGeom prst="parallelogram">
                    <a:avLst>
                      <a:gd name="adj" fmla="val 93909"/>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58" name="Parallellogram 57"/>
                  <p:cNvSpPr/>
                  <p:nvPr/>
                </p:nvSpPr>
                <p:spPr>
                  <a:xfrm flipH="1">
                    <a:off x="14561833" y="5349611"/>
                    <a:ext cx="214316" cy="191641"/>
                  </a:xfrm>
                  <a:prstGeom prst="parallelogram">
                    <a:avLst>
                      <a:gd name="adj" fmla="val 68946"/>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grpSp>
        </p:grpSp>
        <p:sp>
          <p:nvSpPr>
            <p:cNvPr id="38" name="Tekstvak 33"/>
            <p:cNvSpPr txBox="1"/>
            <p:nvPr userDrawn="1"/>
          </p:nvSpPr>
          <p:spPr>
            <a:xfrm>
              <a:off x="12537681" y="5123358"/>
              <a:ext cx="2588841" cy="646331"/>
            </a:xfrm>
            <a:prstGeom prst="rect">
              <a:avLst/>
            </a:prstGeom>
            <a:noFill/>
          </p:spPr>
          <p:txBody>
            <a:bodyPr wrap="square" lIns="0" tIns="0" rIns="0" bIns="0" rtlCol="0" anchor="t">
              <a:spAutoFit/>
            </a:bodyPr>
            <a:lstStyle>
              <a:defPPr>
                <a:defRPr lang="nl-NL"/>
              </a:defPPr>
              <a:lvl1pPr marR="0" lvl="0" indent="0" defTabSz="914400" fontAlgn="auto">
                <a:lnSpc>
                  <a:spcPct val="100000"/>
                </a:lnSpc>
                <a:spcBef>
                  <a:spcPts val="0"/>
                </a:spcBef>
                <a:spcAft>
                  <a:spcPts val="0"/>
                </a:spcAft>
                <a:buClrTx/>
                <a:buSzTx/>
                <a:buFontTx/>
                <a:buNone/>
                <a:tabLst/>
                <a:defRPr kumimoji="0" sz="1400" b="0" i="0" u="none" strike="noStrike" kern="0" cap="none" spc="0" normalizeH="0" baseline="0">
                  <a:ln>
                    <a:noFill/>
                  </a:ln>
                  <a:effectLst/>
                  <a:uLnTx/>
                  <a:uFillTx/>
                  <a:latin typeface="Calibri"/>
                  <a:ea typeface="Tahoma" pitchFamily="34" charset="0"/>
                  <a:cs typeface="Arial" pitchFamily="34" charset="0"/>
                </a:defRPr>
              </a:lvl1pPr>
            </a:lstStyle>
            <a:p>
              <a:pPr lvl="0"/>
              <a:r>
                <a:rPr lang="nl-NL" dirty="0">
                  <a:solidFill>
                    <a:schemeClr val="tx2"/>
                  </a:solidFill>
                  <a:latin typeface="+mn-lt"/>
                </a:rPr>
                <a:t>Selecteer de grafiek, klik op de rechter muisknop en kies </a:t>
              </a:r>
              <a:r>
                <a:rPr lang="nl-NL" b="0" dirty="0">
                  <a:solidFill>
                    <a:schemeClr val="tx2"/>
                  </a:solidFill>
                  <a:latin typeface="+mj-lt"/>
                </a:rPr>
                <a:t>‘Gegevens bewerken’</a:t>
              </a:r>
            </a:p>
          </p:txBody>
        </p:sp>
        <p:sp>
          <p:nvSpPr>
            <p:cNvPr id="41" name="Rechthoek 40"/>
            <p:cNvSpPr/>
            <p:nvPr userDrawn="1"/>
          </p:nvSpPr>
          <p:spPr>
            <a:xfrm>
              <a:off x="12363871" y="4529047"/>
              <a:ext cx="2584447" cy="3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lvl="0"/>
              <a:r>
                <a:rPr lang="nl-NL" sz="1600" b="0" dirty="0">
                  <a:solidFill>
                    <a:schemeClr val="tx2"/>
                  </a:solidFill>
                  <a:latin typeface="+mj-lt"/>
                </a:rPr>
                <a:t>GRAFIEK BEWERKEN</a:t>
              </a:r>
            </a:p>
          </p:txBody>
        </p:sp>
        <p:pic>
          <p:nvPicPr>
            <p:cNvPr id="43" name="Picture 3"/>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4262557" y="6394752"/>
              <a:ext cx="158644" cy="256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36" name="Groep 235">
            <a:extLst>
              <a:ext uri="{FF2B5EF4-FFF2-40B4-BE49-F238E27FC236}">
                <a16:creationId xmlns:a16="http://schemas.microsoft.com/office/drawing/2014/main" id="{72315E2B-8F75-4BD4-B7CB-7A65A22DA394}"/>
              </a:ext>
            </a:extLst>
          </p:cNvPr>
          <p:cNvGrpSpPr/>
          <p:nvPr userDrawn="1"/>
        </p:nvGrpSpPr>
        <p:grpSpPr>
          <a:xfrm>
            <a:off x="-2973833" y="0"/>
            <a:ext cx="2808312" cy="5805264"/>
            <a:chOff x="-2973833" y="0"/>
            <a:chExt cx="2808312" cy="5805264"/>
          </a:xfrm>
        </p:grpSpPr>
        <p:sp>
          <p:nvSpPr>
            <p:cNvPr id="237" name="Rechthoek 236">
              <a:extLst>
                <a:ext uri="{FF2B5EF4-FFF2-40B4-BE49-F238E27FC236}">
                  <a16:creationId xmlns:a16="http://schemas.microsoft.com/office/drawing/2014/main" id="{1B789640-7F94-43AF-A6C0-111AF19D3E88}"/>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238" name="Textfield placeholder">
              <a:extLst>
                <a:ext uri="{FF2B5EF4-FFF2-40B4-BE49-F238E27FC236}">
                  <a16:creationId xmlns:a16="http://schemas.microsoft.com/office/drawing/2014/main" id="{422A3A04-BC44-456B-8802-24040335F08D}"/>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239" name="Ovaal 238">
              <a:extLst>
                <a:ext uri="{FF2B5EF4-FFF2-40B4-BE49-F238E27FC236}">
                  <a16:creationId xmlns:a16="http://schemas.microsoft.com/office/drawing/2014/main" id="{572DDB19-16CD-4EA4-AB73-E28F73D81205}"/>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240" name="Ovaal 239">
              <a:extLst>
                <a:ext uri="{FF2B5EF4-FFF2-40B4-BE49-F238E27FC236}">
                  <a16:creationId xmlns:a16="http://schemas.microsoft.com/office/drawing/2014/main" id="{7BB82505-4F3C-4D8F-A36C-4F9B21CA7908}"/>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241" name="Ovaal 240">
              <a:extLst>
                <a:ext uri="{FF2B5EF4-FFF2-40B4-BE49-F238E27FC236}">
                  <a16:creationId xmlns:a16="http://schemas.microsoft.com/office/drawing/2014/main" id="{618FBED9-6446-4CFD-92C3-92C5A5AC0B92}"/>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242" name="Ovaal 241">
              <a:extLst>
                <a:ext uri="{FF2B5EF4-FFF2-40B4-BE49-F238E27FC236}">
                  <a16:creationId xmlns:a16="http://schemas.microsoft.com/office/drawing/2014/main" id="{DE7B026C-B342-45FE-A23E-3B41264E6B69}"/>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243" name="Textfield placeholder">
              <a:extLst>
                <a:ext uri="{FF2B5EF4-FFF2-40B4-BE49-F238E27FC236}">
                  <a16:creationId xmlns:a16="http://schemas.microsoft.com/office/drawing/2014/main" id="{8A28E4A2-BB06-4AAC-BD0D-3E21FC4997F3}"/>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244" name="Textfield placeholder">
              <a:extLst>
                <a:ext uri="{FF2B5EF4-FFF2-40B4-BE49-F238E27FC236}">
                  <a16:creationId xmlns:a16="http://schemas.microsoft.com/office/drawing/2014/main" id="{75CF47F1-DC3C-47A3-AE3E-5E13DA05BB6D}"/>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245" name="Textfield placeholder">
              <a:extLst>
                <a:ext uri="{FF2B5EF4-FFF2-40B4-BE49-F238E27FC236}">
                  <a16:creationId xmlns:a16="http://schemas.microsoft.com/office/drawing/2014/main" id="{5A91D583-D1FD-4366-BE39-7EFA5BBE21B5}"/>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246" name="Rechte verbindingslijn 245">
              <a:extLst>
                <a:ext uri="{FF2B5EF4-FFF2-40B4-BE49-F238E27FC236}">
                  <a16:creationId xmlns:a16="http://schemas.microsoft.com/office/drawing/2014/main" id="{CC9EE25D-11CA-4858-8C70-D3A00AD19F77}"/>
                </a:ext>
              </a:extLst>
            </p:cNvPr>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7" name="Rechte verbindingslijn 246">
              <a:extLst>
                <a:ext uri="{FF2B5EF4-FFF2-40B4-BE49-F238E27FC236}">
                  <a16:creationId xmlns:a16="http://schemas.microsoft.com/office/drawing/2014/main" id="{27AA94E1-1C06-4ECA-9EF6-F9DC91B46AB8}"/>
                </a:ext>
              </a:extLst>
            </p:cNvPr>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8" name="Rechte verbindingslijn 247">
              <a:extLst>
                <a:ext uri="{FF2B5EF4-FFF2-40B4-BE49-F238E27FC236}">
                  <a16:creationId xmlns:a16="http://schemas.microsoft.com/office/drawing/2014/main" id="{C7F8EC8A-3F55-424E-A62B-373B4BDD0DD5}"/>
                </a:ext>
              </a:extLst>
            </p:cNvPr>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249" name="Picture 3">
              <a:extLst>
                <a:ext uri="{FF2B5EF4-FFF2-40B4-BE49-F238E27FC236}">
                  <a16:creationId xmlns:a16="http://schemas.microsoft.com/office/drawing/2014/main" id="{3FBF5F49-02CD-4755-B6FF-700984E59C60}"/>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0" name="Picture 4">
              <a:extLst>
                <a:ext uri="{FF2B5EF4-FFF2-40B4-BE49-F238E27FC236}">
                  <a16:creationId xmlns:a16="http://schemas.microsoft.com/office/drawing/2014/main" id="{84649DAE-1784-47C5-9E80-AF569F91E2E6}"/>
                </a:ext>
              </a:extLst>
            </p:cNvPr>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51" name="Groep 250">
              <a:extLst>
                <a:ext uri="{FF2B5EF4-FFF2-40B4-BE49-F238E27FC236}">
                  <a16:creationId xmlns:a16="http://schemas.microsoft.com/office/drawing/2014/main" id="{664646F1-2B2D-4341-81D7-49A09A6AFC5C}"/>
                </a:ext>
              </a:extLst>
            </p:cNvPr>
            <p:cNvGrpSpPr/>
            <p:nvPr userDrawn="1"/>
          </p:nvGrpSpPr>
          <p:grpSpPr>
            <a:xfrm>
              <a:off x="-2098870" y="523279"/>
              <a:ext cx="435437" cy="427699"/>
              <a:chOff x="-1085063" y="758027"/>
              <a:chExt cx="633800" cy="622540"/>
            </a:xfrm>
          </p:grpSpPr>
          <p:sp>
            <p:nvSpPr>
              <p:cNvPr id="292" name="Afgeronde rechthoek 133">
                <a:extLst>
                  <a:ext uri="{FF2B5EF4-FFF2-40B4-BE49-F238E27FC236}">
                    <a16:creationId xmlns:a16="http://schemas.microsoft.com/office/drawing/2014/main" id="{79AE3D20-B0E2-4E41-B9C5-86D02697494E}"/>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293" name="Groep 292">
                <a:extLst>
                  <a:ext uri="{FF2B5EF4-FFF2-40B4-BE49-F238E27FC236}">
                    <a16:creationId xmlns:a16="http://schemas.microsoft.com/office/drawing/2014/main" id="{BA26CFFB-8BC8-489E-9FDE-ECCA53DFA5AE}"/>
                  </a:ext>
                </a:extLst>
              </p:cNvPr>
              <p:cNvGrpSpPr/>
              <p:nvPr userDrawn="1"/>
            </p:nvGrpSpPr>
            <p:grpSpPr>
              <a:xfrm>
                <a:off x="-977746" y="864082"/>
                <a:ext cx="419166" cy="410430"/>
                <a:chOff x="6366933" y="309013"/>
                <a:chExt cx="1901295" cy="1861668"/>
              </a:xfrm>
              <a:solidFill>
                <a:schemeClr val="tx1"/>
              </a:solidFill>
            </p:grpSpPr>
            <p:sp>
              <p:nvSpPr>
                <p:cNvPr id="294" name="Rechthoek 293">
                  <a:extLst>
                    <a:ext uri="{FF2B5EF4-FFF2-40B4-BE49-F238E27FC236}">
                      <a16:creationId xmlns:a16="http://schemas.microsoft.com/office/drawing/2014/main" id="{118C7C45-AEC6-450D-8E08-9B54AF66C140}"/>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95" name="Rechthoek 294">
                  <a:extLst>
                    <a:ext uri="{FF2B5EF4-FFF2-40B4-BE49-F238E27FC236}">
                      <a16:creationId xmlns:a16="http://schemas.microsoft.com/office/drawing/2014/main" id="{25027059-B3FD-4B93-9D60-7F66BFCAC387}"/>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96" name="Rechthoek 295">
                  <a:extLst>
                    <a:ext uri="{FF2B5EF4-FFF2-40B4-BE49-F238E27FC236}">
                      <a16:creationId xmlns:a16="http://schemas.microsoft.com/office/drawing/2014/main" id="{B61C4E55-E8F2-495F-AD3B-EAE03CE59133}"/>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97" name="Rechthoek 296">
                  <a:extLst>
                    <a:ext uri="{FF2B5EF4-FFF2-40B4-BE49-F238E27FC236}">
                      <a16:creationId xmlns:a16="http://schemas.microsoft.com/office/drawing/2014/main" id="{5438FF58-9768-4637-996A-E355C67938FE}"/>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98" name="Rechthoek 297">
                  <a:extLst>
                    <a:ext uri="{FF2B5EF4-FFF2-40B4-BE49-F238E27FC236}">
                      <a16:creationId xmlns:a16="http://schemas.microsoft.com/office/drawing/2014/main" id="{B712C67A-9C07-420D-B911-D5AD04F33AA1}"/>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99" name="Rechthoek 298">
                  <a:extLst>
                    <a:ext uri="{FF2B5EF4-FFF2-40B4-BE49-F238E27FC236}">
                      <a16:creationId xmlns:a16="http://schemas.microsoft.com/office/drawing/2014/main" id="{F46CB821-B12C-4622-BACC-991E67D7B2D0}"/>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00" name="Rechthoek 299">
                  <a:extLst>
                    <a:ext uri="{FF2B5EF4-FFF2-40B4-BE49-F238E27FC236}">
                      <a16:creationId xmlns:a16="http://schemas.microsoft.com/office/drawing/2014/main" id="{13E33F94-3A32-4DC1-AAC2-E3FE4CB3AD99}"/>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01" name="Rechthoek 300">
                  <a:extLst>
                    <a:ext uri="{FF2B5EF4-FFF2-40B4-BE49-F238E27FC236}">
                      <a16:creationId xmlns:a16="http://schemas.microsoft.com/office/drawing/2014/main" id="{98905583-49E8-47FE-AD01-72E2AA92C042}"/>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02" name="Rechthoek 301">
                  <a:extLst>
                    <a:ext uri="{FF2B5EF4-FFF2-40B4-BE49-F238E27FC236}">
                      <a16:creationId xmlns:a16="http://schemas.microsoft.com/office/drawing/2014/main" id="{629B6BBA-1ACC-464D-8A28-0018DA968B5D}"/>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03" name="Rechthoek 302">
                  <a:extLst>
                    <a:ext uri="{FF2B5EF4-FFF2-40B4-BE49-F238E27FC236}">
                      <a16:creationId xmlns:a16="http://schemas.microsoft.com/office/drawing/2014/main" id="{BA469734-76DD-4089-9D8E-308DFC2FC296}"/>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04" name="Vrije vorm 145">
                  <a:extLst>
                    <a:ext uri="{FF2B5EF4-FFF2-40B4-BE49-F238E27FC236}">
                      <a16:creationId xmlns:a16="http://schemas.microsoft.com/office/drawing/2014/main" id="{75F3371E-1F02-4499-9859-21C2EFDAD663}"/>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252" name="Groep 251">
              <a:extLst>
                <a:ext uri="{FF2B5EF4-FFF2-40B4-BE49-F238E27FC236}">
                  <a16:creationId xmlns:a16="http://schemas.microsoft.com/office/drawing/2014/main" id="{90DA4962-8BED-4026-A44C-068EE1C549AE}"/>
                </a:ext>
              </a:extLst>
            </p:cNvPr>
            <p:cNvGrpSpPr/>
            <p:nvPr userDrawn="1"/>
          </p:nvGrpSpPr>
          <p:grpSpPr>
            <a:xfrm>
              <a:off x="-2095303" y="1071657"/>
              <a:ext cx="435437" cy="427699"/>
              <a:chOff x="-1845083" y="758027"/>
              <a:chExt cx="633800" cy="622540"/>
            </a:xfrm>
          </p:grpSpPr>
          <p:sp>
            <p:nvSpPr>
              <p:cNvPr id="279" name="Afgeronde rechthoek 120">
                <a:extLst>
                  <a:ext uri="{FF2B5EF4-FFF2-40B4-BE49-F238E27FC236}">
                    <a16:creationId xmlns:a16="http://schemas.microsoft.com/office/drawing/2014/main" id="{19CDE869-8257-45FB-AB9E-D2B08D09898D}"/>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280" name="Groep 279">
                <a:extLst>
                  <a:ext uri="{FF2B5EF4-FFF2-40B4-BE49-F238E27FC236}">
                    <a16:creationId xmlns:a16="http://schemas.microsoft.com/office/drawing/2014/main" id="{E65A2B40-A39C-4C12-BB48-26E1EA427477}"/>
                  </a:ext>
                </a:extLst>
              </p:cNvPr>
              <p:cNvGrpSpPr/>
              <p:nvPr userDrawn="1"/>
            </p:nvGrpSpPr>
            <p:grpSpPr>
              <a:xfrm>
                <a:off x="-1737766" y="864082"/>
                <a:ext cx="419166" cy="410430"/>
                <a:chOff x="3708400" y="309013"/>
                <a:chExt cx="1901295" cy="1861668"/>
              </a:xfrm>
              <a:solidFill>
                <a:schemeClr val="tx1"/>
              </a:solidFill>
            </p:grpSpPr>
            <p:sp>
              <p:nvSpPr>
                <p:cNvPr id="281" name="Rechthoek 280">
                  <a:extLst>
                    <a:ext uri="{FF2B5EF4-FFF2-40B4-BE49-F238E27FC236}">
                      <a16:creationId xmlns:a16="http://schemas.microsoft.com/office/drawing/2014/main" id="{E97C12B8-3E70-4384-B966-CBF699A1C8B9}"/>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2" name="Rechthoek 281">
                  <a:extLst>
                    <a:ext uri="{FF2B5EF4-FFF2-40B4-BE49-F238E27FC236}">
                      <a16:creationId xmlns:a16="http://schemas.microsoft.com/office/drawing/2014/main" id="{8D29B7D5-CACA-4D9D-A906-FFB2D1502691}"/>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3" name="Rechthoek 282">
                  <a:extLst>
                    <a:ext uri="{FF2B5EF4-FFF2-40B4-BE49-F238E27FC236}">
                      <a16:creationId xmlns:a16="http://schemas.microsoft.com/office/drawing/2014/main" id="{511C6DB0-390F-472C-ABAE-094CAD9136A6}"/>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4" name="Rechthoek 283">
                  <a:extLst>
                    <a:ext uri="{FF2B5EF4-FFF2-40B4-BE49-F238E27FC236}">
                      <a16:creationId xmlns:a16="http://schemas.microsoft.com/office/drawing/2014/main" id="{828E8A5D-ED72-48E3-A846-6F826E5D358D}"/>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5" name="Rechthoek 284">
                  <a:extLst>
                    <a:ext uri="{FF2B5EF4-FFF2-40B4-BE49-F238E27FC236}">
                      <a16:creationId xmlns:a16="http://schemas.microsoft.com/office/drawing/2014/main" id="{4730437A-481B-49BF-BA28-BFAA03F54263}"/>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6" name="Rechthoek 285">
                  <a:extLst>
                    <a:ext uri="{FF2B5EF4-FFF2-40B4-BE49-F238E27FC236}">
                      <a16:creationId xmlns:a16="http://schemas.microsoft.com/office/drawing/2014/main" id="{B3489232-3973-4CCF-BE9B-6F008FDFABFF}"/>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7" name="Rechthoek 286">
                  <a:extLst>
                    <a:ext uri="{FF2B5EF4-FFF2-40B4-BE49-F238E27FC236}">
                      <a16:creationId xmlns:a16="http://schemas.microsoft.com/office/drawing/2014/main" id="{99EA02EC-11A8-4FAD-AA2D-3B85A0B1A784}"/>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8" name="Rechthoek 287">
                  <a:extLst>
                    <a:ext uri="{FF2B5EF4-FFF2-40B4-BE49-F238E27FC236}">
                      <a16:creationId xmlns:a16="http://schemas.microsoft.com/office/drawing/2014/main" id="{C6B10FF6-9BD8-4CA7-9208-49574391FFD0}"/>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9" name="Rechthoek 288">
                  <a:extLst>
                    <a:ext uri="{FF2B5EF4-FFF2-40B4-BE49-F238E27FC236}">
                      <a16:creationId xmlns:a16="http://schemas.microsoft.com/office/drawing/2014/main" id="{FBEF4BC8-3A16-4752-9F0A-9E7C3BF8254F}"/>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90" name="Rechthoek 289">
                  <a:extLst>
                    <a:ext uri="{FF2B5EF4-FFF2-40B4-BE49-F238E27FC236}">
                      <a16:creationId xmlns:a16="http://schemas.microsoft.com/office/drawing/2014/main" id="{1095CF9E-BFC4-4300-9C57-D53CEA8C758B}"/>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91" name="Vrije vorm 132">
                  <a:extLst>
                    <a:ext uri="{FF2B5EF4-FFF2-40B4-BE49-F238E27FC236}">
                      <a16:creationId xmlns:a16="http://schemas.microsoft.com/office/drawing/2014/main" id="{8353228C-7DCE-4613-902A-44A464CA31BF}"/>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253" name="Rechte verbindingslijn 252">
              <a:extLst>
                <a:ext uri="{FF2B5EF4-FFF2-40B4-BE49-F238E27FC236}">
                  <a16:creationId xmlns:a16="http://schemas.microsoft.com/office/drawing/2014/main" id="{A29C73DA-FD92-4087-BE1A-CF48248DD7DB}"/>
                </a:ext>
              </a:extLst>
            </p:cNvPr>
            <p:cNvCxnSpPr>
              <a:stCxn id="255" idx="2"/>
              <a:endCxn id="279"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54" name="Rechte verbindingslijn 253">
              <a:extLst>
                <a:ext uri="{FF2B5EF4-FFF2-40B4-BE49-F238E27FC236}">
                  <a16:creationId xmlns:a16="http://schemas.microsoft.com/office/drawing/2014/main" id="{FE196879-6BEA-42EF-8265-DC01A64B1788}"/>
                </a:ext>
              </a:extLst>
            </p:cNvPr>
            <p:cNvCxnSpPr>
              <a:stCxn id="256" idx="3"/>
              <a:endCxn id="292"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55" name="Ovaal 254">
              <a:extLst>
                <a:ext uri="{FF2B5EF4-FFF2-40B4-BE49-F238E27FC236}">
                  <a16:creationId xmlns:a16="http://schemas.microsoft.com/office/drawing/2014/main" id="{02950497-940A-4935-99B3-8BE755E1979A}"/>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56" name="Ovaal 255">
              <a:extLst>
                <a:ext uri="{FF2B5EF4-FFF2-40B4-BE49-F238E27FC236}">
                  <a16:creationId xmlns:a16="http://schemas.microsoft.com/office/drawing/2014/main" id="{FF8A0023-A450-4EEB-83D2-89A43F4FCF6E}"/>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57" name="Textfield placeholder">
              <a:extLst>
                <a:ext uri="{FF2B5EF4-FFF2-40B4-BE49-F238E27FC236}">
                  <a16:creationId xmlns:a16="http://schemas.microsoft.com/office/drawing/2014/main" id="{F04FED96-D427-42D0-B9FE-6BEE1E0C5218}"/>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258" name="Textfield placeholder">
              <a:extLst>
                <a:ext uri="{FF2B5EF4-FFF2-40B4-BE49-F238E27FC236}">
                  <a16:creationId xmlns:a16="http://schemas.microsoft.com/office/drawing/2014/main" id="{836E3406-CA58-4C76-AC12-E6303BD3CE81}"/>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259" name="Ovaal 258">
              <a:extLst>
                <a:ext uri="{FF2B5EF4-FFF2-40B4-BE49-F238E27FC236}">
                  <a16:creationId xmlns:a16="http://schemas.microsoft.com/office/drawing/2014/main" id="{5D0E1E60-150B-494B-9FD7-F96FFC799255}"/>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260" name="Ovaal 259">
              <a:extLst>
                <a:ext uri="{FF2B5EF4-FFF2-40B4-BE49-F238E27FC236}">
                  <a16:creationId xmlns:a16="http://schemas.microsoft.com/office/drawing/2014/main" id="{4AC217F4-C215-43DD-B5B0-65EC1FF9B7C5}"/>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261" name="Ovaal 260">
              <a:extLst>
                <a:ext uri="{FF2B5EF4-FFF2-40B4-BE49-F238E27FC236}">
                  <a16:creationId xmlns:a16="http://schemas.microsoft.com/office/drawing/2014/main" id="{EE4699EC-145E-495D-8C6C-A9BA6BD0B1DB}"/>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262" name="Ovaal 261">
              <a:extLst>
                <a:ext uri="{FF2B5EF4-FFF2-40B4-BE49-F238E27FC236}">
                  <a16:creationId xmlns:a16="http://schemas.microsoft.com/office/drawing/2014/main" id="{60208C76-910A-4BFF-825B-18983CE449B8}"/>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263" name="Ovaal 262">
              <a:extLst>
                <a:ext uri="{FF2B5EF4-FFF2-40B4-BE49-F238E27FC236}">
                  <a16:creationId xmlns:a16="http://schemas.microsoft.com/office/drawing/2014/main" id="{7CD22950-88D9-400A-B3A9-4EA030D1A53E}"/>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264" name="Textfield placeholder">
              <a:extLst>
                <a:ext uri="{FF2B5EF4-FFF2-40B4-BE49-F238E27FC236}">
                  <a16:creationId xmlns:a16="http://schemas.microsoft.com/office/drawing/2014/main" id="{F34CB440-0D93-444C-8523-6DA804331CAC}"/>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65" name="Textfield placeholder">
              <a:extLst>
                <a:ext uri="{FF2B5EF4-FFF2-40B4-BE49-F238E27FC236}">
                  <a16:creationId xmlns:a16="http://schemas.microsoft.com/office/drawing/2014/main" id="{52284054-20AF-4DA9-961C-3D4AE1B34454}"/>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66" name="Textfield placeholder">
              <a:extLst>
                <a:ext uri="{FF2B5EF4-FFF2-40B4-BE49-F238E27FC236}">
                  <a16:creationId xmlns:a16="http://schemas.microsoft.com/office/drawing/2014/main" id="{4E4C23E3-3377-4C02-8E4F-7420D038C165}"/>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67" name="Textfield placeholder">
              <a:extLst>
                <a:ext uri="{FF2B5EF4-FFF2-40B4-BE49-F238E27FC236}">
                  <a16:creationId xmlns:a16="http://schemas.microsoft.com/office/drawing/2014/main" id="{1F5EAA21-7061-4DA3-9DB1-DD3391763DFF}"/>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268" name="Textfield placeholder">
              <a:extLst>
                <a:ext uri="{FF2B5EF4-FFF2-40B4-BE49-F238E27FC236}">
                  <a16:creationId xmlns:a16="http://schemas.microsoft.com/office/drawing/2014/main" id="{D0AB7CE8-349F-4FD7-ADB0-7420C07267D2}"/>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69" name="Groep 268">
              <a:extLst>
                <a:ext uri="{FF2B5EF4-FFF2-40B4-BE49-F238E27FC236}">
                  <a16:creationId xmlns:a16="http://schemas.microsoft.com/office/drawing/2014/main" id="{4D85C75F-CA31-4406-82DF-9A7F1A0D84C3}"/>
                </a:ext>
              </a:extLst>
            </p:cNvPr>
            <p:cNvGrpSpPr/>
            <p:nvPr userDrawn="1"/>
          </p:nvGrpSpPr>
          <p:grpSpPr>
            <a:xfrm>
              <a:off x="-950342" y="1837957"/>
              <a:ext cx="687412" cy="3758146"/>
              <a:chOff x="-740196" y="1837957"/>
              <a:chExt cx="1374825" cy="3758146"/>
            </a:xfrm>
          </p:grpSpPr>
          <p:sp>
            <p:nvSpPr>
              <p:cNvPr id="270" name="Textfield placeholder">
                <a:extLst>
                  <a:ext uri="{FF2B5EF4-FFF2-40B4-BE49-F238E27FC236}">
                    <a16:creationId xmlns:a16="http://schemas.microsoft.com/office/drawing/2014/main" id="{E57E31E0-F9C8-4B0A-B20C-736C1367718E}"/>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71" name="Textfield placeholder">
                <a:extLst>
                  <a:ext uri="{FF2B5EF4-FFF2-40B4-BE49-F238E27FC236}">
                    <a16:creationId xmlns:a16="http://schemas.microsoft.com/office/drawing/2014/main" id="{8716A0A7-34BB-4136-9772-28935914701F}"/>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72" name="Textfield placeholder">
                <a:extLst>
                  <a:ext uri="{FF2B5EF4-FFF2-40B4-BE49-F238E27FC236}">
                    <a16:creationId xmlns:a16="http://schemas.microsoft.com/office/drawing/2014/main" id="{A2C49E6D-2700-4940-843B-B3E5F909CDB4}"/>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73" name="Textfield placeholder">
                <a:extLst>
                  <a:ext uri="{FF2B5EF4-FFF2-40B4-BE49-F238E27FC236}">
                    <a16:creationId xmlns:a16="http://schemas.microsoft.com/office/drawing/2014/main" id="{F83D5653-500A-4D97-8928-A74AF0C14A63}"/>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274" name="Textfield placeholder">
                <a:extLst>
                  <a:ext uri="{FF2B5EF4-FFF2-40B4-BE49-F238E27FC236}">
                    <a16:creationId xmlns:a16="http://schemas.microsoft.com/office/drawing/2014/main" id="{AB6DD476-9A1B-4BF7-87C4-1A6D9ADC1ED3}"/>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275" name="Textfield placeholder">
                <a:extLst>
                  <a:ext uri="{FF2B5EF4-FFF2-40B4-BE49-F238E27FC236}">
                    <a16:creationId xmlns:a16="http://schemas.microsoft.com/office/drawing/2014/main" id="{08E55374-D89E-4CCC-8734-E1E30FCAC145}"/>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76" name="Textfield placeholder">
                <a:extLst>
                  <a:ext uri="{FF2B5EF4-FFF2-40B4-BE49-F238E27FC236}">
                    <a16:creationId xmlns:a16="http://schemas.microsoft.com/office/drawing/2014/main" id="{A3A72A99-D821-47EA-B658-A0CBF5C1B881}"/>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77" name="Textfield placeholder">
                <a:extLst>
                  <a:ext uri="{FF2B5EF4-FFF2-40B4-BE49-F238E27FC236}">
                    <a16:creationId xmlns:a16="http://schemas.microsoft.com/office/drawing/2014/main" id="{7517DBAA-1457-413F-8A31-C6ED7766D9BF}"/>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278" name="Textfield placeholder">
                <a:extLst>
                  <a:ext uri="{FF2B5EF4-FFF2-40B4-BE49-F238E27FC236}">
                    <a16:creationId xmlns:a16="http://schemas.microsoft.com/office/drawing/2014/main" id="{C025E034-3319-42DF-9745-83D30430331B}"/>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spTree>
    <p:extLst>
      <p:ext uri="{BB962C8B-B14F-4D97-AF65-F5344CB8AC3E}">
        <p14:creationId xmlns:p14="http://schemas.microsoft.com/office/powerpoint/2010/main" val="1381687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kst Rechts + Object (S)">
    <p:spTree>
      <p:nvGrpSpPr>
        <p:cNvPr id="1" name=""/>
        <p:cNvGrpSpPr/>
        <p:nvPr/>
      </p:nvGrpSpPr>
      <p:grpSpPr>
        <a:xfrm>
          <a:off x="0" y="0"/>
          <a:ext cx="0" cy="0"/>
          <a:chOff x="0" y="0"/>
          <a:chExt cx="0" cy="0"/>
        </a:xfrm>
      </p:grpSpPr>
      <p:grpSp>
        <p:nvGrpSpPr>
          <p:cNvPr id="286" name="Groep 285">
            <a:extLst>
              <a:ext uri="{FF2B5EF4-FFF2-40B4-BE49-F238E27FC236}">
                <a16:creationId xmlns:a16="http://schemas.microsoft.com/office/drawing/2014/main" id="{C317DED5-1E42-4366-8CAA-5E6D25D3AB9D}"/>
              </a:ext>
            </a:extLst>
          </p:cNvPr>
          <p:cNvGrpSpPr/>
          <p:nvPr userDrawn="1"/>
        </p:nvGrpSpPr>
        <p:grpSpPr>
          <a:xfrm>
            <a:off x="-3216859" y="-26002"/>
            <a:ext cx="3064812" cy="6864697"/>
            <a:chOff x="12363871" y="-26002"/>
            <a:chExt cx="3064812" cy="6864697"/>
          </a:xfrm>
        </p:grpSpPr>
        <p:sp>
          <p:nvSpPr>
            <p:cNvPr id="287" name="Tekstvak 33">
              <a:extLst>
                <a:ext uri="{FF2B5EF4-FFF2-40B4-BE49-F238E27FC236}">
                  <a16:creationId xmlns:a16="http://schemas.microsoft.com/office/drawing/2014/main" id="{4E916AC8-1349-4A95-A4DD-274E39F5C6CB}"/>
                </a:ext>
              </a:extLst>
            </p:cNvPr>
            <p:cNvSpPr txBox="1"/>
            <p:nvPr userDrawn="1"/>
          </p:nvSpPr>
          <p:spPr>
            <a:xfrm>
              <a:off x="12537681" y="1001584"/>
              <a:ext cx="2285302" cy="430887"/>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 om een grafiek in te voegen</a:t>
              </a:r>
            </a:p>
          </p:txBody>
        </p:sp>
        <p:sp>
          <p:nvSpPr>
            <p:cNvPr id="288" name="Tekstvak 33">
              <a:extLst>
                <a:ext uri="{FF2B5EF4-FFF2-40B4-BE49-F238E27FC236}">
                  <a16:creationId xmlns:a16="http://schemas.microsoft.com/office/drawing/2014/main" id="{B2A749D0-0BE2-4391-9885-1C374BE72923}"/>
                </a:ext>
              </a:extLst>
            </p:cNvPr>
            <p:cNvSpPr txBox="1"/>
            <p:nvPr userDrawn="1"/>
          </p:nvSpPr>
          <p:spPr>
            <a:xfrm>
              <a:off x="12537681"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Selecteer de grafiek die u wilt invoegen en klik op </a:t>
              </a:r>
              <a:r>
                <a:rPr kumimoji="0" lang="nl-NL" sz="1400" b="1"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p>
          </p:txBody>
        </p:sp>
        <p:sp>
          <p:nvSpPr>
            <p:cNvPr id="289" name="Ovaal 288">
              <a:extLst>
                <a:ext uri="{FF2B5EF4-FFF2-40B4-BE49-F238E27FC236}">
                  <a16:creationId xmlns:a16="http://schemas.microsoft.com/office/drawing/2014/main" id="{6B8DBE59-C098-4B0D-B32C-167B92870E50}"/>
                </a:ext>
              </a:extLst>
            </p:cNvPr>
            <p:cNvSpPr/>
            <p:nvPr userDrawn="1"/>
          </p:nvSpPr>
          <p:spPr>
            <a:xfrm>
              <a:off x="12494665"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290" name="Ovaal 289">
              <a:extLst>
                <a:ext uri="{FF2B5EF4-FFF2-40B4-BE49-F238E27FC236}">
                  <a16:creationId xmlns:a16="http://schemas.microsoft.com/office/drawing/2014/main" id="{8A84764E-D2AF-46EA-B347-7B658CA0D82E}"/>
                </a:ext>
              </a:extLst>
            </p:cNvPr>
            <p:cNvSpPr/>
            <p:nvPr userDrawn="1"/>
          </p:nvSpPr>
          <p:spPr>
            <a:xfrm>
              <a:off x="12494665"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291" name="Picture 3">
              <a:extLst>
                <a:ext uri="{FF2B5EF4-FFF2-40B4-BE49-F238E27FC236}">
                  <a16:creationId xmlns:a16="http://schemas.microsoft.com/office/drawing/2014/main" id="{E61E2C30-60B6-4D25-9713-4DE7C84844F8}"/>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2535130"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92" name="Picture 3">
              <a:extLst>
                <a:ext uri="{FF2B5EF4-FFF2-40B4-BE49-F238E27FC236}">
                  <a16:creationId xmlns:a16="http://schemas.microsoft.com/office/drawing/2014/main" id="{BE7E7210-7AA8-4F08-9408-433FF4904D93}"/>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2604588"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93" name="Tekstvak 292">
              <a:extLst>
                <a:ext uri="{FF2B5EF4-FFF2-40B4-BE49-F238E27FC236}">
                  <a16:creationId xmlns:a16="http://schemas.microsoft.com/office/drawing/2014/main" id="{C37C2272-2105-4763-B9D0-BD1C163B2C4C}"/>
                </a:ext>
              </a:extLst>
            </p:cNvPr>
            <p:cNvSpPr txBox="1"/>
            <p:nvPr userDrawn="1"/>
          </p:nvSpPr>
          <p:spPr>
            <a:xfrm>
              <a:off x="12560359" y="4020160"/>
              <a:ext cx="88636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outerShdw blurRad="25400" algn="ctr" rotWithShape="0">
                      <a:prstClr val="white"/>
                    </a:outerShdw>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outerShdw blurRad="25400" algn="ctr" rotWithShape="0">
                    <a:prstClr val="white"/>
                  </a:outerShdw>
                </a:effectLst>
                <a:uLnTx/>
                <a:uFillTx/>
                <a:latin typeface="+mj-lt"/>
              </a:endParaRPr>
            </a:p>
          </p:txBody>
        </p:sp>
        <p:sp>
          <p:nvSpPr>
            <p:cNvPr id="294" name="Rechthoek 293">
              <a:extLst>
                <a:ext uri="{FF2B5EF4-FFF2-40B4-BE49-F238E27FC236}">
                  <a16:creationId xmlns:a16="http://schemas.microsoft.com/office/drawing/2014/main" id="{8B83DF3F-883A-4AB3-8BBB-53F342389EEE}"/>
                </a:ext>
              </a:extLst>
            </p:cNvPr>
            <p:cNvSpPr/>
            <p:nvPr userDrawn="1"/>
          </p:nvSpPr>
          <p:spPr>
            <a:xfrm>
              <a:off x="12363871"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GRAFIEK INVOEGEN</a:t>
              </a:r>
            </a:p>
          </p:txBody>
        </p:sp>
        <p:cxnSp>
          <p:nvCxnSpPr>
            <p:cNvPr id="295" name="Rechte verbindingslijn 294">
              <a:extLst>
                <a:ext uri="{FF2B5EF4-FFF2-40B4-BE49-F238E27FC236}">
                  <a16:creationId xmlns:a16="http://schemas.microsoft.com/office/drawing/2014/main" id="{4AFDA0C8-3B88-4B35-9407-9A3D2108323F}"/>
                </a:ext>
              </a:extLst>
            </p:cNvPr>
            <p:cNvCxnSpPr/>
            <p:nvPr userDrawn="1"/>
          </p:nvCxnSpPr>
          <p:spPr>
            <a:xfrm>
              <a:off x="12507575" y="33168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6" name="Rechte verbindingslijn 295">
              <a:extLst>
                <a:ext uri="{FF2B5EF4-FFF2-40B4-BE49-F238E27FC236}">
                  <a16:creationId xmlns:a16="http://schemas.microsoft.com/office/drawing/2014/main" id="{961A0187-66BC-4570-833A-5DFBDF46CCB2}"/>
                </a:ext>
              </a:extLst>
            </p:cNvPr>
            <p:cNvCxnSpPr/>
            <p:nvPr userDrawn="1"/>
          </p:nvCxnSpPr>
          <p:spPr>
            <a:xfrm>
              <a:off x="12507211" y="253760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7" name="Rechte verbindingslijn 296">
              <a:extLst>
                <a:ext uri="{FF2B5EF4-FFF2-40B4-BE49-F238E27FC236}">
                  <a16:creationId xmlns:a16="http://schemas.microsoft.com/office/drawing/2014/main" id="{75DE0086-8DFD-4B16-9C3C-EBC14A75DD08}"/>
                </a:ext>
              </a:extLst>
            </p:cNvPr>
            <p:cNvCxnSpPr/>
            <p:nvPr userDrawn="1"/>
          </p:nvCxnSpPr>
          <p:spPr>
            <a:xfrm>
              <a:off x="12507575" y="4423040"/>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8" name="Rechte verbindingslijn 297">
              <a:extLst>
                <a:ext uri="{FF2B5EF4-FFF2-40B4-BE49-F238E27FC236}">
                  <a16:creationId xmlns:a16="http://schemas.microsoft.com/office/drawing/2014/main" id="{2EECA913-FB64-49FE-A77A-ADB72BDDF42B}"/>
                </a:ext>
              </a:extLst>
            </p:cNvPr>
            <p:cNvCxnSpPr/>
            <p:nvPr userDrawn="1"/>
          </p:nvCxnSpPr>
          <p:spPr>
            <a:xfrm>
              <a:off x="12507575" y="6838695"/>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9" name="Rechte verbindingslijn 298">
              <a:extLst>
                <a:ext uri="{FF2B5EF4-FFF2-40B4-BE49-F238E27FC236}">
                  <a16:creationId xmlns:a16="http://schemas.microsoft.com/office/drawing/2014/main" id="{C275FE71-4865-46E1-9D03-569CC1C92E4B}"/>
                </a:ext>
              </a:extLst>
            </p:cNvPr>
            <p:cNvCxnSpPr/>
            <p:nvPr userDrawn="1"/>
          </p:nvCxnSpPr>
          <p:spPr>
            <a:xfrm>
              <a:off x="12507211" y="4898666"/>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00" name="Groep 299">
              <a:extLst>
                <a:ext uri="{FF2B5EF4-FFF2-40B4-BE49-F238E27FC236}">
                  <a16:creationId xmlns:a16="http://schemas.microsoft.com/office/drawing/2014/main" id="{639E54CE-7A2C-40BF-AE85-D6CD6D1EA426}"/>
                </a:ext>
              </a:extLst>
            </p:cNvPr>
            <p:cNvGrpSpPr/>
            <p:nvPr userDrawn="1"/>
          </p:nvGrpSpPr>
          <p:grpSpPr>
            <a:xfrm>
              <a:off x="12436353" y="1728359"/>
              <a:ext cx="689983" cy="573048"/>
              <a:chOff x="15171969" y="1587338"/>
              <a:chExt cx="755407" cy="627385"/>
            </a:xfrm>
          </p:grpSpPr>
          <p:sp>
            <p:nvSpPr>
              <p:cNvPr id="339" name="Rechthoek 962">
                <a:extLst>
                  <a:ext uri="{FF2B5EF4-FFF2-40B4-BE49-F238E27FC236}">
                    <a16:creationId xmlns:a16="http://schemas.microsoft.com/office/drawing/2014/main" id="{F6A49889-38D0-4734-8655-46C716F000A4}"/>
                  </a:ext>
                </a:extLst>
              </p:cNvPr>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340" name="Groep 339">
                <a:extLst>
                  <a:ext uri="{FF2B5EF4-FFF2-40B4-BE49-F238E27FC236}">
                    <a16:creationId xmlns:a16="http://schemas.microsoft.com/office/drawing/2014/main" id="{20A96BEA-43B1-46B0-B9FF-4CA8DBDBA836}"/>
                  </a:ext>
                </a:extLst>
              </p:cNvPr>
              <p:cNvGrpSpPr/>
              <p:nvPr userDrawn="1"/>
            </p:nvGrpSpPr>
            <p:grpSpPr>
              <a:xfrm>
                <a:off x="15281106" y="1587338"/>
                <a:ext cx="511775" cy="560304"/>
                <a:chOff x="10604642" y="969717"/>
                <a:chExt cx="1290643" cy="1427163"/>
              </a:xfrm>
            </p:grpSpPr>
            <p:grpSp>
              <p:nvGrpSpPr>
                <p:cNvPr id="341" name="Group 879">
                  <a:extLst>
                    <a:ext uri="{FF2B5EF4-FFF2-40B4-BE49-F238E27FC236}">
                      <a16:creationId xmlns:a16="http://schemas.microsoft.com/office/drawing/2014/main" id="{6FE35825-E386-4B51-9C5A-F2D5F675D4D0}"/>
                    </a:ext>
                  </a:extLst>
                </p:cNvPr>
                <p:cNvGrpSpPr>
                  <a:grpSpLocks noChangeAspect="1"/>
                </p:cNvGrpSpPr>
                <p:nvPr userDrawn="1"/>
              </p:nvGrpSpPr>
              <p:grpSpPr bwMode="auto">
                <a:xfrm>
                  <a:off x="10604642" y="969717"/>
                  <a:ext cx="1290643" cy="1427163"/>
                  <a:chOff x="4798" y="1515"/>
                  <a:chExt cx="813" cy="899"/>
                </a:xfrm>
              </p:grpSpPr>
              <p:sp>
                <p:nvSpPr>
                  <p:cNvPr id="343" name="Freeform 886">
                    <a:extLst>
                      <a:ext uri="{FF2B5EF4-FFF2-40B4-BE49-F238E27FC236}">
                        <a16:creationId xmlns:a16="http://schemas.microsoft.com/office/drawing/2014/main" id="{DBFCA114-BCDA-4008-801E-953CB3FED89F}"/>
                      </a:ext>
                    </a:extLst>
                  </p:cNvPr>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44" name="Rectangle 880">
                    <a:extLst>
                      <a:ext uri="{FF2B5EF4-FFF2-40B4-BE49-F238E27FC236}">
                        <a16:creationId xmlns:a16="http://schemas.microsoft.com/office/drawing/2014/main" id="{61A247FE-5358-45DD-8683-339B07D7A9C0}"/>
                      </a:ext>
                    </a:extLst>
                  </p:cNvPr>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45" name="Rectangle 881">
                    <a:extLst>
                      <a:ext uri="{FF2B5EF4-FFF2-40B4-BE49-F238E27FC236}">
                        <a16:creationId xmlns:a16="http://schemas.microsoft.com/office/drawing/2014/main" id="{03D1F148-6E52-4D69-83FC-2E53D0580FCA}"/>
                      </a:ext>
                    </a:extLst>
                  </p:cNvPr>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46" name="Freeform 882">
                    <a:extLst>
                      <a:ext uri="{FF2B5EF4-FFF2-40B4-BE49-F238E27FC236}">
                        <a16:creationId xmlns:a16="http://schemas.microsoft.com/office/drawing/2014/main" id="{AF91B722-7FEC-4419-B7EA-3746D03C1A40}"/>
                      </a:ext>
                    </a:extLst>
                  </p:cNvPr>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47" name="Freeform 883">
                    <a:extLst>
                      <a:ext uri="{FF2B5EF4-FFF2-40B4-BE49-F238E27FC236}">
                        <a16:creationId xmlns:a16="http://schemas.microsoft.com/office/drawing/2014/main" id="{ACAA8906-CD31-4AEE-8823-C910EC09089D}"/>
                      </a:ext>
                    </a:extLst>
                  </p:cNvPr>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48" name="Freeform 884">
                    <a:extLst>
                      <a:ext uri="{FF2B5EF4-FFF2-40B4-BE49-F238E27FC236}">
                        <a16:creationId xmlns:a16="http://schemas.microsoft.com/office/drawing/2014/main" id="{3B867B17-27BA-4B1A-98A3-60C07850CEE9}"/>
                      </a:ext>
                    </a:extLst>
                  </p:cNvPr>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49" name="Rectangle 885">
                    <a:extLst>
                      <a:ext uri="{FF2B5EF4-FFF2-40B4-BE49-F238E27FC236}">
                        <a16:creationId xmlns:a16="http://schemas.microsoft.com/office/drawing/2014/main" id="{6735788A-ED24-402C-875E-F3132DE3200E}"/>
                      </a:ext>
                    </a:extLst>
                  </p:cNvPr>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50" name="Rectangle 887">
                    <a:extLst>
                      <a:ext uri="{FF2B5EF4-FFF2-40B4-BE49-F238E27FC236}">
                        <a16:creationId xmlns:a16="http://schemas.microsoft.com/office/drawing/2014/main" id="{89ED5BF9-2F93-4686-8E0B-4FF9B022F962}"/>
                      </a:ext>
                    </a:extLst>
                  </p:cNvPr>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51" name="Freeform 888">
                    <a:extLst>
                      <a:ext uri="{FF2B5EF4-FFF2-40B4-BE49-F238E27FC236}">
                        <a16:creationId xmlns:a16="http://schemas.microsoft.com/office/drawing/2014/main" id="{53F368CC-57CD-42BF-A5E5-6E2387048878}"/>
                      </a:ext>
                    </a:extLst>
                  </p:cNvPr>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342" name="Vrije vorm 84">
                  <a:extLst>
                    <a:ext uri="{FF2B5EF4-FFF2-40B4-BE49-F238E27FC236}">
                      <a16:creationId xmlns:a16="http://schemas.microsoft.com/office/drawing/2014/main" id="{18B9FC15-2BF0-4509-9703-0AD334DBC4CC}"/>
                    </a:ext>
                  </a:extLst>
                </p:cNvPr>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301" name="Groep 300">
              <a:extLst>
                <a:ext uri="{FF2B5EF4-FFF2-40B4-BE49-F238E27FC236}">
                  <a16:creationId xmlns:a16="http://schemas.microsoft.com/office/drawing/2014/main" id="{035B30AD-6D2F-4CCD-91C6-7C488E4485B1}"/>
                </a:ext>
              </a:extLst>
            </p:cNvPr>
            <p:cNvGrpSpPr/>
            <p:nvPr userDrawn="1"/>
          </p:nvGrpSpPr>
          <p:grpSpPr>
            <a:xfrm>
              <a:off x="12548778" y="6003628"/>
              <a:ext cx="1980859" cy="542924"/>
              <a:chOff x="12390702" y="6054428"/>
              <a:chExt cx="1980859" cy="542924"/>
            </a:xfrm>
          </p:grpSpPr>
          <p:sp>
            <p:nvSpPr>
              <p:cNvPr id="305" name="Rechthoek 304">
                <a:extLst>
                  <a:ext uri="{FF2B5EF4-FFF2-40B4-BE49-F238E27FC236}">
                    <a16:creationId xmlns:a16="http://schemas.microsoft.com/office/drawing/2014/main" id="{6E961609-0176-4623-82F6-82573F4284BD}"/>
                  </a:ext>
                </a:extLst>
              </p:cNvPr>
              <p:cNvSpPr/>
              <p:nvPr/>
            </p:nvSpPr>
            <p:spPr>
              <a:xfrm>
                <a:off x="12402284" y="6054428"/>
                <a:ext cx="1969277" cy="542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306" name="Rechthoek 305">
                <a:extLst>
                  <a:ext uri="{FF2B5EF4-FFF2-40B4-BE49-F238E27FC236}">
                    <a16:creationId xmlns:a16="http://schemas.microsoft.com/office/drawing/2014/main" id="{7B2F3F31-020F-4382-933F-86F9BE7DA1C6}"/>
                  </a:ext>
                </a:extLst>
              </p:cNvPr>
              <p:cNvSpPr/>
              <p:nvPr/>
            </p:nvSpPr>
            <p:spPr>
              <a:xfrm>
                <a:off x="12662053" y="6062530"/>
                <a:ext cx="1452642" cy="261610"/>
              </a:xfrm>
              <a:prstGeom prst="rect">
                <a:avLst/>
              </a:prstGeom>
            </p:spPr>
            <p:txBody>
              <a:bodyPr wrap="none">
                <a:spAutoFit/>
              </a:bodyPr>
              <a:lstStyle/>
              <a:p>
                <a:r>
                  <a:rPr lang="en-US" sz="1100" dirty="0">
                    <a:latin typeface="+mn-lt"/>
                    <a:ea typeface="Adobe Heiti Std R" panose="020B0400000000000000" pitchFamily="34" charset="-128"/>
                    <a:cs typeface="Segoe UI Light" panose="020B0502040204020203" pitchFamily="34" charset="0"/>
                  </a:rPr>
                  <a:t>Ander </a:t>
                </a:r>
                <a:r>
                  <a:rPr lang="en-US" sz="1100" dirty="0" err="1">
                    <a:latin typeface="+mn-lt"/>
                    <a:ea typeface="Adobe Heiti Std R" panose="020B0400000000000000" pitchFamily="34" charset="-128"/>
                    <a:cs typeface="Segoe UI Light" panose="020B0502040204020203" pitchFamily="34" charset="0"/>
                  </a:rPr>
                  <a:t>grafiektype</a:t>
                </a:r>
                <a:r>
                  <a:rPr lang="en-US" sz="1100" dirty="0">
                    <a:latin typeface="+mn-lt"/>
                    <a:ea typeface="Adobe Heiti Std R" panose="020B0400000000000000" pitchFamily="34" charset="-128"/>
                    <a:cs typeface="Segoe UI Light" panose="020B0502040204020203" pitchFamily="34" charset="0"/>
                  </a:rPr>
                  <a:t>…</a:t>
                </a:r>
              </a:p>
            </p:txBody>
          </p:sp>
          <p:sp>
            <p:nvSpPr>
              <p:cNvPr id="307" name="Gelijkbenige driehoek 306">
                <a:extLst>
                  <a:ext uri="{FF2B5EF4-FFF2-40B4-BE49-F238E27FC236}">
                    <a16:creationId xmlns:a16="http://schemas.microsoft.com/office/drawing/2014/main" id="{80E98EBC-9767-4C1A-BD96-8FD279A93A5D}"/>
                  </a:ext>
                </a:extLst>
              </p:cNvPr>
              <p:cNvSpPr/>
              <p:nvPr/>
            </p:nvSpPr>
            <p:spPr>
              <a:xfrm rot="5400000">
                <a:off x="14210471" y="6150144"/>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n-lt"/>
                  <a:ea typeface="Adobe Heiti Std R" panose="020B0400000000000000" pitchFamily="34" charset="-128"/>
                  <a:cs typeface="Segoe UI Light" panose="020B0502040204020203" pitchFamily="34" charset="0"/>
                </a:endParaRPr>
              </a:p>
            </p:txBody>
          </p:sp>
          <p:sp>
            <p:nvSpPr>
              <p:cNvPr id="308" name="Afgeronde rechthoek 50">
                <a:extLst>
                  <a:ext uri="{FF2B5EF4-FFF2-40B4-BE49-F238E27FC236}">
                    <a16:creationId xmlns:a16="http://schemas.microsoft.com/office/drawing/2014/main" id="{6EA2C2A2-14F7-455D-B638-A2FE5D9B5517}"/>
                  </a:ext>
                </a:extLst>
              </p:cNvPr>
              <p:cNvSpPr/>
              <p:nvPr/>
            </p:nvSpPr>
            <p:spPr>
              <a:xfrm>
                <a:off x="12390702" y="6322741"/>
                <a:ext cx="1973675" cy="268314"/>
              </a:xfrm>
              <a:prstGeom prst="roundRect">
                <a:avLst/>
              </a:prstGeom>
              <a:gradFill>
                <a:gsLst>
                  <a:gs pos="0">
                    <a:srgbClr val="FFF2BD"/>
                  </a:gs>
                  <a:gs pos="34000">
                    <a:srgbClr val="FFE98B"/>
                  </a:gs>
                  <a:gs pos="78000">
                    <a:srgbClr val="FFF5C9"/>
                  </a:gs>
                  <a:gs pos="59000">
                    <a:srgbClr val="FFE98B"/>
                  </a:gs>
                </a:gsLst>
                <a:lin ang="5400000" scaled="0"/>
              </a:gra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1200" dirty="0" err="1">
                    <a:solidFill>
                      <a:schemeClr val="tx1"/>
                    </a:solidFill>
                    <a:latin typeface="+mn-lt"/>
                    <a:ea typeface="Adobe Heiti Std R" panose="020B0400000000000000" pitchFamily="34" charset="-128"/>
                    <a:cs typeface="Segoe UI Light" panose="020B0502040204020203" pitchFamily="34" charset="0"/>
                  </a:rPr>
                  <a:t>Gegevens</a:t>
                </a:r>
                <a:r>
                  <a:rPr lang="en-US" sz="1200" dirty="0">
                    <a:solidFill>
                      <a:schemeClr val="tx1"/>
                    </a:solidFill>
                    <a:latin typeface="+mn-lt"/>
                    <a:ea typeface="Adobe Heiti Std R" panose="020B0400000000000000" pitchFamily="34" charset="-128"/>
                    <a:cs typeface="Segoe UI Light" panose="020B0502040204020203" pitchFamily="34" charset="0"/>
                  </a:rPr>
                  <a:t> </a:t>
                </a:r>
                <a:r>
                  <a:rPr lang="en-US" sz="1200" dirty="0" err="1">
                    <a:solidFill>
                      <a:schemeClr val="tx1"/>
                    </a:solidFill>
                    <a:latin typeface="+mn-lt"/>
                    <a:ea typeface="Adobe Heiti Std R" panose="020B0400000000000000" pitchFamily="34" charset="-128"/>
                    <a:cs typeface="Segoe UI Light" panose="020B0502040204020203" pitchFamily="34" charset="0"/>
                  </a:rPr>
                  <a:t>bewerken</a:t>
                </a:r>
                <a:r>
                  <a:rPr lang="en-US" sz="1200" dirty="0">
                    <a:solidFill>
                      <a:schemeClr val="tx1"/>
                    </a:solidFill>
                    <a:latin typeface="+mn-lt"/>
                    <a:ea typeface="Adobe Heiti Std R" panose="020B0400000000000000" pitchFamily="34" charset="-128"/>
                    <a:cs typeface="Segoe UI Light" panose="020B0502040204020203" pitchFamily="34" charset="0"/>
                  </a:rPr>
                  <a:t>…</a:t>
                </a:r>
              </a:p>
            </p:txBody>
          </p:sp>
          <p:grpSp>
            <p:nvGrpSpPr>
              <p:cNvPr id="309" name="Groep 308">
                <a:extLst>
                  <a:ext uri="{FF2B5EF4-FFF2-40B4-BE49-F238E27FC236}">
                    <a16:creationId xmlns:a16="http://schemas.microsoft.com/office/drawing/2014/main" id="{BC6CC625-4F8A-495B-A053-9500893F4DB3}"/>
                  </a:ext>
                </a:extLst>
              </p:cNvPr>
              <p:cNvGrpSpPr/>
              <p:nvPr/>
            </p:nvGrpSpPr>
            <p:grpSpPr>
              <a:xfrm>
                <a:off x="12461788" y="6100223"/>
                <a:ext cx="204691" cy="170000"/>
                <a:chOff x="15171969" y="1587338"/>
                <a:chExt cx="755407" cy="627385"/>
              </a:xfrm>
            </p:grpSpPr>
            <p:sp>
              <p:nvSpPr>
                <p:cNvPr id="326" name="Rechthoek 962">
                  <a:extLst>
                    <a:ext uri="{FF2B5EF4-FFF2-40B4-BE49-F238E27FC236}">
                      <a16:creationId xmlns:a16="http://schemas.microsoft.com/office/drawing/2014/main" id="{6C11DD7B-FCAB-4E03-BA48-DFED3FE748AE}"/>
                    </a:ext>
                  </a:extLst>
                </p:cNvPr>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327" name="Groep 326">
                  <a:extLst>
                    <a:ext uri="{FF2B5EF4-FFF2-40B4-BE49-F238E27FC236}">
                      <a16:creationId xmlns:a16="http://schemas.microsoft.com/office/drawing/2014/main" id="{2755423E-6A0F-4E17-9CB5-2DE3CB3C5F25}"/>
                    </a:ext>
                  </a:extLst>
                </p:cNvPr>
                <p:cNvGrpSpPr/>
                <p:nvPr userDrawn="1"/>
              </p:nvGrpSpPr>
              <p:grpSpPr>
                <a:xfrm>
                  <a:off x="15281106" y="1587338"/>
                  <a:ext cx="511775" cy="560304"/>
                  <a:chOff x="10604642" y="969717"/>
                  <a:chExt cx="1290643" cy="1427163"/>
                </a:xfrm>
              </p:grpSpPr>
              <p:grpSp>
                <p:nvGrpSpPr>
                  <p:cNvPr id="328" name="Group 879">
                    <a:extLst>
                      <a:ext uri="{FF2B5EF4-FFF2-40B4-BE49-F238E27FC236}">
                        <a16:creationId xmlns:a16="http://schemas.microsoft.com/office/drawing/2014/main" id="{2F42395C-85A1-430A-80A6-B98CE7A7B985}"/>
                      </a:ext>
                    </a:extLst>
                  </p:cNvPr>
                  <p:cNvGrpSpPr>
                    <a:grpSpLocks noChangeAspect="1"/>
                  </p:cNvGrpSpPr>
                  <p:nvPr userDrawn="1"/>
                </p:nvGrpSpPr>
                <p:grpSpPr bwMode="auto">
                  <a:xfrm>
                    <a:off x="10604642" y="969717"/>
                    <a:ext cx="1290643" cy="1427163"/>
                    <a:chOff x="4798" y="1515"/>
                    <a:chExt cx="813" cy="899"/>
                  </a:xfrm>
                </p:grpSpPr>
                <p:sp>
                  <p:nvSpPr>
                    <p:cNvPr id="330" name="Freeform 886">
                      <a:extLst>
                        <a:ext uri="{FF2B5EF4-FFF2-40B4-BE49-F238E27FC236}">
                          <a16:creationId xmlns:a16="http://schemas.microsoft.com/office/drawing/2014/main" id="{936F7015-8913-41AB-BF65-0D7D1DFAA85A}"/>
                        </a:ext>
                      </a:extLst>
                    </p:cNvPr>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31" name="Rectangle 880">
                      <a:extLst>
                        <a:ext uri="{FF2B5EF4-FFF2-40B4-BE49-F238E27FC236}">
                          <a16:creationId xmlns:a16="http://schemas.microsoft.com/office/drawing/2014/main" id="{D5A6DA94-6F7A-4B8B-AC34-4AD6F337B124}"/>
                        </a:ext>
                      </a:extLst>
                    </p:cNvPr>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32" name="Rectangle 881">
                      <a:extLst>
                        <a:ext uri="{FF2B5EF4-FFF2-40B4-BE49-F238E27FC236}">
                          <a16:creationId xmlns:a16="http://schemas.microsoft.com/office/drawing/2014/main" id="{61F5B48D-A28D-471E-896D-43DEEE373871}"/>
                        </a:ext>
                      </a:extLst>
                    </p:cNvPr>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33" name="Freeform 882">
                      <a:extLst>
                        <a:ext uri="{FF2B5EF4-FFF2-40B4-BE49-F238E27FC236}">
                          <a16:creationId xmlns:a16="http://schemas.microsoft.com/office/drawing/2014/main" id="{678C90E9-62CD-4028-8AE2-D40809AB6263}"/>
                        </a:ext>
                      </a:extLst>
                    </p:cNvPr>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34" name="Freeform 883">
                      <a:extLst>
                        <a:ext uri="{FF2B5EF4-FFF2-40B4-BE49-F238E27FC236}">
                          <a16:creationId xmlns:a16="http://schemas.microsoft.com/office/drawing/2014/main" id="{CD399C75-F670-4D4B-8422-67EDF485FACF}"/>
                        </a:ext>
                      </a:extLst>
                    </p:cNvPr>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35" name="Freeform 884">
                      <a:extLst>
                        <a:ext uri="{FF2B5EF4-FFF2-40B4-BE49-F238E27FC236}">
                          <a16:creationId xmlns:a16="http://schemas.microsoft.com/office/drawing/2014/main" id="{BBA25C7B-8E0D-44E5-96A8-6102195BD746}"/>
                        </a:ext>
                      </a:extLst>
                    </p:cNvPr>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36" name="Rectangle 885">
                      <a:extLst>
                        <a:ext uri="{FF2B5EF4-FFF2-40B4-BE49-F238E27FC236}">
                          <a16:creationId xmlns:a16="http://schemas.microsoft.com/office/drawing/2014/main" id="{E54C8F20-D867-423E-BE9E-DBF5DD664223}"/>
                        </a:ext>
                      </a:extLst>
                    </p:cNvPr>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37" name="Rectangle 887">
                      <a:extLst>
                        <a:ext uri="{FF2B5EF4-FFF2-40B4-BE49-F238E27FC236}">
                          <a16:creationId xmlns:a16="http://schemas.microsoft.com/office/drawing/2014/main" id="{7690C57C-0FBB-49B0-90D0-F44F3A299048}"/>
                        </a:ext>
                      </a:extLst>
                    </p:cNvPr>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38" name="Freeform 888">
                      <a:extLst>
                        <a:ext uri="{FF2B5EF4-FFF2-40B4-BE49-F238E27FC236}">
                          <a16:creationId xmlns:a16="http://schemas.microsoft.com/office/drawing/2014/main" id="{074B8657-6DEC-415F-A8FF-4353F1CE13FA}"/>
                        </a:ext>
                      </a:extLst>
                    </p:cNvPr>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329" name="Vrije vorm 71">
                    <a:extLst>
                      <a:ext uri="{FF2B5EF4-FFF2-40B4-BE49-F238E27FC236}">
                        <a16:creationId xmlns:a16="http://schemas.microsoft.com/office/drawing/2014/main" id="{031D75BF-D7D7-4C6A-87BA-D7B074504BE6}"/>
                      </a:ext>
                    </a:extLst>
                  </p:cNvPr>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310" name="Groep 309">
                <a:extLst>
                  <a:ext uri="{FF2B5EF4-FFF2-40B4-BE49-F238E27FC236}">
                    <a16:creationId xmlns:a16="http://schemas.microsoft.com/office/drawing/2014/main" id="{06213794-152D-44B6-BA0F-40EC47FA7A46}"/>
                  </a:ext>
                </a:extLst>
              </p:cNvPr>
              <p:cNvGrpSpPr/>
              <p:nvPr/>
            </p:nvGrpSpPr>
            <p:grpSpPr>
              <a:xfrm>
                <a:off x="12468521" y="6356844"/>
                <a:ext cx="133446" cy="114786"/>
                <a:chOff x="14587469" y="6356844"/>
                <a:chExt cx="133446" cy="114786"/>
              </a:xfrm>
            </p:grpSpPr>
            <p:sp>
              <p:nvSpPr>
                <p:cNvPr id="316" name="Rectangle 6">
                  <a:extLst>
                    <a:ext uri="{FF2B5EF4-FFF2-40B4-BE49-F238E27FC236}">
                      <a16:creationId xmlns:a16="http://schemas.microsoft.com/office/drawing/2014/main" id="{ECEA64EF-BFD6-4986-834F-CDC16EDF9194}"/>
                    </a:ext>
                  </a:extLst>
                </p:cNvPr>
                <p:cNvSpPr>
                  <a:spLocks noChangeArrowheads="1"/>
                </p:cNvSpPr>
                <p:nvPr userDrawn="1"/>
              </p:nvSpPr>
              <p:spPr bwMode="auto">
                <a:xfrm>
                  <a:off x="14588703" y="6379233"/>
                  <a:ext cx="130780" cy="91699"/>
                </a:xfrm>
                <a:prstGeom prst="rect">
                  <a:avLst/>
                </a:prstGeom>
                <a:solidFill>
                  <a:srgbClr val="F2FAFF"/>
                </a:solidFill>
                <a:ln w="0">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317" name="Rectangle 15">
                  <a:extLst>
                    <a:ext uri="{FF2B5EF4-FFF2-40B4-BE49-F238E27FC236}">
                      <a16:creationId xmlns:a16="http://schemas.microsoft.com/office/drawing/2014/main" id="{7F4A4DF6-A6F8-4442-B65A-33F9975EE932}"/>
                    </a:ext>
                  </a:extLst>
                </p:cNvPr>
                <p:cNvSpPr>
                  <a:spLocks noChangeArrowheads="1"/>
                </p:cNvSpPr>
                <p:nvPr userDrawn="1"/>
              </p:nvSpPr>
              <p:spPr bwMode="auto">
                <a:xfrm>
                  <a:off x="14587469" y="6423761"/>
                  <a:ext cx="131076" cy="1446"/>
                </a:xfrm>
                <a:prstGeom prst="rect">
                  <a:avLst/>
                </a:prstGeom>
                <a:gradFill flip="none" rotWithShape="1">
                  <a:gsLst>
                    <a:gs pos="20000">
                      <a:srgbClr val="0039AC"/>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318" name="Freeform 14">
                  <a:extLst>
                    <a:ext uri="{FF2B5EF4-FFF2-40B4-BE49-F238E27FC236}">
                      <a16:creationId xmlns:a16="http://schemas.microsoft.com/office/drawing/2014/main" id="{3E98E72A-955D-475F-B1B8-EC723D159DAE}"/>
                    </a:ext>
                  </a:extLst>
                </p:cNvPr>
                <p:cNvSpPr>
                  <a:spLocks noEditPoints="1"/>
                </p:cNvSpPr>
                <p:nvPr userDrawn="1"/>
              </p:nvSpPr>
              <p:spPr bwMode="auto">
                <a:xfrm>
                  <a:off x="14588901" y="6356844"/>
                  <a:ext cx="132014" cy="114786"/>
                </a:xfrm>
                <a:custGeom>
                  <a:avLst/>
                  <a:gdLst>
                    <a:gd name="T0" fmla="*/ 48 w 5347"/>
                    <a:gd name="T1" fmla="*/ 48 h 4605"/>
                    <a:gd name="T2" fmla="*/ 48 w 5347"/>
                    <a:gd name="T3" fmla="*/ 4557 h 4605"/>
                    <a:gd name="T4" fmla="*/ 5299 w 5347"/>
                    <a:gd name="T5" fmla="*/ 4557 h 4605"/>
                    <a:gd name="T6" fmla="*/ 5299 w 5347"/>
                    <a:gd name="T7" fmla="*/ 48 h 4605"/>
                    <a:gd name="T8" fmla="*/ 48 w 5347"/>
                    <a:gd name="T9" fmla="*/ 48 h 4605"/>
                    <a:gd name="T10" fmla="*/ 0 w 5347"/>
                    <a:gd name="T11" fmla="*/ 0 h 4605"/>
                    <a:gd name="T12" fmla="*/ 5347 w 5347"/>
                    <a:gd name="T13" fmla="*/ 0 h 4605"/>
                    <a:gd name="T14" fmla="*/ 5347 w 5347"/>
                    <a:gd name="T15" fmla="*/ 4605 h 4605"/>
                    <a:gd name="T16" fmla="*/ 0 w 5347"/>
                    <a:gd name="T17" fmla="*/ 4605 h 4605"/>
                    <a:gd name="T18" fmla="*/ 0 w 5347"/>
                    <a:gd name="T19" fmla="*/ 0 h 4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7" h="4605">
                      <a:moveTo>
                        <a:pt x="48" y="48"/>
                      </a:moveTo>
                      <a:lnTo>
                        <a:pt x="48" y="4557"/>
                      </a:lnTo>
                      <a:lnTo>
                        <a:pt x="5299" y="4557"/>
                      </a:lnTo>
                      <a:lnTo>
                        <a:pt x="5299" y="48"/>
                      </a:lnTo>
                      <a:lnTo>
                        <a:pt x="48" y="48"/>
                      </a:lnTo>
                      <a:close/>
                      <a:moveTo>
                        <a:pt x="0" y="0"/>
                      </a:moveTo>
                      <a:lnTo>
                        <a:pt x="5347" y="0"/>
                      </a:lnTo>
                      <a:lnTo>
                        <a:pt x="5347" y="4605"/>
                      </a:lnTo>
                      <a:lnTo>
                        <a:pt x="0" y="4605"/>
                      </a:lnTo>
                      <a:lnTo>
                        <a:pt x="0" y="0"/>
                      </a:lnTo>
                      <a:close/>
                    </a:path>
                  </a:pathLst>
                </a:custGeom>
                <a:solidFill>
                  <a:srgbClr val="2E5D8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cxnSp>
              <p:nvCxnSpPr>
                <p:cNvPr id="319" name="Rechte verbindingslijn 318">
                  <a:extLst>
                    <a:ext uri="{FF2B5EF4-FFF2-40B4-BE49-F238E27FC236}">
                      <a16:creationId xmlns:a16="http://schemas.microsoft.com/office/drawing/2014/main" id="{0F679BB3-79EA-4C79-8857-E4EC4864C5D1}"/>
                    </a:ext>
                  </a:extLst>
                </p:cNvPr>
                <p:cNvCxnSpPr/>
                <p:nvPr userDrawn="1"/>
              </p:nvCxnSpPr>
              <p:spPr>
                <a:xfrm flipH="1">
                  <a:off x="14654334" y="6382168"/>
                  <a:ext cx="162"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20" name="Rechte verbindingslijn 319">
                  <a:extLst>
                    <a:ext uri="{FF2B5EF4-FFF2-40B4-BE49-F238E27FC236}">
                      <a16:creationId xmlns:a16="http://schemas.microsoft.com/office/drawing/2014/main" id="{0DB14EAE-22F7-4896-8327-6156DC9905E8}"/>
                    </a:ext>
                  </a:extLst>
                </p:cNvPr>
                <p:cNvCxnSpPr/>
                <p:nvPr userDrawn="1"/>
              </p:nvCxnSpPr>
              <p:spPr>
                <a:xfrm>
                  <a:off x="14689188" y="6382168"/>
                  <a:ext cx="0"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21" name="Rechte verbindingslijn 320">
                  <a:extLst>
                    <a:ext uri="{FF2B5EF4-FFF2-40B4-BE49-F238E27FC236}">
                      <a16:creationId xmlns:a16="http://schemas.microsoft.com/office/drawing/2014/main" id="{909A5D0C-CD54-470A-AD8D-B495684E70DE}"/>
                    </a:ext>
                  </a:extLst>
                </p:cNvPr>
                <p:cNvCxnSpPr/>
                <p:nvPr userDrawn="1"/>
              </p:nvCxnSpPr>
              <p:spPr>
                <a:xfrm>
                  <a:off x="14619892" y="6382040"/>
                  <a:ext cx="0" cy="8577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22" name="Rechte verbindingslijn 321">
                  <a:extLst>
                    <a:ext uri="{FF2B5EF4-FFF2-40B4-BE49-F238E27FC236}">
                      <a16:creationId xmlns:a16="http://schemas.microsoft.com/office/drawing/2014/main" id="{7D209422-F51F-4FBC-93F4-2DF051F1AF72}"/>
                    </a:ext>
                  </a:extLst>
                </p:cNvPr>
                <p:cNvCxnSpPr/>
                <p:nvPr userDrawn="1"/>
              </p:nvCxnSpPr>
              <p:spPr>
                <a:xfrm flipH="1">
                  <a:off x="14593115" y="6400164"/>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23" name="Rechte verbindingslijn 322">
                  <a:extLst>
                    <a:ext uri="{FF2B5EF4-FFF2-40B4-BE49-F238E27FC236}">
                      <a16:creationId xmlns:a16="http://schemas.microsoft.com/office/drawing/2014/main" id="{B939CA30-0D96-4DAB-8A2C-C7D3E878125A}"/>
                    </a:ext>
                  </a:extLst>
                </p:cNvPr>
                <p:cNvCxnSpPr/>
                <p:nvPr userDrawn="1"/>
              </p:nvCxnSpPr>
              <p:spPr>
                <a:xfrm flipH="1">
                  <a:off x="14593115" y="6423860"/>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24" name="Rechte verbindingslijn 323">
                  <a:extLst>
                    <a:ext uri="{FF2B5EF4-FFF2-40B4-BE49-F238E27FC236}">
                      <a16:creationId xmlns:a16="http://schemas.microsoft.com/office/drawing/2014/main" id="{D941E635-DF6B-483C-A1F7-30DA3D718256}"/>
                    </a:ext>
                  </a:extLst>
                </p:cNvPr>
                <p:cNvCxnSpPr/>
                <p:nvPr userDrawn="1"/>
              </p:nvCxnSpPr>
              <p:spPr>
                <a:xfrm flipH="1">
                  <a:off x="14593115" y="6447556"/>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325" name="Rectangle 13">
                  <a:extLst>
                    <a:ext uri="{FF2B5EF4-FFF2-40B4-BE49-F238E27FC236}">
                      <a16:creationId xmlns:a16="http://schemas.microsoft.com/office/drawing/2014/main" id="{B94B81D3-28FA-4B9E-A648-DE0E4A5ACE23}"/>
                    </a:ext>
                  </a:extLst>
                </p:cNvPr>
                <p:cNvSpPr>
                  <a:spLocks noChangeArrowheads="1"/>
                </p:cNvSpPr>
                <p:nvPr userDrawn="1"/>
              </p:nvSpPr>
              <p:spPr bwMode="auto">
                <a:xfrm>
                  <a:off x="14590283" y="6359138"/>
                  <a:ext cx="128657" cy="19347"/>
                </a:xfrm>
                <a:prstGeom prst="rect">
                  <a:avLst/>
                </a:prstGeom>
                <a:gradFill flip="none" rotWithShape="1">
                  <a:gsLst>
                    <a:gs pos="0">
                      <a:srgbClr val="1929FF"/>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grpSp>
          <p:grpSp>
            <p:nvGrpSpPr>
              <p:cNvPr id="311" name="Groep 310">
                <a:extLst>
                  <a:ext uri="{FF2B5EF4-FFF2-40B4-BE49-F238E27FC236}">
                    <a16:creationId xmlns:a16="http://schemas.microsoft.com/office/drawing/2014/main" id="{88140FF1-5653-4086-A3DA-E69F1C8351A6}"/>
                  </a:ext>
                </a:extLst>
              </p:cNvPr>
              <p:cNvGrpSpPr/>
              <p:nvPr/>
            </p:nvGrpSpPr>
            <p:grpSpPr>
              <a:xfrm>
                <a:off x="12529899" y="6421402"/>
                <a:ext cx="97399" cy="97399"/>
                <a:chOff x="14546483" y="5323041"/>
                <a:chExt cx="242460" cy="242460"/>
              </a:xfrm>
            </p:grpSpPr>
            <p:sp>
              <p:nvSpPr>
                <p:cNvPr id="312" name="Rechthoek 311">
                  <a:extLst>
                    <a:ext uri="{FF2B5EF4-FFF2-40B4-BE49-F238E27FC236}">
                      <a16:creationId xmlns:a16="http://schemas.microsoft.com/office/drawing/2014/main" id="{FEAB4A38-B33F-4D74-9A40-79B6A6CF949B}"/>
                    </a:ext>
                  </a:extLst>
                </p:cNvPr>
                <p:cNvSpPr/>
                <p:nvPr userDrawn="1"/>
              </p:nvSpPr>
              <p:spPr>
                <a:xfrm>
                  <a:off x="14546483" y="5323041"/>
                  <a:ext cx="242460" cy="242460"/>
                </a:xfrm>
                <a:prstGeom prst="rect">
                  <a:avLst/>
                </a:prstGeom>
                <a:solidFill>
                  <a:schemeClr val="bg1"/>
                </a:solidFill>
                <a:ln w="6350">
                  <a:solidFill>
                    <a:srgbClr val="00A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nvGrpSpPr>
                <p:cNvPr id="313" name="Groep 312">
                  <a:extLst>
                    <a:ext uri="{FF2B5EF4-FFF2-40B4-BE49-F238E27FC236}">
                      <a16:creationId xmlns:a16="http://schemas.microsoft.com/office/drawing/2014/main" id="{6049BDC7-7B3F-4387-8513-10C0904DEEE9}"/>
                    </a:ext>
                  </a:extLst>
                </p:cNvPr>
                <p:cNvGrpSpPr/>
                <p:nvPr/>
              </p:nvGrpSpPr>
              <p:grpSpPr>
                <a:xfrm>
                  <a:off x="14568035" y="5357818"/>
                  <a:ext cx="199836" cy="175226"/>
                  <a:chOff x="14559757" y="5349611"/>
                  <a:chExt cx="216392" cy="191641"/>
                </a:xfrm>
              </p:grpSpPr>
              <p:sp>
                <p:nvSpPr>
                  <p:cNvPr id="314" name="Parallellogram 313">
                    <a:extLst>
                      <a:ext uri="{FF2B5EF4-FFF2-40B4-BE49-F238E27FC236}">
                        <a16:creationId xmlns:a16="http://schemas.microsoft.com/office/drawing/2014/main" id="{74F40664-7EE2-4A72-9448-A0121F9FC5F3}"/>
                      </a:ext>
                    </a:extLst>
                  </p:cNvPr>
                  <p:cNvSpPr/>
                  <p:nvPr/>
                </p:nvSpPr>
                <p:spPr>
                  <a:xfrm>
                    <a:off x="14559757" y="5369222"/>
                    <a:ext cx="214316" cy="147762"/>
                  </a:xfrm>
                  <a:prstGeom prst="parallelogram">
                    <a:avLst>
                      <a:gd name="adj" fmla="val 93909"/>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315" name="Parallellogram 314">
                    <a:extLst>
                      <a:ext uri="{FF2B5EF4-FFF2-40B4-BE49-F238E27FC236}">
                        <a16:creationId xmlns:a16="http://schemas.microsoft.com/office/drawing/2014/main" id="{A027E9E3-3F1C-4535-97B9-9A113A853879}"/>
                      </a:ext>
                    </a:extLst>
                  </p:cNvPr>
                  <p:cNvSpPr/>
                  <p:nvPr/>
                </p:nvSpPr>
                <p:spPr>
                  <a:xfrm flipH="1">
                    <a:off x="14561833" y="5349611"/>
                    <a:ext cx="214316" cy="191641"/>
                  </a:xfrm>
                  <a:prstGeom prst="parallelogram">
                    <a:avLst>
                      <a:gd name="adj" fmla="val 68946"/>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grpSp>
        </p:grpSp>
        <p:sp>
          <p:nvSpPr>
            <p:cNvPr id="302" name="Tekstvak 33">
              <a:extLst>
                <a:ext uri="{FF2B5EF4-FFF2-40B4-BE49-F238E27FC236}">
                  <a16:creationId xmlns:a16="http://schemas.microsoft.com/office/drawing/2014/main" id="{743F07D1-3C06-49EF-8D4D-6B68293CE7B1}"/>
                </a:ext>
              </a:extLst>
            </p:cNvPr>
            <p:cNvSpPr txBox="1"/>
            <p:nvPr userDrawn="1"/>
          </p:nvSpPr>
          <p:spPr>
            <a:xfrm>
              <a:off x="12537681" y="5123358"/>
              <a:ext cx="2588841" cy="646331"/>
            </a:xfrm>
            <a:prstGeom prst="rect">
              <a:avLst/>
            </a:prstGeom>
            <a:noFill/>
          </p:spPr>
          <p:txBody>
            <a:bodyPr wrap="square" lIns="0" tIns="0" rIns="0" bIns="0" rtlCol="0" anchor="t">
              <a:spAutoFit/>
            </a:bodyPr>
            <a:lstStyle>
              <a:defPPr>
                <a:defRPr lang="nl-NL"/>
              </a:defPPr>
              <a:lvl1pPr marR="0" lvl="0" indent="0" defTabSz="914400" fontAlgn="auto">
                <a:lnSpc>
                  <a:spcPct val="100000"/>
                </a:lnSpc>
                <a:spcBef>
                  <a:spcPts val="0"/>
                </a:spcBef>
                <a:spcAft>
                  <a:spcPts val="0"/>
                </a:spcAft>
                <a:buClrTx/>
                <a:buSzTx/>
                <a:buFontTx/>
                <a:buNone/>
                <a:tabLst/>
                <a:defRPr kumimoji="0" sz="1400" b="0" i="0" u="none" strike="noStrike" kern="0" cap="none" spc="0" normalizeH="0" baseline="0">
                  <a:ln>
                    <a:noFill/>
                  </a:ln>
                  <a:effectLst/>
                  <a:uLnTx/>
                  <a:uFillTx/>
                  <a:latin typeface="Calibri"/>
                  <a:ea typeface="Tahoma" pitchFamily="34" charset="0"/>
                  <a:cs typeface="Arial" pitchFamily="34" charset="0"/>
                </a:defRPr>
              </a:lvl1pPr>
            </a:lstStyle>
            <a:p>
              <a:pPr lvl="0"/>
              <a:r>
                <a:rPr lang="nl-NL" dirty="0">
                  <a:solidFill>
                    <a:schemeClr val="tx2"/>
                  </a:solidFill>
                  <a:latin typeface="+mn-lt"/>
                </a:rPr>
                <a:t>Selecteer de grafiek, klik op de rechter muisknop en kies </a:t>
              </a:r>
              <a:r>
                <a:rPr lang="nl-NL" b="0" dirty="0">
                  <a:solidFill>
                    <a:schemeClr val="tx2"/>
                  </a:solidFill>
                  <a:latin typeface="+mj-lt"/>
                </a:rPr>
                <a:t>‘Gegevens bewerken’</a:t>
              </a:r>
            </a:p>
          </p:txBody>
        </p:sp>
        <p:sp>
          <p:nvSpPr>
            <p:cNvPr id="303" name="Rechthoek 302">
              <a:extLst>
                <a:ext uri="{FF2B5EF4-FFF2-40B4-BE49-F238E27FC236}">
                  <a16:creationId xmlns:a16="http://schemas.microsoft.com/office/drawing/2014/main" id="{0D57F53E-EF1E-41AB-B0B4-EC21DEA365A7}"/>
                </a:ext>
              </a:extLst>
            </p:cNvPr>
            <p:cNvSpPr/>
            <p:nvPr userDrawn="1"/>
          </p:nvSpPr>
          <p:spPr>
            <a:xfrm>
              <a:off x="12363871" y="4529047"/>
              <a:ext cx="2584447" cy="3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lvl="0"/>
              <a:r>
                <a:rPr lang="nl-NL" sz="1600" b="0" dirty="0">
                  <a:solidFill>
                    <a:schemeClr val="tx2"/>
                  </a:solidFill>
                  <a:latin typeface="+mj-lt"/>
                </a:rPr>
                <a:t>GRAFIEK BEWERKEN</a:t>
              </a:r>
            </a:p>
          </p:txBody>
        </p:sp>
        <p:pic>
          <p:nvPicPr>
            <p:cNvPr id="304" name="Picture 3">
              <a:extLst>
                <a:ext uri="{FF2B5EF4-FFF2-40B4-BE49-F238E27FC236}">
                  <a16:creationId xmlns:a16="http://schemas.microsoft.com/office/drawing/2014/main" id="{76131ACB-93F1-430A-8F63-F88893D76DBE}"/>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4262557" y="6394752"/>
              <a:ext cx="158644" cy="256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68" name="Rechthoek 167"/>
          <p:cNvSpPr/>
          <p:nvPr userDrawn="1"/>
        </p:nvSpPr>
        <p:spPr>
          <a:xfrm>
            <a:off x="0" y="1420097"/>
            <a:ext cx="4759205" cy="456277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tel 1"/>
          <p:cNvSpPr>
            <a:spLocks noGrp="1"/>
          </p:cNvSpPr>
          <p:nvPr>
            <p:ph type="title"/>
          </p:nvPr>
        </p:nvSpPr>
        <p:spPr/>
        <p:txBody>
          <a:bodyPr/>
          <a:lstStyle/>
          <a:p>
            <a:r>
              <a:rPr lang="nl-NL"/>
              <a:t>Klik om stijl te bewerken</a:t>
            </a:r>
            <a:endParaRPr lang="en-GB" dirty="0"/>
          </a:p>
        </p:txBody>
      </p:sp>
      <p:sp>
        <p:nvSpPr>
          <p:cNvPr id="3" name="Tijdelijke aanduiding voor verticale tekst 2"/>
          <p:cNvSpPr>
            <a:spLocks noGrp="1"/>
          </p:cNvSpPr>
          <p:nvPr>
            <p:ph type="body" orient="vert" idx="1"/>
          </p:nvPr>
        </p:nvSpPr>
        <p:spPr>
          <a:xfrm>
            <a:off x="5232986" y="1420097"/>
            <a:ext cx="6962189" cy="4557157"/>
          </a:xfrm>
        </p:spPr>
        <p:txBody>
          <a:bodyPr vert="horz"/>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10"/>
          </p:nvPr>
        </p:nvSpPr>
        <p:spPr/>
        <p:txBody>
          <a:bodyPr/>
          <a:lstStyle/>
          <a:p>
            <a:fld id="{67D8BED5-B12E-4B3F-AC07-D1665A450B77}"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9" name="Tijdelijke aanduiding voor inhoud 2"/>
          <p:cNvSpPr>
            <a:spLocks noGrp="1"/>
          </p:cNvSpPr>
          <p:nvPr>
            <p:ph idx="13"/>
          </p:nvPr>
        </p:nvSpPr>
        <p:spPr>
          <a:xfrm>
            <a:off x="400542" y="1641026"/>
            <a:ext cx="3956928" cy="3586068"/>
          </a:xfrm>
          <a:noFill/>
        </p:spPr>
        <p:txBody>
          <a:bodyPr anchor="ctr"/>
          <a:lstStyle>
            <a:lvl1pPr algn="ctr">
              <a:defRPr sz="1200"/>
            </a:lvl1pPr>
          </a:lstStyle>
          <a:p>
            <a:pPr lvl="0"/>
            <a:r>
              <a:rPr lang="nl-NL"/>
              <a:t>Klikken om de tekststijl van het model te bewerken</a:t>
            </a:r>
          </a:p>
        </p:txBody>
      </p:sp>
      <p:sp>
        <p:nvSpPr>
          <p:cNvPr id="11" name="Tekstvak 10"/>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Tekst Rechts + Object (S) + onderschrift</a:t>
            </a:r>
          </a:p>
        </p:txBody>
      </p:sp>
      <p:sp>
        <p:nvSpPr>
          <p:cNvPr id="12" name="Tijdelijke aanduiding voor verticale tekst 2"/>
          <p:cNvSpPr>
            <a:spLocks noGrp="1"/>
          </p:cNvSpPr>
          <p:nvPr>
            <p:ph type="body" orient="vert" idx="14" hasCustomPrompt="1"/>
          </p:nvPr>
        </p:nvSpPr>
        <p:spPr>
          <a:xfrm>
            <a:off x="-1194" y="5476812"/>
            <a:ext cx="4760398" cy="504000"/>
          </a:xfrm>
          <a:solidFill>
            <a:schemeClr val="accent2"/>
          </a:solidFill>
        </p:spPr>
        <p:txBody>
          <a:bodyPr vert="horz" lIns="360000" tIns="36000" rIns="216000" bIns="0" anchor="ctr"/>
          <a:lstStyle>
            <a:lvl1pPr algn="r">
              <a:defRPr sz="1800" b="0">
                <a:solidFill>
                  <a:schemeClr val="tx2"/>
                </a:solidFill>
              </a:defRPr>
            </a:lvl1pPr>
          </a:lstStyle>
          <a:p>
            <a:pPr lvl="0"/>
            <a:r>
              <a:rPr lang="nl-NL" dirty="0"/>
              <a:t>Onderschrift</a:t>
            </a:r>
          </a:p>
        </p:txBody>
      </p:sp>
      <p:grpSp>
        <p:nvGrpSpPr>
          <p:cNvPr id="146" name="Groep 145">
            <a:extLst>
              <a:ext uri="{FF2B5EF4-FFF2-40B4-BE49-F238E27FC236}">
                <a16:creationId xmlns:a16="http://schemas.microsoft.com/office/drawing/2014/main" id="{8D88F9A1-7833-4093-B6F8-807F61428BA2}"/>
              </a:ext>
            </a:extLst>
          </p:cNvPr>
          <p:cNvGrpSpPr/>
          <p:nvPr userDrawn="1"/>
        </p:nvGrpSpPr>
        <p:grpSpPr>
          <a:xfrm>
            <a:off x="12353686" y="0"/>
            <a:ext cx="2808312" cy="5805264"/>
            <a:chOff x="-2973833" y="0"/>
            <a:chExt cx="2808312" cy="5805264"/>
          </a:xfrm>
        </p:grpSpPr>
        <p:sp>
          <p:nvSpPr>
            <p:cNvPr id="147" name="Rechthoek 146">
              <a:extLst>
                <a:ext uri="{FF2B5EF4-FFF2-40B4-BE49-F238E27FC236}">
                  <a16:creationId xmlns:a16="http://schemas.microsoft.com/office/drawing/2014/main" id="{6590E879-12B2-4EF8-8580-31C0682B396E}"/>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148" name="Textfield placeholder">
              <a:extLst>
                <a:ext uri="{FF2B5EF4-FFF2-40B4-BE49-F238E27FC236}">
                  <a16:creationId xmlns:a16="http://schemas.microsoft.com/office/drawing/2014/main" id="{7F8DDFF8-5425-41D2-BE03-4758DC592D5F}"/>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149" name="Ovaal 148">
              <a:extLst>
                <a:ext uri="{FF2B5EF4-FFF2-40B4-BE49-F238E27FC236}">
                  <a16:creationId xmlns:a16="http://schemas.microsoft.com/office/drawing/2014/main" id="{6FCB04D8-776A-453B-B406-5A5A356B9DE1}"/>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150" name="Ovaal 149">
              <a:extLst>
                <a:ext uri="{FF2B5EF4-FFF2-40B4-BE49-F238E27FC236}">
                  <a16:creationId xmlns:a16="http://schemas.microsoft.com/office/drawing/2014/main" id="{D1110E16-3E5A-4C0C-962D-C7927A04AD03}"/>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151" name="Ovaal 150">
              <a:extLst>
                <a:ext uri="{FF2B5EF4-FFF2-40B4-BE49-F238E27FC236}">
                  <a16:creationId xmlns:a16="http://schemas.microsoft.com/office/drawing/2014/main" id="{AB6F4A5F-36CD-4023-8C0F-8E746F60B8B6}"/>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152" name="Ovaal 151">
              <a:extLst>
                <a:ext uri="{FF2B5EF4-FFF2-40B4-BE49-F238E27FC236}">
                  <a16:creationId xmlns:a16="http://schemas.microsoft.com/office/drawing/2014/main" id="{190AE55B-E448-4464-84E0-E292B71C2E49}"/>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153" name="Textfield placeholder">
              <a:extLst>
                <a:ext uri="{FF2B5EF4-FFF2-40B4-BE49-F238E27FC236}">
                  <a16:creationId xmlns:a16="http://schemas.microsoft.com/office/drawing/2014/main" id="{1CC6961F-0DE8-4257-B086-1582B129D8B1}"/>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154" name="Textfield placeholder">
              <a:extLst>
                <a:ext uri="{FF2B5EF4-FFF2-40B4-BE49-F238E27FC236}">
                  <a16:creationId xmlns:a16="http://schemas.microsoft.com/office/drawing/2014/main" id="{EE1F869C-8260-4E52-9172-87BF2C062456}"/>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155" name="Textfield placeholder">
              <a:extLst>
                <a:ext uri="{FF2B5EF4-FFF2-40B4-BE49-F238E27FC236}">
                  <a16:creationId xmlns:a16="http://schemas.microsoft.com/office/drawing/2014/main" id="{B2A22D0A-9D44-4663-B29D-63D1E382663F}"/>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156" name="Rechte verbindingslijn 155">
              <a:extLst>
                <a:ext uri="{FF2B5EF4-FFF2-40B4-BE49-F238E27FC236}">
                  <a16:creationId xmlns:a16="http://schemas.microsoft.com/office/drawing/2014/main" id="{80CA2917-E311-4F89-8BCB-C472E234F593}"/>
                </a:ext>
              </a:extLst>
            </p:cNvPr>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7" name="Rechte verbindingslijn 156">
              <a:extLst>
                <a:ext uri="{FF2B5EF4-FFF2-40B4-BE49-F238E27FC236}">
                  <a16:creationId xmlns:a16="http://schemas.microsoft.com/office/drawing/2014/main" id="{2D5F371F-46CC-41E0-A6F6-273BA0641B8B}"/>
                </a:ext>
              </a:extLst>
            </p:cNvPr>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8" name="Rechte verbindingslijn 157">
              <a:extLst>
                <a:ext uri="{FF2B5EF4-FFF2-40B4-BE49-F238E27FC236}">
                  <a16:creationId xmlns:a16="http://schemas.microsoft.com/office/drawing/2014/main" id="{9EF48220-479A-42F5-9FB1-B888C7638978}"/>
                </a:ext>
              </a:extLst>
            </p:cNvPr>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159" name="Picture 3">
              <a:extLst>
                <a:ext uri="{FF2B5EF4-FFF2-40B4-BE49-F238E27FC236}">
                  <a16:creationId xmlns:a16="http://schemas.microsoft.com/office/drawing/2014/main" id="{181BAF4E-5A93-42E8-A6A1-FD0F654BD623}"/>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0" name="Picture 4">
              <a:extLst>
                <a:ext uri="{FF2B5EF4-FFF2-40B4-BE49-F238E27FC236}">
                  <a16:creationId xmlns:a16="http://schemas.microsoft.com/office/drawing/2014/main" id="{A9E8FEE1-BA3C-44C5-B989-0A82B97C08FF}"/>
                </a:ext>
              </a:extLst>
            </p:cNvPr>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61" name="Groep 160">
              <a:extLst>
                <a:ext uri="{FF2B5EF4-FFF2-40B4-BE49-F238E27FC236}">
                  <a16:creationId xmlns:a16="http://schemas.microsoft.com/office/drawing/2014/main" id="{A8252D32-B606-4499-9954-F700EA4B54D2}"/>
                </a:ext>
              </a:extLst>
            </p:cNvPr>
            <p:cNvGrpSpPr/>
            <p:nvPr userDrawn="1"/>
          </p:nvGrpSpPr>
          <p:grpSpPr>
            <a:xfrm>
              <a:off x="-2098870" y="523279"/>
              <a:ext cx="435437" cy="427699"/>
              <a:chOff x="-1085063" y="758027"/>
              <a:chExt cx="633800" cy="622540"/>
            </a:xfrm>
          </p:grpSpPr>
          <p:sp>
            <p:nvSpPr>
              <p:cNvPr id="272" name="Afgeronde rechthoek 133">
                <a:extLst>
                  <a:ext uri="{FF2B5EF4-FFF2-40B4-BE49-F238E27FC236}">
                    <a16:creationId xmlns:a16="http://schemas.microsoft.com/office/drawing/2014/main" id="{414E2088-E68E-40DF-BABB-C76A596ED039}"/>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273" name="Groep 272">
                <a:extLst>
                  <a:ext uri="{FF2B5EF4-FFF2-40B4-BE49-F238E27FC236}">
                    <a16:creationId xmlns:a16="http://schemas.microsoft.com/office/drawing/2014/main" id="{13AB53F3-0F39-4D08-9675-F9BB04B09CC7}"/>
                  </a:ext>
                </a:extLst>
              </p:cNvPr>
              <p:cNvGrpSpPr/>
              <p:nvPr userDrawn="1"/>
            </p:nvGrpSpPr>
            <p:grpSpPr>
              <a:xfrm>
                <a:off x="-977746" y="864082"/>
                <a:ext cx="419166" cy="410430"/>
                <a:chOff x="6366933" y="309013"/>
                <a:chExt cx="1901295" cy="1861668"/>
              </a:xfrm>
              <a:solidFill>
                <a:schemeClr val="tx1"/>
              </a:solidFill>
            </p:grpSpPr>
            <p:sp>
              <p:nvSpPr>
                <p:cNvPr id="274" name="Rechthoek 273">
                  <a:extLst>
                    <a:ext uri="{FF2B5EF4-FFF2-40B4-BE49-F238E27FC236}">
                      <a16:creationId xmlns:a16="http://schemas.microsoft.com/office/drawing/2014/main" id="{9674F32E-F0A5-4E61-A523-E62AA19C6D73}"/>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75" name="Rechthoek 274">
                  <a:extLst>
                    <a:ext uri="{FF2B5EF4-FFF2-40B4-BE49-F238E27FC236}">
                      <a16:creationId xmlns:a16="http://schemas.microsoft.com/office/drawing/2014/main" id="{49DB6291-BA9A-4834-9E0B-F7CF3BA5E3A7}"/>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76" name="Rechthoek 275">
                  <a:extLst>
                    <a:ext uri="{FF2B5EF4-FFF2-40B4-BE49-F238E27FC236}">
                      <a16:creationId xmlns:a16="http://schemas.microsoft.com/office/drawing/2014/main" id="{695CEDA0-AB70-4A6F-8048-7A49FBB6D5AC}"/>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77" name="Rechthoek 276">
                  <a:extLst>
                    <a:ext uri="{FF2B5EF4-FFF2-40B4-BE49-F238E27FC236}">
                      <a16:creationId xmlns:a16="http://schemas.microsoft.com/office/drawing/2014/main" id="{B04D2B42-1287-4C7B-BC7B-252B24782C3E}"/>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78" name="Rechthoek 277">
                  <a:extLst>
                    <a:ext uri="{FF2B5EF4-FFF2-40B4-BE49-F238E27FC236}">
                      <a16:creationId xmlns:a16="http://schemas.microsoft.com/office/drawing/2014/main" id="{46443991-B7A1-4DC4-A4C2-8DB42622FB28}"/>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79" name="Rechthoek 278">
                  <a:extLst>
                    <a:ext uri="{FF2B5EF4-FFF2-40B4-BE49-F238E27FC236}">
                      <a16:creationId xmlns:a16="http://schemas.microsoft.com/office/drawing/2014/main" id="{EF82B41B-DBFE-42A9-8FC8-9AA97CFDFCDB}"/>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0" name="Rechthoek 279">
                  <a:extLst>
                    <a:ext uri="{FF2B5EF4-FFF2-40B4-BE49-F238E27FC236}">
                      <a16:creationId xmlns:a16="http://schemas.microsoft.com/office/drawing/2014/main" id="{85C95CCF-09E6-4D91-AE54-FD091D001E7F}"/>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1" name="Rechthoek 280">
                  <a:extLst>
                    <a:ext uri="{FF2B5EF4-FFF2-40B4-BE49-F238E27FC236}">
                      <a16:creationId xmlns:a16="http://schemas.microsoft.com/office/drawing/2014/main" id="{5FC37A11-7F07-4485-98B2-BF5C145436F3}"/>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2" name="Rechthoek 281">
                  <a:extLst>
                    <a:ext uri="{FF2B5EF4-FFF2-40B4-BE49-F238E27FC236}">
                      <a16:creationId xmlns:a16="http://schemas.microsoft.com/office/drawing/2014/main" id="{CCB00320-B21D-48E9-9C0B-7FA010C6754A}"/>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3" name="Rechthoek 282">
                  <a:extLst>
                    <a:ext uri="{FF2B5EF4-FFF2-40B4-BE49-F238E27FC236}">
                      <a16:creationId xmlns:a16="http://schemas.microsoft.com/office/drawing/2014/main" id="{0DF1FB2A-C2DB-4991-B1C1-CD0174159E87}"/>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84" name="Vrije vorm 145">
                  <a:extLst>
                    <a:ext uri="{FF2B5EF4-FFF2-40B4-BE49-F238E27FC236}">
                      <a16:creationId xmlns:a16="http://schemas.microsoft.com/office/drawing/2014/main" id="{F80B7EC6-8F4B-4997-91CA-661BBECB7576}"/>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162" name="Groep 161">
              <a:extLst>
                <a:ext uri="{FF2B5EF4-FFF2-40B4-BE49-F238E27FC236}">
                  <a16:creationId xmlns:a16="http://schemas.microsoft.com/office/drawing/2014/main" id="{09DE14E7-A775-4FB1-AABB-E4F70AA4645D}"/>
                </a:ext>
              </a:extLst>
            </p:cNvPr>
            <p:cNvGrpSpPr/>
            <p:nvPr userDrawn="1"/>
          </p:nvGrpSpPr>
          <p:grpSpPr>
            <a:xfrm>
              <a:off x="-2095303" y="1071657"/>
              <a:ext cx="435437" cy="427699"/>
              <a:chOff x="-1845083" y="758027"/>
              <a:chExt cx="633800" cy="622540"/>
            </a:xfrm>
          </p:grpSpPr>
          <p:sp>
            <p:nvSpPr>
              <p:cNvPr id="259" name="Afgeronde rechthoek 120">
                <a:extLst>
                  <a:ext uri="{FF2B5EF4-FFF2-40B4-BE49-F238E27FC236}">
                    <a16:creationId xmlns:a16="http://schemas.microsoft.com/office/drawing/2014/main" id="{6473DCBC-8C32-48C9-A014-C49296F9D4F4}"/>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260" name="Groep 259">
                <a:extLst>
                  <a:ext uri="{FF2B5EF4-FFF2-40B4-BE49-F238E27FC236}">
                    <a16:creationId xmlns:a16="http://schemas.microsoft.com/office/drawing/2014/main" id="{49DCBE15-147A-412F-8906-B8A7E85626CC}"/>
                  </a:ext>
                </a:extLst>
              </p:cNvPr>
              <p:cNvGrpSpPr/>
              <p:nvPr userDrawn="1"/>
            </p:nvGrpSpPr>
            <p:grpSpPr>
              <a:xfrm>
                <a:off x="-1737766" y="864082"/>
                <a:ext cx="419166" cy="410430"/>
                <a:chOff x="3708400" y="309013"/>
                <a:chExt cx="1901295" cy="1861668"/>
              </a:xfrm>
              <a:solidFill>
                <a:schemeClr val="tx1"/>
              </a:solidFill>
            </p:grpSpPr>
            <p:sp>
              <p:nvSpPr>
                <p:cNvPr id="261" name="Rechthoek 260">
                  <a:extLst>
                    <a:ext uri="{FF2B5EF4-FFF2-40B4-BE49-F238E27FC236}">
                      <a16:creationId xmlns:a16="http://schemas.microsoft.com/office/drawing/2014/main" id="{7CC4C1C2-5D4E-4701-B63C-511993AB41A7}"/>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62" name="Rechthoek 261">
                  <a:extLst>
                    <a:ext uri="{FF2B5EF4-FFF2-40B4-BE49-F238E27FC236}">
                      <a16:creationId xmlns:a16="http://schemas.microsoft.com/office/drawing/2014/main" id="{0B47F2C8-B9F1-4C1A-925F-719CA4197E3D}"/>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63" name="Rechthoek 262">
                  <a:extLst>
                    <a:ext uri="{FF2B5EF4-FFF2-40B4-BE49-F238E27FC236}">
                      <a16:creationId xmlns:a16="http://schemas.microsoft.com/office/drawing/2014/main" id="{9283793E-04C3-4DD2-97EF-A7F6ED016548}"/>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64" name="Rechthoek 263">
                  <a:extLst>
                    <a:ext uri="{FF2B5EF4-FFF2-40B4-BE49-F238E27FC236}">
                      <a16:creationId xmlns:a16="http://schemas.microsoft.com/office/drawing/2014/main" id="{344D8CDF-73E7-4117-B526-20D42E1E52A6}"/>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65" name="Rechthoek 264">
                  <a:extLst>
                    <a:ext uri="{FF2B5EF4-FFF2-40B4-BE49-F238E27FC236}">
                      <a16:creationId xmlns:a16="http://schemas.microsoft.com/office/drawing/2014/main" id="{F5673240-2D09-4505-BC4D-F0A6BA208141}"/>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66" name="Rechthoek 265">
                  <a:extLst>
                    <a:ext uri="{FF2B5EF4-FFF2-40B4-BE49-F238E27FC236}">
                      <a16:creationId xmlns:a16="http://schemas.microsoft.com/office/drawing/2014/main" id="{534D98D9-670E-4467-8433-31C594B9EEA3}"/>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67" name="Rechthoek 266">
                  <a:extLst>
                    <a:ext uri="{FF2B5EF4-FFF2-40B4-BE49-F238E27FC236}">
                      <a16:creationId xmlns:a16="http://schemas.microsoft.com/office/drawing/2014/main" id="{50E80379-1C80-40C7-9A4B-F901F0052F6C}"/>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68" name="Rechthoek 267">
                  <a:extLst>
                    <a:ext uri="{FF2B5EF4-FFF2-40B4-BE49-F238E27FC236}">
                      <a16:creationId xmlns:a16="http://schemas.microsoft.com/office/drawing/2014/main" id="{26C51C05-F659-4997-A1DA-83412ACA0546}"/>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69" name="Rechthoek 268">
                  <a:extLst>
                    <a:ext uri="{FF2B5EF4-FFF2-40B4-BE49-F238E27FC236}">
                      <a16:creationId xmlns:a16="http://schemas.microsoft.com/office/drawing/2014/main" id="{FBEB9495-94E7-474F-9FCB-EE8388944A2D}"/>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70" name="Rechthoek 269">
                  <a:extLst>
                    <a:ext uri="{FF2B5EF4-FFF2-40B4-BE49-F238E27FC236}">
                      <a16:creationId xmlns:a16="http://schemas.microsoft.com/office/drawing/2014/main" id="{C0A4F79A-5A3F-4EB5-8D36-C5311F23742B}"/>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71" name="Vrije vorm 132">
                  <a:extLst>
                    <a:ext uri="{FF2B5EF4-FFF2-40B4-BE49-F238E27FC236}">
                      <a16:creationId xmlns:a16="http://schemas.microsoft.com/office/drawing/2014/main" id="{D7A254B0-D723-4C44-B9DE-6032AEAB883D}"/>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163" name="Rechte verbindingslijn 162">
              <a:extLst>
                <a:ext uri="{FF2B5EF4-FFF2-40B4-BE49-F238E27FC236}">
                  <a16:creationId xmlns:a16="http://schemas.microsoft.com/office/drawing/2014/main" id="{BFCFC2AF-4F73-4124-9A9B-C8A1F5618582}"/>
                </a:ext>
              </a:extLst>
            </p:cNvPr>
            <p:cNvCxnSpPr>
              <a:stCxn id="165" idx="2"/>
              <a:endCxn id="259"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64" name="Rechte verbindingslijn 163">
              <a:extLst>
                <a:ext uri="{FF2B5EF4-FFF2-40B4-BE49-F238E27FC236}">
                  <a16:creationId xmlns:a16="http://schemas.microsoft.com/office/drawing/2014/main" id="{765839AE-66A8-4F3D-82FE-A3B251777DE1}"/>
                </a:ext>
              </a:extLst>
            </p:cNvPr>
            <p:cNvCxnSpPr>
              <a:stCxn id="236" idx="3"/>
              <a:endCxn id="272"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65" name="Ovaal 164">
              <a:extLst>
                <a:ext uri="{FF2B5EF4-FFF2-40B4-BE49-F238E27FC236}">
                  <a16:creationId xmlns:a16="http://schemas.microsoft.com/office/drawing/2014/main" id="{A59849A5-EEA4-424C-BB30-496A7AC5F35C}"/>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36" name="Ovaal 235">
              <a:extLst>
                <a:ext uri="{FF2B5EF4-FFF2-40B4-BE49-F238E27FC236}">
                  <a16:creationId xmlns:a16="http://schemas.microsoft.com/office/drawing/2014/main" id="{04FD5430-1F25-492F-861C-6BFFD06FF0C0}"/>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37" name="Textfield placeholder">
              <a:extLst>
                <a:ext uri="{FF2B5EF4-FFF2-40B4-BE49-F238E27FC236}">
                  <a16:creationId xmlns:a16="http://schemas.microsoft.com/office/drawing/2014/main" id="{DD33C2E3-FDF9-4CC9-9363-5AA817B8E0EC}"/>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latin typeface="+mn-lt"/>
                </a:rPr>
                <a:t>Niveau</a:t>
              </a:r>
              <a:r>
                <a:rPr lang="en-GB" sz="1200" b="0" dirty="0">
                  <a:solidFill>
                    <a:schemeClr val="tx1"/>
                  </a:solidFill>
                  <a:latin typeface="+mn-lt"/>
                </a:rPr>
                <a:t> vooruit</a:t>
              </a:r>
            </a:p>
          </p:txBody>
        </p:sp>
        <p:sp>
          <p:nvSpPr>
            <p:cNvPr id="238" name="Textfield placeholder">
              <a:extLst>
                <a:ext uri="{FF2B5EF4-FFF2-40B4-BE49-F238E27FC236}">
                  <a16:creationId xmlns:a16="http://schemas.microsoft.com/office/drawing/2014/main" id="{4F815811-22E0-44E2-AC8E-D59DC4D0C33F}"/>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latin typeface="+mn-lt"/>
                </a:rPr>
                <a:t>Niveau</a:t>
              </a:r>
              <a:r>
                <a:rPr lang="en-GB" sz="1200" b="0" dirty="0">
                  <a:solidFill>
                    <a:schemeClr val="tx1"/>
                  </a:solidFill>
                  <a:latin typeface="+mn-lt"/>
                </a:rPr>
                <a:t> terug</a:t>
              </a:r>
            </a:p>
          </p:txBody>
        </p:sp>
        <p:sp>
          <p:nvSpPr>
            <p:cNvPr id="239" name="Ovaal 238">
              <a:extLst>
                <a:ext uri="{FF2B5EF4-FFF2-40B4-BE49-F238E27FC236}">
                  <a16:creationId xmlns:a16="http://schemas.microsoft.com/office/drawing/2014/main" id="{79903C5F-2D77-4C8E-BA9C-4AF54C72071E}"/>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240" name="Ovaal 239">
              <a:extLst>
                <a:ext uri="{FF2B5EF4-FFF2-40B4-BE49-F238E27FC236}">
                  <a16:creationId xmlns:a16="http://schemas.microsoft.com/office/drawing/2014/main" id="{489FED9E-5625-402C-B37A-CFC163F9DD01}"/>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241" name="Ovaal 240">
              <a:extLst>
                <a:ext uri="{FF2B5EF4-FFF2-40B4-BE49-F238E27FC236}">
                  <a16:creationId xmlns:a16="http://schemas.microsoft.com/office/drawing/2014/main" id="{9BF5A6AC-8275-4A9D-B1D3-94608E91E255}"/>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242" name="Ovaal 241">
              <a:extLst>
                <a:ext uri="{FF2B5EF4-FFF2-40B4-BE49-F238E27FC236}">
                  <a16:creationId xmlns:a16="http://schemas.microsoft.com/office/drawing/2014/main" id="{0E864704-DD06-4653-9125-8265BD874335}"/>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243" name="Ovaal 242">
              <a:extLst>
                <a:ext uri="{FF2B5EF4-FFF2-40B4-BE49-F238E27FC236}">
                  <a16:creationId xmlns:a16="http://schemas.microsoft.com/office/drawing/2014/main" id="{DB9C97CF-1D2A-4502-A1A6-EF87D24B816D}"/>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244" name="Textfield placeholder">
              <a:extLst>
                <a:ext uri="{FF2B5EF4-FFF2-40B4-BE49-F238E27FC236}">
                  <a16:creationId xmlns:a16="http://schemas.microsoft.com/office/drawing/2014/main" id="{82A0CD84-17C1-4CE6-9A73-7490622847AB}"/>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45" name="Textfield placeholder">
              <a:extLst>
                <a:ext uri="{FF2B5EF4-FFF2-40B4-BE49-F238E27FC236}">
                  <a16:creationId xmlns:a16="http://schemas.microsoft.com/office/drawing/2014/main" id="{1999F83E-A6C0-4093-AE91-A0DEBD21C1B2}"/>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46" name="Textfield placeholder">
              <a:extLst>
                <a:ext uri="{FF2B5EF4-FFF2-40B4-BE49-F238E27FC236}">
                  <a16:creationId xmlns:a16="http://schemas.microsoft.com/office/drawing/2014/main" id="{E4E9EC30-5DC9-42B2-B8D4-63D15CB158D5}"/>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47" name="Textfield placeholder">
              <a:extLst>
                <a:ext uri="{FF2B5EF4-FFF2-40B4-BE49-F238E27FC236}">
                  <a16:creationId xmlns:a16="http://schemas.microsoft.com/office/drawing/2014/main" id="{30764291-F0D4-4376-84F3-1141E77DF26C}"/>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248" name="Textfield placeholder">
              <a:extLst>
                <a:ext uri="{FF2B5EF4-FFF2-40B4-BE49-F238E27FC236}">
                  <a16:creationId xmlns:a16="http://schemas.microsoft.com/office/drawing/2014/main" id="{47664528-009C-4FE2-A992-6B7A5E4CC7DF}"/>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49" name="Groep 248">
              <a:extLst>
                <a:ext uri="{FF2B5EF4-FFF2-40B4-BE49-F238E27FC236}">
                  <a16:creationId xmlns:a16="http://schemas.microsoft.com/office/drawing/2014/main" id="{351266FA-EA0B-47EA-A76C-68760D30B301}"/>
                </a:ext>
              </a:extLst>
            </p:cNvPr>
            <p:cNvGrpSpPr/>
            <p:nvPr userDrawn="1"/>
          </p:nvGrpSpPr>
          <p:grpSpPr>
            <a:xfrm>
              <a:off x="-950342" y="1837957"/>
              <a:ext cx="687412" cy="3758146"/>
              <a:chOff x="-740196" y="1837957"/>
              <a:chExt cx="1374825" cy="3758146"/>
            </a:xfrm>
          </p:grpSpPr>
          <p:sp>
            <p:nvSpPr>
              <p:cNvPr id="250" name="Textfield placeholder">
                <a:extLst>
                  <a:ext uri="{FF2B5EF4-FFF2-40B4-BE49-F238E27FC236}">
                    <a16:creationId xmlns:a16="http://schemas.microsoft.com/office/drawing/2014/main" id="{AE417B29-FDE3-48A9-AF90-B91AB758D3F7}"/>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51" name="Textfield placeholder">
                <a:extLst>
                  <a:ext uri="{FF2B5EF4-FFF2-40B4-BE49-F238E27FC236}">
                    <a16:creationId xmlns:a16="http://schemas.microsoft.com/office/drawing/2014/main" id="{EEF82AA9-ADDF-4FCA-B264-A5D9C2D41135}"/>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52" name="Textfield placeholder">
                <a:extLst>
                  <a:ext uri="{FF2B5EF4-FFF2-40B4-BE49-F238E27FC236}">
                    <a16:creationId xmlns:a16="http://schemas.microsoft.com/office/drawing/2014/main" id="{75A62A7D-2633-4D3C-B995-30D6A398A389}"/>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53" name="Textfield placeholder">
                <a:extLst>
                  <a:ext uri="{FF2B5EF4-FFF2-40B4-BE49-F238E27FC236}">
                    <a16:creationId xmlns:a16="http://schemas.microsoft.com/office/drawing/2014/main" id="{0208E0BB-AD73-4E7D-B306-391A1953832C}"/>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254" name="Textfield placeholder">
                <a:extLst>
                  <a:ext uri="{FF2B5EF4-FFF2-40B4-BE49-F238E27FC236}">
                    <a16:creationId xmlns:a16="http://schemas.microsoft.com/office/drawing/2014/main" id="{122B1F2E-7771-4398-B717-3D225BE43468}"/>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255" name="Textfield placeholder">
                <a:extLst>
                  <a:ext uri="{FF2B5EF4-FFF2-40B4-BE49-F238E27FC236}">
                    <a16:creationId xmlns:a16="http://schemas.microsoft.com/office/drawing/2014/main" id="{2AECF3A7-DFF2-4539-82B2-18C1513A2D1C}"/>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56" name="Textfield placeholder">
                <a:extLst>
                  <a:ext uri="{FF2B5EF4-FFF2-40B4-BE49-F238E27FC236}">
                    <a16:creationId xmlns:a16="http://schemas.microsoft.com/office/drawing/2014/main" id="{F29B1E99-4DFC-4ADA-950E-BF67B9689F11}"/>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57" name="Textfield placeholder">
                <a:extLst>
                  <a:ext uri="{FF2B5EF4-FFF2-40B4-BE49-F238E27FC236}">
                    <a16:creationId xmlns:a16="http://schemas.microsoft.com/office/drawing/2014/main" id="{18632913-32AC-4147-89FD-D5E0956960DF}"/>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258" name="Textfield placeholder">
                <a:extLst>
                  <a:ext uri="{FF2B5EF4-FFF2-40B4-BE49-F238E27FC236}">
                    <a16:creationId xmlns:a16="http://schemas.microsoft.com/office/drawing/2014/main" id="{FF610C2A-5FD5-4937-AE11-66E036F61E1A}"/>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spTree>
    <p:extLst>
      <p:ext uri="{BB962C8B-B14F-4D97-AF65-F5344CB8AC3E}">
        <p14:creationId xmlns:p14="http://schemas.microsoft.com/office/powerpoint/2010/main" val="2349485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kst Links + Object (M)">
    <p:spTree>
      <p:nvGrpSpPr>
        <p:cNvPr id="1" name=""/>
        <p:cNvGrpSpPr/>
        <p:nvPr/>
      </p:nvGrpSpPr>
      <p:grpSpPr>
        <a:xfrm>
          <a:off x="0" y="0"/>
          <a:ext cx="0" cy="0"/>
          <a:chOff x="0" y="0"/>
          <a:chExt cx="0" cy="0"/>
        </a:xfrm>
      </p:grpSpPr>
      <p:sp>
        <p:nvSpPr>
          <p:cNvPr id="148" name="Rechthoek 147"/>
          <p:cNvSpPr/>
          <p:nvPr userDrawn="1"/>
        </p:nvSpPr>
        <p:spPr>
          <a:xfrm>
            <a:off x="6116128" y="1422305"/>
            <a:ext cx="6079047" cy="455816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tel 1"/>
          <p:cNvSpPr>
            <a:spLocks noGrp="1"/>
          </p:cNvSpPr>
          <p:nvPr>
            <p:ph type="title"/>
          </p:nvPr>
        </p:nvSpPr>
        <p:spPr>
          <a:xfrm>
            <a:off x="472587" y="192001"/>
            <a:ext cx="11250000" cy="648000"/>
          </a:xfrm>
        </p:spPr>
        <p:txBody>
          <a:bodyPr/>
          <a:lstStyle/>
          <a:p>
            <a:r>
              <a:rPr lang="nl-NL"/>
              <a:t>Klik om stijl te bewerken</a:t>
            </a:r>
            <a:endParaRPr lang="en-GB"/>
          </a:p>
        </p:txBody>
      </p:sp>
      <p:sp>
        <p:nvSpPr>
          <p:cNvPr id="3" name="Tijdelijke aanduiding voor verticale tekst 2"/>
          <p:cNvSpPr>
            <a:spLocks noGrp="1"/>
          </p:cNvSpPr>
          <p:nvPr>
            <p:ph type="body" orient="vert" idx="1"/>
          </p:nvPr>
        </p:nvSpPr>
        <p:spPr>
          <a:xfrm>
            <a:off x="472587" y="1420100"/>
            <a:ext cx="5650910" cy="4558156"/>
          </a:xfrm>
        </p:spPr>
        <p:txBody>
          <a:bodyPr vert="horz"/>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10"/>
          </p:nvPr>
        </p:nvSpPr>
        <p:spPr/>
        <p:txBody>
          <a:bodyPr/>
          <a:lstStyle/>
          <a:p>
            <a:fld id="{2255BB70-7AC9-4ACF-9920-2DA26A8D34D9}"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9" name="Tijdelijke aanduiding voor inhoud 2"/>
          <p:cNvSpPr>
            <a:spLocks noGrp="1"/>
          </p:cNvSpPr>
          <p:nvPr>
            <p:ph idx="14"/>
          </p:nvPr>
        </p:nvSpPr>
        <p:spPr>
          <a:xfrm>
            <a:off x="6491598" y="1641026"/>
            <a:ext cx="5332035" cy="3586068"/>
          </a:xfrm>
          <a:noFill/>
        </p:spPr>
        <p:txBody>
          <a:bodyPr anchor="ctr"/>
          <a:lstStyle>
            <a:lvl1pPr algn="ctr">
              <a:defRPr sz="1200"/>
            </a:lvl1pPr>
          </a:lstStyle>
          <a:p>
            <a:pPr lvl="0"/>
            <a:r>
              <a:rPr lang="nl-NL" dirty="0"/>
              <a:t>Klikken om de tekststijl van het model te bewerken</a:t>
            </a:r>
          </a:p>
        </p:txBody>
      </p:sp>
      <p:sp>
        <p:nvSpPr>
          <p:cNvPr id="11" name="Tekstvak 10"/>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Tekst Links + Object (M) + schrift</a:t>
            </a:r>
          </a:p>
        </p:txBody>
      </p:sp>
      <p:sp>
        <p:nvSpPr>
          <p:cNvPr id="12" name="Tijdelijke aanduiding voor verticale tekst 2"/>
          <p:cNvSpPr>
            <a:spLocks noGrp="1"/>
          </p:cNvSpPr>
          <p:nvPr>
            <p:ph type="body" orient="vert" idx="15" hasCustomPrompt="1"/>
          </p:nvPr>
        </p:nvSpPr>
        <p:spPr>
          <a:xfrm>
            <a:off x="6124073" y="5475362"/>
            <a:ext cx="6071101" cy="504000"/>
          </a:xfrm>
          <a:solidFill>
            <a:schemeClr val="accent2"/>
          </a:solidFill>
        </p:spPr>
        <p:txBody>
          <a:bodyPr vert="horz" lIns="324000" tIns="36000" rIns="216000" bIns="0" anchor="ctr"/>
          <a:lstStyle>
            <a:lvl1pPr algn="l">
              <a:defRPr sz="1800" b="0">
                <a:solidFill>
                  <a:schemeClr val="tx2"/>
                </a:solidFill>
              </a:defRPr>
            </a:lvl1pPr>
          </a:lstStyle>
          <a:p>
            <a:pPr lvl="0"/>
            <a:r>
              <a:rPr lang="nl-NL" dirty="0"/>
              <a:t>Onderschrift</a:t>
            </a:r>
          </a:p>
        </p:txBody>
      </p:sp>
      <p:grpSp>
        <p:nvGrpSpPr>
          <p:cNvPr id="218" name="Groep 217">
            <a:extLst>
              <a:ext uri="{FF2B5EF4-FFF2-40B4-BE49-F238E27FC236}">
                <a16:creationId xmlns:a16="http://schemas.microsoft.com/office/drawing/2014/main" id="{69771287-9D67-4864-A158-E86FDB877C0B}"/>
              </a:ext>
            </a:extLst>
          </p:cNvPr>
          <p:cNvGrpSpPr/>
          <p:nvPr userDrawn="1"/>
        </p:nvGrpSpPr>
        <p:grpSpPr>
          <a:xfrm>
            <a:off x="12363871" y="-26002"/>
            <a:ext cx="3064812" cy="6864697"/>
            <a:chOff x="12363871" y="-26002"/>
            <a:chExt cx="3064812" cy="6864697"/>
          </a:xfrm>
        </p:grpSpPr>
        <p:sp>
          <p:nvSpPr>
            <p:cNvPr id="219" name="Tekstvak 33">
              <a:extLst>
                <a:ext uri="{FF2B5EF4-FFF2-40B4-BE49-F238E27FC236}">
                  <a16:creationId xmlns:a16="http://schemas.microsoft.com/office/drawing/2014/main" id="{18A57734-9FD2-4EB0-8D7D-FA29B3E4F59E}"/>
                </a:ext>
              </a:extLst>
            </p:cNvPr>
            <p:cNvSpPr txBox="1"/>
            <p:nvPr userDrawn="1"/>
          </p:nvSpPr>
          <p:spPr>
            <a:xfrm>
              <a:off x="12537681" y="1001584"/>
              <a:ext cx="2285302" cy="430887"/>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 om een grafiek in te voegen</a:t>
              </a:r>
            </a:p>
          </p:txBody>
        </p:sp>
        <p:sp>
          <p:nvSpPr>
            <p:cNvPr id="220" name="Tekstvak 33">
              <a:extLst>
                <a:ext uri="{FF2B5EF4-FFF2-40B4-BE49-F238E27FC236}">
                  <a16:creationId xmlns:a16="http://schemas.microsoft.com/office/drawing/2014/main" id="{1B8B003F-08F3-454F-BA08-356DC4D249B7}"/>
                </a:ext>
              </a:extLst>
            </p:cNvPr>
            <p:cNvSpPr txBox="1"/>
            <p:nvPr userDrawn="1"/>
          </p:nvSpPr>
          <p:spPr>
            <a:xfrm>
              <a:off x="12537681"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Selecteer de grafiek die u wilt invoegen en klik op </a:t>
              </a:r>
              <a:r>
                <a:rPr kumimoji="0" lang="nl-NL" sz="1400" b="1"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p>
          </p:txBody>
        </p:sp>
        <p:sp>
          <p:nvSpPr>
            <p:cNvPr id="221" name="Ovaal 220">
              <a:extLst>
                <a:ext uri="{FF2B5EF4-FFF2-40B4-BE49-F238E27FC236}">
                  <a16:creationId xmlns:a16="http://schemas.microsoft.com/office/drawing/2014/main" id="{3BCFC3A1-6238-4039-9DDF-3E609B740664}"/>
                </a:ext>
              </a:extLst>
            </p:cNvPr>
            <p:cNvSpPr/>
            <p:nvPr userDrawn="1"/>
          </p:nvSpPr>
          <p:spPr>
            <a:xfrm>
              <a:off x="12494665"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222" name="Ovaal 221">
              <a:extLst>
                <a:ext uri="{FF2B5EF4-FFF2-40B4-BE49-F238E27FC236}">
                  <a16:creationId xmlns:a16="http://schemas.microsoft.com/office/drawing/2014/main" id="{100864FA-B246-4F61-9DBD-74199DDFEE5A}"/>
                </a:ext>
              </a:extLst>
            </p:cNvPr>
            <p:cNvSpPr/>
            <p:nvPr userDrawn="1"/>
          </p:nvSpPr>
          <p:spPr>
            <a:xfrm>
              <a:off x="12494665"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223" name="Picture 3">
              <a:extLst>
                <a:ext uri="{FF2B5EF4-FFF2-40B4-BE49-F238E27FC236}">
                  <a16:creationId xmlns:a16="http://schemas.microsoft.com/office/drawing/2014/main" id="{2BCCC0A0-17C8-4280-B238-1D4AE92B989D}"/>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2535130"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24" name="Picture 3">
              <a:extLst>
                <a:ext uri="{FF2B5EF4-FFF2-40B4-BE49-F238E27FC236}">
                  <a16:creationId xmlns:a16="http://schemas.microsoft.com/office/drawing/2014/main" id="{520F8CE4-6433-412D-A3EC-CB63F012D0A3}"/>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2604588"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25" name="Tekstvak 224">
              <a:extLst>
                <a:ext uri="{FF2B5EF4-FFF2-40B4-BE49-F238E27FC236}">
                  <a16:creationId xmlns:a16="http://schemas.microsoft.com/office/drawing/2014/main" id="{A7ABA664-737F-47E3-9F51-3F584DE5F729}"/>
                </a:ext>
              </a:extLst>
            </p:cNvPr>
            <p:cNvSpPr txBox="1"/>
            <p:nvPr userDrawn="1"/>
          </p:nvSpPr>
          <p:spPr>
            <a:xfrm>
              <a:off x="12560359" y="4020160"/>
              <a:ext cx="88636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outerShdw blurRad="25400" algn="ctr" rotWithShape="0">
                      <a:prstClr val="white"/>
                    </a:outerShdw>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outerShdw blurRad="25400" algn="ctr" rotWithShape="0">
                    <a:prstClr val="white"/>
                  </a:outerShdw>
                </a:effectLst>
                <a:uLnTx/>
                <a:uFillTx/>
                <a:latin typeface="+mj-lt"/>
              </a:endParaRPr>
            </a:p>
          </p:txBody>
        </p:sp>
        <p:sp>
          <p:nvSpPr>
            <p:cNvPr id="226" name="Rechthoek 225">
              <a:extLst>
                <a:ext uri="{FF2B5EF4-FFF2-40B4-BE49-F238E27FC236}">
                  <a16:creationId xmlns:a16="http://schemas.microsoft.com/office/drawing/2014/main" id="{BA34FCDB-D3D7-4749-A7B9-6EA2105C9F9B}"/>
                </a:ext>
              </a:extLst>
            </p:cNvPr>
            <p:cNvSpPr/>
            <p:nvPr userDrawn="1"/>
          </p:nvSpPr>
          <p:spPr>
            <a:xfrm>
              <a:off x="12363871"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GRAFIEK INVOEGEN</a:t>
              </a:r>
            </a:p>
          </p:txBody>
        </p:sp>
        <p:cxnSp>
          <p:nvCxnSpPr>
            <p:cNvPr id="227" name="Rechte verbindingslijn 226">
              <a:extLst>
                <a:ext uri="{FF2B5EF4-FFF2-40B4-BE49-F238E27FC236}">
                  <a16:creationId xmlns:a16="http://schemas.microsoft.com/office/drawing/2014/main" id="{784FEC91-7B23-4C14-9149-221D6F171B6C}"/>
                </a:ext>
              </a:extLst>
            </p:cNvPr>
            <p:cNvCxnSpPr/>
            <p:nvPr userDrawn="1"/>
          </p:nvCxnSpPr>
          <p:spPr>
            <a:xfrm>
              <a:off x="12507575" y="33168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8" name="Rechte verbindingslijn 227">
              <a:extLst>
                <a:ext uri="{FF2B5EF4-FFF2-40B4-BE49-F238E27FC236}">
                  <a16:creationId xmlns:a16="http://schemas.microsoft.com/office/drawing/2014/main" id="{E149FD21-A7D1-49C0-95A7-DAE11195FA91}"/>
                </a:ext>
              </a:extLst>
            </p:cNvPr>
            <p:cNvCxnSpPr/>
            <p:nvPr userDrawn="1"/>
          </p:nvCxnSpPr>
          <p:spPr>
            <a:xfrm>
              <a:off x="12507211" y="253760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9" name="Rechte verbindingslijn 228">
              <a:extLst>
                <a:ext uri="{FF2B5EF4-FFF2-40B4-BE49-F238E27FC236}">
                  <a16:creationId xmlns:a16="http://schemas.microsoft.com/office/drawing/2014/main" id="{6FEF742D-4430-4787-89D1-D1EECAEFF491}"/>
                </a:ext>
              </a:extLst>
            </p:cNvPr>
            <p:cNvCxnSpPr/>
            <p:nvPr userDrawn="1"/>
          </p:nvCxnSpPr>
          <p:spPr>
            <a:xfrm>
              <a:off x="12507575" y="4423040"/>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0" name="Rechte verbindingslijn 229">
              <a:extLst>
                <a:ext uri="{FF2B5EF4-FFF2-40B4-BE49-F238E27FC236}">
                  <a16:creationId xmlns:a16="http://schemas.microsoft.com/office/drawing/2014/main" id="{0E6B1B4B-A821-4F4D-BE4B-B06D7909D5F0}"/>
                </a:ext>
              </a:extLst>
            </p:cNvPr>
            <p:cNvCxnSpPr/>
            <p:nvPr userDrawn="1"/>
          </p:nvCxnSpPr>
          <p:spPr>
            <a:xfrm>
              <a:off x="12507575" y="6838695"/>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1" name="Rechte verbindingslijn 230">
              <a:extLst>
                <a:ext uri="{FF2B5EF4-FFF2-40B4-BE49-F238E27FC236}">
                  <a16:creationId xmlns:a16="http://schemas.microsoft.com/office/drawing/2014/main" id="{3D37CDAB-69D4-4F16-9290-328793381B63}"/>
                </a:ext>
              </a:extLst>
            </p:cNvPr>
            <p:cNvCxnSpPr/>
            <p:nvPr userDrawn="1"/>
          </p:nvCxnSpPr>
          <p:spPr>
            <a:xfrm>
              <a:off x="12507211" y="4898666"/>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32" name="Groep 231">
              <a:extLst>
                <a:ext uri="{FF2B5EF4-FFF2-40B4-BE49-F238E27FC236}">
                  <a16:creationId xmlns:a16="http://schemas.microsoft.com/office/drawing/2014/main" id="{4571CD52-A5AA-4603-A1D1-3138456DC789}"/>
                </a:ext>
              </a:extLst>
            </p:cNvPr>
            <p:cNvGrpSpPr/>
            <p:nvPr userDrawn="1"/>
          </p:nvGrpSpPr>
          <p:grpSpPr>
            <a:xfrm>
              <a:off x="12436353" y="1728359"/>
              <a:ext cx="689983" cy="573048"/>
              <a:chOff x="15171969" y="1587338"/>
              <a:chExt cx="755407" cy="627385"/>
            </a:xfrm>
          </p:grpSpPr>
          <p:sp>
            <p:nvSpPr>
              <p:cNvPr id="271" name="Rechthoek 962">
                <a:extLst>
                  <a:ext uri="{FF2B5EF4-FFF2-40B4-BE49-F238E27FC236}">
                    <a16:creationId xmlns:a16="http://schemas.microsoft.com/office/drawing/2014/main" id="{6F4BCEED-EB2A-47FB-AB92-33826760A802}"/>
                  </a:ext>
                </a:extLst>
              </p:cNvPr>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272" name="Groep 271">
                <a:extLst>
                  <a:ext uri="{FF2B5EF4-FFF2-40B4-BE49-F238E27FC236}">
                    <a16:creationId xmlns:a16="http://schemas.microsoft.com/office/drawing/2014/main" id="{37FB271C-BE2A-420C-9E3F-8636D57E379A}"/>
                  </a:ext>
                </a:extLst>
              </p:cNvPr>
              <p:cNvGrpSpPr/>
              <p:nvPr userDrawn="1"/>
            </p:nvGrpSpPr>
            <p:grpSpPr>
              <a:xfrm>
                <a:off x="15281106" y="1587338"/>
                <a:ext cx="511775" cy="560304"/>
                <a:chOff x="10604642" y="969717"/>
                <a:chExt cx="1290643" cy="1427163"/>
              </a:xfrm>
            </p:grpSpPr>
            <p:grpSp>
              <p:nvGrpSpPr>
                <p:cNvPr id="273" name="Group 879">
                  <a:extLst>
                    <a:ext uri="{FF2B5EF4-FFF2-40B4-BE49-F238E27FC236}">
                      <a16:creationId xmlns:a16="http://schemas.microsoft.com/office/drawing/2014/main" id="{C033FA24-90B1-4CD9-BDDF-6C7D51526448}"/>
                    </a:ext>
                  </a:extLst>
                </p:cNvPr>
                <p:cNvGrpSpPr>
                  <a:grpSpLocks noChangeAspect="1"/>
                </p:cNvGrpSpPr>
                <p:nvPr userDrawn="1"/>
              </p:nvGrpSpPr>
              <p:grpSpPr bwMode="auto">
                <a:xfrm>
                  <a:off x="10604642" y="969717"/>
                  <a:ext cx="1290643" cy="1427163"/>
                  <a:chOff x="4798" y="1515"/>
                  <a:chExt cx="813" cy="899"/>
                </a:xfrm>
              </p:grpSpPr>
              <p:sp>
                <p:nvSpPr>
                  <p:cNvPr id="275" name="Freeform 886">
                    <a:extLst>
                      <a:ext uri="{FF2B5EF4-FFF2-40B4-BE49-F238E27FC236}">
                        <a16:creationId xmlns:a16="http://schemas.microsoft.com/office/drawing/2014/main" id="{619FA1D6-1262-4F5A-B705-3C7A2651BDDE}"/>
                      </a:ext>
                    </a:extLst>
                  </p:cNvPr>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76" name="Rectangle 880">
                    <a:extLst>
                      <a:ext uri="{FF2B5EF4-FFF2-40B4-BE49-F238E27FC236}">
                        <a16:creationId xmlns:a16="http://schemas.microsoft.com/office/drawing/2014/main" id="{F1F208BA-27F5-4668-A51F-61F4F6F16CE6}"/>
                      </a:ext>
                    </a:extLst>
                  </p:cNvPr>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77" name="Rectangle 881">
                    <a:extLst>
                      <a:ext uri="{FF2B5EF4-FFF2-40B4-BE49-F238E27FC236}">
                        <a16:creationId xmlns:a16="http://schemas.microsoft.com/office/drawing/2014/main" id="{5ED160C6-CBF2-4E09-BBA6-C1F8BD52C1B0}"/>
                      </a:ext>
                    </a:extLst>
                  </p:cNvPr>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78" name="Freeform 882">
                    <a:extLst>
                      <a:ext uri="{FF2B5EF4-FFF2-40B4-BE49-F238E27FC236}">
                        <a16:creationId xmlns:a16="http://schemas.microsoft.com/office/drawing/2014/main" id="{674E26B1-4B56-44F3-8D0A-77209578731B}"/>
                      </a:ext>
                    </a:extLst>
                  </p:cNvPr>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79" name="Freeform 883">
                    <a:extLst>
                      <a:ext uri="{FF2B5EF4-FFF2-40B4-BE49-F238E27FC236}">
                        <a16:creationId xmlns:a16="http://schemas.microsoft.com/office/drawing/2014/main" id="{4ED0DA8E-47D2-439D-AEB9-C999C934D8E0}"/>
                      </a:ext>
                    </a:extLst>
                  </p:cNvPr>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80" name="Freeform 884">
                    <a:extLst>
                      <a:ext uri="{FF2B5EF4-FFF2-40B4-BE49-F238E27FC236}">
                        <a16:creationId xmlns:a16="http://schemas.microsoft.com/office/drawing/2014/main" id="{8D4F4AAB-575D-4A2C-AAD4-8144E76F49D5}"/>
                      </a:ext>
                    </a:extLst>
                  </p:cNvPr>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81" name="Rectangle 885">
                    <a:extLst>
                      <a:ext uri="{FF2B5EF4-FFF2-40B4-BE49-F238E27FC236}">
                        <a16:creationId xmlns:a16="http://schemas.microsoft.com/office/drawing/2014/main" id="{9D375741-997E-47FD-8A17-CFE89181A723}"/>
                      </a:ext>
                    </a:extLst>
                  </p:cNvPr>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82" name="Rectangle 887">
                    <a:extLst>
                      <a:ext uri="{FF2B5EF4-FFF2-40B4-BE49-F238E27FC236}">
                        <a16:creationId xmlns:a16="http://schemas.microsoft.com/office/drawing/2014/main" id="{F91103CE-E35B-4200-B687-E7D5334B29A8}"/>
                      </a:ext>
                    </a:extLst>
                  </p:cNvPr>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83" name="Freeform 888">
                    <a:extLst>
                      <a:ext uri="{FF2B5EF4-FFF2-40B4-BE49-F238E27FC236}">
                        <a16:creationId xmlns:a16="http://schemas.microsoft.com/office/drawing/2014/main" id="{AD116082-A105-4F25-8D40-AE3A7FBC2246}"/>
                      </a:ext>
                    </a:extLst>
                  </p:cNvPr>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274" name="Vrije vorm 84">
                  <a:extLst>
                    <a:ext uri="{FF2B5EF4-FFF2-40B4-BE49-F238E27FC236}">
                      <a16:creationId xmlns:a16="http://schemas.microsoft.com/office/drawing/2014/main" id="{469AA1CA-CD96-4596-8021-8477B3984C6C}"/>
                    </a:ext>
                  </a:extLst>
                </p:cNvPr>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233" name="Groep 232">
              <a:extLst>
                <a:ext uri="{FF2B5EF4-FFF2-40B4-BE49-F238E27FC236}">
                  <a16:creationId xmlns:a16="http://schemas.microsoft.com/office/drawing/2014/main" id="{6294D34B-E12A-4A05-BA80-D31D30F75C1C}"/>
                </a:ext>
              </a:extLst>
            </p:cNvPr>
            <p:cNvGrpSpPr/>
            <p:nvPr userDrawn="1"/>
          </p:nvGrpSpPr>
          <p:grpSpPr>
            <a:xfrm>
              <a:off x="12548778" y="6003628"/>
              <a:ext cx="1980859" cy="542924"/>
              <a:chOff x="12390702" y="6054428"/>
              <a:chExt cx="1980859" cy="542924"/>
            </a:xfrm>
          </p:grpSpPr>
          <p:sp>
            <p:nvSpPr>
              <p:cNvPr id="237" name="Rechthoek 236">
                <a:extLst>
                  <a:ext uri="{FF2B5EF4-FFF2-40B4-BE49-F238E27FC236}">
                    <a16:creationId xmlns:a16="http://schemas.microsoft.com/office/drawing/2014/main" id="{B74A74DA-E038-4807-A364-581866B63383}"/>
                  </a:ext>
                </a:extLst>
              </p:cNvPr>
              <p:cNvSpPr/>
              <p:nvPr/>
            </p:nvSpPr>
            <p:spPr>
              <a:xfrm>
                <a:off x="12402284" y="6054428"/>
                <a:ext cx="1969277" cy="542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238" name="Rechthoek 237">
                <a:extLst>
                  <a:ext uri="{FF2B5EF4-FFF2-40B4-BE49-F238E27FC236}">
                    <a16:creationId xmlns:a16="http://schemas.microsoft.com/office/drawing/2014/main" id="{4292D501-C2EE-4CEE-9ABC-971CA83B17D6}"/>
                  </a:ext>
                </a:extLst>
              </p:cNvPr>
              <p:cNvSpPr/>
              <p:nvPr/>
            </p:nvSpPr>
            <p:spPr>
              <a:xfrm>
                <a:off x="12662053" y="6062530"/>
                <a:ext cx="1452642" cy="261610"/>
              </a:xfrm>
              <a:prstGeom prst="rect">
                <a:avLst/>
              </a:prstGeom>
            </p:spPr>
            <p:txBody>
              <a:bodyPr wrap="none">
                <a:spAutoFit/>
              </a:bodyPr>
              <a:lstStyle/>
              <a:p>
                <a:r>
                  <a:rPr lang="en-US" sz="1100" dirty="0">
                    <a:latin typeface="+mn-lt"/>
                    <a:ea typeface="Adobe Heiti Std R" panose="020B0400000000000000" pitchFamily="34" charset="-128"/>
                    <a:cs typeface="Segoe UI Light" panose="020B0502040204020203" pitchFamily="34" charset="0"/>
                  </a:rPr>
                  <a:t>Ander </a:t>
                </a:r>
                <a:r>
                  <a:rPr lang="en-US" sz="1100" dirty="0" err="1">
                    <a:latin typeface="+mn-lt"/>
                    <a:ea typeface="Adobe Heiti Std R" panose="020B0400000000000000" pitchFamily="34" charset="-128"/>
                    <a:cs typeface="Segoe UI Light" panose="020B0502040204020203" pitchFamily="34" charset="0"/>
                  </a:rPr>
                  <a:t>grafiektype</a:t>
                </a:r>
                <a:r>
                  <a:rPr lang="en-US" sz="1100" dirty="0">
                    <a:latin typeface="+mn-lt"/>
                    <a:ea typeface="Adobe Heiti Std R" panose="020B0400000000000000" pitchFamily="34" charset="-128"/>
                    <a:cs typeface="Segoe UI Light" panose="020B0502040204020203" pitchFamily="34" charset="0"/>
                  </a:rPr>
                  <a:t>…</a:t>
                </a:r>
              </a:p>
            </p:txBody>
          </p:sp>
          <p:sp>
            <p:nvSpPr>
              <p:cNvPr id="239" name="Gelijkbenige driehoek 238">
                <a:extLst>
                  <a:ext uri="{FF2B5EF4-FFF2-40B4-BE49-F238E27FC236}">
                    <a16:creationId xmlns:a16="http://schemas.microsoft.com/office/drawing/2014/main" id="{1EC60065-DC1D-4922-9122-BD0C76BE775C}"/>
                  </a:ext>
                </a:extLst>
              </p:cNvPr>
              <p:cNvSpPr/>
              <p:nvPr/>
            </p:nvSpPr>
            <p:spPr>
              <a:xfrm rot="5400000">
                <a:off x="14210471" y="6150144"/>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n-lt"/>
                  <a:ea typeface="Adobe Heiti Std R" panose="020B0400000000000000" pitchFamily="34" charset="-128"/>
                  <a:cs typeface="Segoe UI Light" panose="020B0502040204020203" pitchFamily="34" charset="0"/>
                </a:endParaRPr>
              </a:p>
            </p:txBody>
          </p:sp>
          <p:sp>
            <p:nvSpPr>
              <p:cNvPr id="240" name="Afgeronde rechthoek 50">
                <a:extLst>
                  <a:ext uri="{FF2B5EF4-FFF2-40B4-BE49-F238E27FC236}">
                    <a16:creationId xmlns:a16="http://schemas.microsoft.com/office/drawing/2014/main" id="{098AA805-C175-4CB9-A8BF-F92676B0B571}"/>
                  </a:ext>
                </a:extLst>
              </p:cNvPr>
              <p:cNvSpPr/>
              <p:nvPr/>
            </p:nvSpPr>
            <p:spPr>
              <a:xfrm>
                <a:off x="12390702" y="6322741"/>
                <a:ext cx="1973675" cy="268314"/>
              </a:xfrm>
              <a:prstGeom prst="roundRect">
                <a:avLst/>
              </a:prstGeom>
              <a:gradFill>
                <a:gsLst>
                  <a:gs pos="0">
                    <a:srgbClr val="FFF2BD"/>
                  </a:gs>
                  <a:gs pos="34000">
                    <a:srgbClr val="FFE98B"/>
                  </a:gs>
                  <a:gs pos="78000">
                    <a:srgbClr val="FFF5C9"/>
                  </a:gs>
                  <a:gs pos="59000">
                    <a:srgbClr val="FFE98B"/>
                  </a:gs>
                </a:gsLst>
                <a:lin ang="5400000" scaled="0"/>
              </a:gra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1200" dirty="0" err="1">
                    <a:solidFill>
                      <a:schemeClr val="tx1"/>
                    </a:solidFill>
                    <a:latin typeface="+mn-lt"/>
                    <a:ea typeface="Adobe Heiti Std R" panose="020B0400000000000000" pitchFamily="34" charset="-128"/>
                    <a:cs typeface="Segoe UI Light" panose="020B0502040204020203" pitchFamily="34" charset="0"/>
                  </a:rPr>
                  <a:t>Gegevens</a:t>
                </a:r>
                <a:r>
                  <a:rPr lang="en-US" sz="1200" dirty="0">
                    <a:solidFill>
                      <a:schemeClr val="tx1"/>
                    </a:solidFill>
                    <a:latin typeface="+mn-lt"/>
                    <a:ea typeface="Adobe Heiti Std R" panose="020B0400000000000000" pitchFamily="34" charset="-128"/>
                    <a:cs typeface="Segoe UI Light" panose="020B0502040204020203" pitchFamily="34" charset="0"/>
                  </a:rPr>
                  <a:t> </a:t>
                </a:r>
                <a:r>
                  <a:rPr lang="en-US" sz="1200" dirty="0" err="1">
                    <a:solidFill>
                      <a:schemeClr val="tx1"/>
                    </a:solidFill>
                    <a:latin typeface="+mn-lt"/>
                    <a:ea typeface="Adobe Heiti Std R" panose="020B0400000000000000" pitchFamily="34" charset="-128"/>
                    <a:cs typeface="Segoe UI Light" panose="020B0502040204020203" pitchFamily="34" charset="0"/>
                  </a:rPr>
                  <a:t>bewerken</a:t>
                </a:r>
                <a:r>
                  <a:rPr lang="en-US" sz="1200" dirty="0">
                    <a:solidFill>
                      <a:schemeClr val="tx1"/>
                    </a:solidFill>
                    <a:latin typeface="+mn-lt"/>
                    <a:ea typeface="Adobe Heiti Std R" panose="020B0400000000000000" pitchFamily="34" charset="-128"/>
                    <a:cs typeface="Segoe UI Light" panose="020B0502040204020203" pitchFamily="34" charset="0"/>
                  </a:rPr>
                  <a:t>…</a:t>
                </a:r>
              </a:p>
            </p:txBody>
          </p:sp>
          <p:grpSp>
            <p:nvGrpSpPr>
              <p:cNvPr id="241" name="Groep 240">
                <a:extLst>
                  <a:ext uri="{FF2B5EF4-FFF2-40B4-BE49-F238E27FC236}">
                    <a16:creationId xmlns:a16="http://schemas.microsoft.com/office/drawing/2014/main" id="{415435D2-A04B-4ADD-8AA6-FB8F938D26CE}"/>
                  </a:ext>
                </a:extLst>
              </p:cNvPr>
              <p:cNvGrpSpPr/>
              <p:nvPr/>
            </p:nvGrpSpPr>
            <p:grpSpPr>
              <a:xfrm>
                <a:off x="12461788" y="6100223"/>
                <a:ext cx="204691" cy="170000"/>
                <a:chOff x="15171969" y="1587338"/>
                <a:chExt cx="755407" cy="627385"/>
              </a:xfrm>
            </p:grpSpPr>
            <p:sp>
              <p:nvSpPr>
                <p:cNvPr id="258" name="Rechthoek 962">
                  <a:extLst>
                    <a:ext uri="{FF2B5EF4-FFF2-40B4-BE49-F238E27FC236}">
                      <a16:creationId xmlns:a16="http://schemas.microsoft.com/office/drawing/2014/main" id="{80C96942-0654-49D5-926F-BF5A9E9EF522}"/>
                    </a:ext>
                  </a:extLst>
                </p:cNvPr>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259" name="Groep 258">
                  <a:extLst>
                    <a:ext uri="{FF2B5EF4-FFF2-40B4-BE49-F238E27FC236}">
                      <a16:creationId xmlns:a16="http://schemas.microsoft.com/office/drawing/2014/main" id="{53D60B92-8FE3-47C3-B0D2-4308BFF6EC56}"/>
                    </a:ext>
                  </a:extLst>
                </p:cNvPr>
                <p:cNvGrpSpPr/>
                <p:nvPr userDrawn="1"/>
              </p:nvGrpSpPr>
              <p:grpSpPr>
                <a:xfrm>
                  <a:off x="15281106" y="1587338"/>
                  <a:ext cx="511775" cy="560304"/>
                  <a:chOff x="10604642" y="969717"/>
                  <a:chExt cx="1290643" cy="1427163"/>
                </a:xfrm>
              </p:grpSpPr>
              <p:grpSp>
                <p:nvGrpSpPr>
                  <p:cNvPr id="260" name="Group 879">
                    <a:extLst>
                      <a:ext uri="{FF2B5EF4-FFF2-40B4-BE49-F238E27FC236}">
                        <a16:creationId xmlns:a16="http://schemas.microsoft.com/office/drawing/2014/main" id="{74CB0B7F-DC4A-4805-8E4C-E8BC33F0C161}"/>
                      </a:ext>
                    </a:extLst>
                  </p:cNvPr>
                  <p:cNvGrpSpPr>
                    <a:grpSpLocks noChangeAspect="1"/>
                  </p:cNvGrpSpPr>
                  <p:nvPr userDrawn="1"/>
                </p:nvGrpSpPr>
                <p:grpSpPr bwMode="auto">
                  <a:xfrm>
                    <a:off x="10604642" y="969717"/>
                    <a:ext cx="1290643" cy="1427163"/>
                    <a:chOff x="4798" y="1515"/>
                    <a:chExt cx="813" cy="899"/>
                  </a:xfrm>
                </p:grpSpPr>
                <p:sp>
                  <p:nvSpPr>
                    <p:cNvPr id="262" name="Freeform 886">
                      <a:extLst>
                        <a:ext uri="{FF2B5EF4-FFF2-40B4-BE49-F238E27FC236}">
                          <a16:creationId xmlns:a16="http://schemas.microsoft.com/office/drawing/2014/main" id="{58DCEFD5-E63F-4AF9-AFE7-71697A788607}"/>
                        </a:ext>
                      </a:extLst>
                    </p:cNvPr>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3" name="Rectangle 880">
                      <a:extLst>
                        <a:ext uri="{FF2B5EF4-FFF2-40B4-BE49-F238E27FC236}">
                          <a16:creationId xmlns:a16="http://schemas.microsoft.com/office/drawing/2014/main" id="{607AE5B2-F021-4F0A-A22B-865FDC1AF1F7}"/>
                        </a:ext>
                      </a:extLst>
                    </p:cNvPr>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4" name="Rectangle 881">
                      <a:extLst>
                        <a:ext uri="{FF2B5EF4-FFF2-40B4-BE49-F238E27FC236}">
                          <a16:creationId xmlns:a16="http://schemas.microsoft.com/office/drawing/2014/main" id="{5E8FA429-CD72-4F97-9168-90AF3E0071B9}"/>
                        </a:ext>
                      </a:extLst>
                    </p:cNvPr>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5" name="Freeform 882">
                      <a:extLst>
                        <a:ext uri="{FF2B5EF4-FFF2-40B4-BE49-F238E27FC236}">
                          <a16:creationId xmlns:a16="http://schemas.microsoft.com/office/drawing/2014/main" id="{5A72315C-D9EC-44E6-897C-83F1A8935714}"/>
                        </a:ext>
                      </a:extLst>
                    </p:cNvPr>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6" name="Freeform 883">
                      <a:extLst>
                        <a:ext uri="{FF2B5EF4-FFF2-40B4-BE49-F238E27FC236}">
                          <a16:creationId xmlns:a16="http://schemas.microsoft.com/office/drawing/2014/main" id="{A7FACE2C-89E7-4A54-80EB-6672F9F7CA4E}"/>
                        </a:ext>
                      </a:extLst>
                    </p:cNvPr>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7" name="Freeform 884">
                      <a:extLst>
                        <a:ext uri="{FF2B5EF4-FFF2-40B4-BE49-F238E27FC236}">
                          <a16:creationId xmlns:a16="http://schemas.microsoft.com/office/drawing/2014/main" id="{3DF6E8FA-4187-446E-BFDC-16EBAE46D0E6}"/>
                        </a:ext>
                      </a:extLst>
                    </p:cNvPr>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8" name="Rectangle 885">
                      <a:extLst>
                        <a:ext uri="{FF2B5EF4-FFF2-40B4-BE49-F238E27FC236}">
                          <a16:creationId xmlns:a16="http://schemas.microsoft.com/office/drawing/2014/main" id="{884D3C90-4D0B-4873-9BC4-2A5B5F9C5BB6}"/>
                        </a:ext>
                      </a:extLst>
                    </p:cNvPr>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9" name="Rectangle 887">
                      <a:extLst>
                        <a:ext uri="{FF2B5EF4-FFF2-40B4-BE49-F238E27FC236}">
                          <a16:creationId xmlns:a16="http://schemas.microsoft.com/office/drawing/2014/main" id="{6AA79905-CF02-4911-956B-4171026F5277}"/>
                        </a:ext>
                      </a:extLst>
                    </p:cNvPr>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70" name="Freeform 888">
                      <a:extLst>
                        <a:ext uri="{FF2B5EF4-FFF2-40B4-BE49-F238E27FC236}">
                          <a16:creationId xmlns:a16="http://schemas.microsoft.com/office/drawing/2014/main" id="{A94794FE-8161-47C1-A784-E85E4EBBEA6E}"/>
                        </a:ext>
                      </a:extLst>
                    </p:cNvPr>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261" name="Vrije vorm 71">
                    <a:extLst>
                      <a:ext uri="{FF2B5EF4-FFF2-40B4-BE49-F238E27FC236}">
                        <a16:creationId xmlns:a16="http://schemas.microsoft.com/office/drawing/2014/main" id="{64095302-CDC0-473A-AB79-D49D577D368B}"/>
                      </a:ext>
                    </a:extLst>
                  </p:cNvPr>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242" name="Groep 241">
                <a:extLst>
                  <a:ext uri="{FF2B5EF4-FFF2-40B4-BE49-F238E27FC236}">
                    <a16:creationId xmlns:a16="http://schemas.microsoft.com/office/drawing/2014/main" id="{5E601891-4F99-49C5-B4F9-3BB1AACBE904}"/>
                  </a:ext>
                </a:extLst>
              </p:cNvPr>
              <p:cNvGrpSpPr/>
              <p:nvPr/>
            </p:nvGrpSpPr>
            <p:grpSpPr>
              <a:xfrm>
                <a:off x="12468521" y="6356844"/>
                <a:ext cx="133446" cy="114786"/>
                <a:chOff x="14587469" y="6356844"/>
                <a:chExt cx="133446" cy="114786"/>
              </a:xfrm>
            </p:grpSpPr>
            <p:sp>
              <p:nvSpPr>
                <p:cNvPr id="248" name="Rectangle 6">
                  <a:extLst>
                    <a:ext uri="{FF2B5EF4-FFF2-40B4-BE49-F238E27FC236}">
                      <a16:creationId xmlns:a16="http://schemas.microsoft.com/office/drawing/2014/main" id="{A2C79575-5F73-4A6C-BD14-73C6A05F5BAD}"/>
                    </a:ext>
                  </a:extLst>
                </p:cNvPr>
                <p:cNvSpPr>
                  <a:spLocks noChangeArrowheads="1"/>
                </p:cNvSpPr>
                <p:nvPr userDrawn="1"/>
              </p:nvSpPr>
              <p:spPr bwMode="auto">
                <a:xfrm>
                  <a:off x="14588703" y="6379233"/>
                  <a:ext cx="130780" cy="91699"/>
                </a:xfrm>
                <a:prstGeom prst="rect">
                  <a:avLst/>
                </a:prstGeom>
                <a:solidFill>
                  <a:srgbClr val="F2FAFF"/>
                </a:solidFill>
                <a:ln w="0">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249" name="Rectangle 15">
                  <a:extLst>
                    <a:ext uri="{FF2B5EF4-FFF2-40B4-BE49-F238E27FC236}">
                      <a16:creationId xmlns:a16="http://schemas.microsoft.com/office/drawing/2014/main" id="{2835FD5B-10B7-4540-9DF9-B406114453D2}"/>
                    </a:ext>
                  </a:extLst>
                </p:cNvPr>
                <p:cNvSpPr>
                  <a:spLocks noChangeArrowheads="1"/>
                </p:cNvSpPr>
                <p:nvPr userDrawn="1"/>
              </p:nvSpPr>
              <p:spPr bwMode="auto">
                <a:xfrm>
                  <a:off x="14587469" y="6423761"/>
                  <a:ext cx="131076" cy="1446"/>
                </a:xfrm>
                <a:prstGeom prst="rect">
                  <a:avLst/>
                </a:prstGeom>
                <a:gradFill flip="none" rotWithShape="1">
                  <a:gsLst>
                    <a:gs pos="20000">
                      <a:srgbClr val="0039AC"/>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250" name="Freeform 14">
                  <a:extLst>
                    <a:ext uri="{FF2B5EF4-FFF2-40B4-BE49-F238E27FC236}">
                      <a16:creationId xmlns:a16="http://schemas.microsoft.com/office/drawing/2014/main" id="{7487E8A6-04EC-4CC8-A14A-599BC9BD9A8E}"/>
                    </a:ext>
                  </a:extLst>
                </p:cNvPr>
                <p:cNvSpPr>
                  <a:spLocks noEditPoints="1"/>
                </p:cNvSpPr>
                <p:nvPr userDrawn="1"/>
              </p:nvSpPr>
              <p:spPr bwMode="auto">
                <a:xfrm>
                  <a:off x="14588901" y="6356844"/>
                  <a:ext cx="132014" cy="114786"/>
                </a:xfrm>
                <a:custGeom>
                  <a:avLst/>
                  <a:gdLst>
                    <a:gd name="T0" fmla="*/ 48 w 5347"/>
                    <a:gd name="T1" fmla="*/ 48 h 4605"/>
                    <a:gd name="T2" fmla="*/ 48 w 5347"/>
                    <a:gd name="T3" fmla="*/ 4557 h 4605"/>
                    <a:gd name="T4" fmla="*/ 5299 w 5347"/>
                    <a:gd name="T5" fmla="*/ 4557 h 4605"/>
                    <a:gd name="T6" fmla="*/ 5299 w 5347"/>
                    <a:gd name="T7" fmla="*/ 48 h 4605"/>
                    <a:gd name="T8" fmla="*/ 48 w 5347"/>
                    <a:gd name="T9" fmla="*/ 48 h 4605"/>
                    <a:gd name="T10" fmla="*/ 0 w 5347"/>
                    <a:gd name="T11" fmla="*/ 0 h 4605"/>
                    <a:gd name="T12" fmla="*/ 5347 w 5347"/>
                    <a:gd name="T13" fmla="*/ 0 h 4605"/>
                    <a:gd name="T14" fmla="*/ 5347 w 5347"/>
                    <a:gd name="T15" fmla="*/ 4605 h 4605"/>
                    <a:gd name="T16" fmla="*/ 0 w 5347"/>
                    <a:gd name="T17" fmla="*/ 4605 h 4605"/>
                    <a:gd name="T18" fmla="*/ 0 w 5347"/>
                    <a:gd name="T19" fmla="*/ 0 h 4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7" h="4605">
                      <a:moveTo>
                        <a:pt x="48" y="48"/>
                      </a:moveTo>
                      <a:lnTo>
                        <a:pt x="48" y="4557"/>
                      </a:lnTo>
                      <a:lnTo>
                        <a:pt x="5299" y="4557"/>
                      </a:lnTo>
                      <a:lnTo>
                        <a:pt x="5299" y="48"/>
                      </a:lnTo>
                      <a:lnTo>
                        <a:pt x="48" y="48"/>
                      </a:lnTo>
                      <a:close/>
                      <a:moveTo>
                        <a:pt x="0" y="0"/>
                      </a:moveTo>
                      <a:lnTo>
                        <a:pt x="5347" y="0"/>
                      </a:lnTo>
                      <a:lnTo>
                        <a:pt x="5347" y="4605"/>
                      </a:lnTo>
                      <a:lnTo>
                        <a:pt x="0" y="4605"/>
                      </a:lnTo>
                      <a:lnTo>
                        <a:pt x="0" y="0"/>
                      </a:lnTo>
                      <a:close/>
                    </a:path>
                  </a:pathLst>
                </a:custGeom>
                <a:solidFill>
                  <a:srgbClr val="2E5D8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cxnSp>
              <p:nvCxnSpPr>
                <p:cNvPr id="251" name="Rechte verbindingslijn 250">
                  <a:extLst>
                    <a:ext uri="{FF2B5EF4-FFF2-40B4-BE49-F238E27FC236}">
                      <a16:creationId xmlns:a16="http://schemas.microsoft.com/office/drawing/2014/main" id="{E2B9C059-76C4-42AE-BF7A-38D12FBAD4D0}"/>
                    </a:ext>
                  </a:extLst>
                </p:cNvPr>
                <p:cNvCxnSpPr/>
                <p:nvPr userDrawn="1"/>
              </p:nvCxnSpPr>
              <p:spPr>
                <a:xfrm flipH="1">
                  <a:off x="14654334" y="6382168"/>
                  <a:ext cx="162"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2" name="Rechte verbindingslijn 251">
                  <a:extLst>
                    <a:ext uri="{FF2B5EF4-FFF2-40B4-BE49-F238E27FC236}">
                      <a16:creationId xmlns:a16="http://schemas.microsoft.com/office/drawing/2014/main" id="{3F40CD88-8162-4C23-A974-AC264E14D506}"/>
                    </a:ext>
                  </a:extLst>
                </p:cNvPr>
                <p:cNvCxnSpPr/>
                <p:nvPr userDrawn="1"/>
              </p:nvCxnSpPr>
              <p:spPr>
                <a:xfrm>
                  <a:off x="14689188" y="6382168"/>
                  <a:ext cx="0"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3" name="Rechte verbindingslijn 252">
                  <a:extLst>
                    <a:ext uri="{FF2B5EF4-FFF2-40B4-BE49-F238E27FC236}">
                      <a16:creationId xmlns:a16="http://schemas.microsoft.com/office/drawing/2014/main" id="{D874DFBD-E7CB-4B9E-B7AA-CD0B325E9394}"/>
                    </a:ext>
                  </a:extLst>
                </p:cNvPr>
                <p:cNvCxnSpPr/>
                <p:nvPr userDrawn="1"/>
              </p:nvCxnSpPr>
              <p:spPr>
                <a:xfrm>
                  <a:off x="14619892" y="6382040"/>
                  <a:ext cx="0" cy="8577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4" name="Rechte verbindingslijn 253">
                  <a:extLst>
                    <a:ext uri="{FF2B5EF4-FFF2-40B4-BE49-F238E27FC236}">
                      <a16:creationId xmlns:a16="http://schemas.microsoft.com/office/drawing/2014/main" id="{E7F72897-3D4D-4214-95B7-28EF87F40B4E}"/>
                    </a:ext>
                  </a:extLst>
                </p:cNvPr>
                <p:cNvCxnSpPr/>
                <p:nvPr userDrawn="1"/>
              </p:nvCxnSpPr>
              <p:spPr>
                <a:xfrm flipH="1">
                  <a:off x="14593115" y="6400164"/>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5" name="Rechte verbindingslijn 254">
                  <a:extLst>
                    <a:ext uri="{FF2B5EF4-FFF2-40B4-BE49-F238E27FC236}">
                      <a16:creationId xmlns:a16="http://schemas.microsoft.com/office/drawing/2014/main" id="{78C2F3FC-7591-4AFD-9104-BB308AB7F58C}"/>
                    </a:ext>
                  </a:extLst>
                </p:cNvPr>
                <p:cNvCxnSpPr/>
                <p:nvPr userDrawn="1"/>
              </p:nvCxnSpPr>
              <p:spPr>
                <a:xfrm flipH="1">
                  <a:off x="14593115" y="6423860"/>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6" name="Rechte verbindingslijn 255">
                  <a:extLst>
                    <a:ext uri="{FF2B5EF4-FFF2-40B4-BE49-F238E27FC236}">
                      <a16:creationId xmlns:a16="http://schemas.microsoft.com/office/drawing/2014/main" id="{BCAAB8FC-73FA-46A7-BB5B-230814CB6591}"/>
                    </a:ext>
                  </a:extLst>
                </p:cNvPr>
                <p:cNvCxnSpPr/>
                <p:nvPr userDrawn="1"/>
              </p:nvCxnSpPr>
              <p:spPr>
                <a:xfrm flipH="1">
                  <a:off x="14593115" y="6447556"/>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57" name="Rectangle 13">
                  <a:extLst>
                    <a:ext uri="{FF2B5EF4-FFF2-40B4-BE49-F238E27FC236}">
                      <a16:creationId xmlns:a16="http://schemas.microsoft.com/office/drawing/2014/main" id="{D7697778-2488-4C65-AE36-868045258283}"/>
                    </a:ext>
                  </a:extLst>
                </p:cNvPr>
                <p:cNvSpPr>
                  <a:spLocks noChangeArrowheads="1"/>
                </p:cNvSpPr>
                <p:nvPr userDrawn="1"/>
              </p:nvSpPr>
              <p:spPr bwMode="auto">
                <a:xfrm>
                  <a:off x="14590283" y="6359138"/>
                  <a:ext cx="128657" cy="19347"/>
                </a:xfrm>
                <a:prstGeom prst="rect">
                  <a:avLst/>
                </a:prstGeom>
                <a:gradFill flip="none" rotWithShape="1">
                  <a:gsLst>
                    <a:gs pos="0">
                      <a:srgbClr val="1929FF"/>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grpSp>
          <p:grpSp>
            <p:nvGrpSpPr>
              <p:cNvPr id="243" name="Groep 242">
                <a:extLst>
                  <a:ext uri="{FF2B5EF4-FFF2-40B4-BE49-F238E27FC236}">
                    <a16:creationId xmlns:a16="http://schemas.microsoft.com/office/drawing/2014/main" id="{91FDB135-D9FB-4F1A-92EB-BA7BEC9D349B}"/>
                  </a:ext>
                </a:extLst>
              </p:cNvPr>
              <p:cNvGrpSpPr/>
              <p:nvPr/>
            </p:nvGrpSpPr>
            <p:grpSpPr>
              <a:xfrm>
                <a:off x="12529899" y="6421402"/>
                <a:ext cx="97399" cy="97399"/>
                <a:chOff x="14546483" y="5323041"/>
                <a:chExt cx="242460" cy="242460"/>
              </a:xfrm>
            </p:grpSpPr>
            <p:sp>
              <p:nvSpPr>
                <p:cNvPr id="244" name="Rechthoek 243">
                  <a:extLst>
                    <a:ext uri="{FF2B5EF4-FFF2-40B4-BE49-F238E27FC236}">
                      <a16:creationId xmlns:a16="http://schemas.microsoft.com/office/drawing/2014/main" id="{2955F9D3-3BC4-4F2F-A7A0-235B4FBD9E44}"/>
                    </a:ext>
                  </a:extLst>
                </p:cNvPr>
                <p:cNvSpPr/>
                <p:nvPr userDrawn="1"/>
              </p:nvSpPr>
              <p:spPr>
                <a:xfrm>
                  <a:off x="14546483" y="5323041"/>
                  <a:ext cx="242460" cy="242460"/>
                </a:xfrm>
                <a:prstGeom prst="rect">
                  <a:avLst/>
                </a:prstGeom>
                <a:solidFill>
                  <a:schemeClr val="bg1"/>
                </a:solidFill>
                <a:ln w="6350">
                  <a:solidFill>
                    <a:srgbClr val="00A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nvGrpSpPr>
                <p:cNvPr id="245" name="Groep 244">
                  <a:extLst>
                    <a:ext uri="{FF2B5EF4-FFF2-40B4-BE49-F238E27FC236}">
                      <a16:creationId xmlns:a16="http://schemas.microsoft.com/office/drawing/2014/main" id="{A4D3D7CC-B167-492E-969A-2C1C870A0A29}"/>
                    </a:ext>
                  </a:extLst>
                </p:cNvPr>
                <p:cNvGrpSpPr/>
                <p:nvPr/>
              </p:nvGrpSpPr>
              <p:grpSpPr>
                <a:xfrm>
                  <a:off x="14568035" y="5357818"/>
                  <a:ext cx="199836" cy="175226"/>
                  <a:chOff x="14559757" y="5349611"/>
                  <a:chExt cx="216392" cy="191641"/>
                </a:xfrm>
              </p:grpSpPr>
              <p:sp>
                <p:nvSpPr>
                  <p:cNvPr id="246" name="Parallellogram 245">
                    <a:extLst>
                      <a:ext uri="{FF2B5EF4-FFF2-40B4-BE49-F238E27FC236}">
                        <a16:creationId xmlns:a16="http://schemas.microsoft.com/office/drawing/2014/main" id="{B264540E-0300-4ADE-B56F-BC053655D2E7}"/>
                      </a:ext>
                    </a:extLst>
                  </p:cNvPr>
                  <p:cNvSpPr/>
                  <p:nvPr/>
                </p:nvSpPr>
                <p:spPr>
                  <a:xfrm>
                    <a:off x="14559757" y="5369222"/>
                    <a:ext cx="214316" cy="147762"/>
                  </a:xfrm>
                  <a:prstGeom prst="parallelogram">
                    <a:avLst>
                      <a:gd name="adj" fmla="val 93909"/>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247" name="Parallellogram 246">
                    <a:extLst>
                      <a:ext uri="{FF2B5EF4-FFF2-40B4-BE49-F238E27FC236}">
                        <a16:creationId xmlns:a16="http://schemas.microsoft.com/office/drawing/2014/main" id="{3CA4689D-3A29-4DDB-8175-F2BEAA047A5F}"/>
                      </a:ext>
                    </a:extLst>
                  </p:cNvPr>
                  <p:cNvSpPr/>
                  <p:nvPr/>
                </p:nvSpPr>
                <p:spPr>
                  <a:xfrm flipH="1">
                    <a:off x="14561833" y="5349611"/>
                    <a:ext cx="214316" cy="191641"/>
                  </a:xfrm>
                  <a:prstGeom prst="parallelogram">
                    <a:avLst>
                      <a:gd name="adj" fmla="val 68946"/>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grpSp>
        </p:grpSp>
        <p:sp>
          <p:nvSpPr>
            <p:cNvPr id="234" name="Tekstvak 33">
              <a:extLst>
                <a:ext uri="{FF2B5EF4-FFF2-40B4-BE49-F238E27FC236}">
                  <a16:creationId xmlns:a16="http://schemas.microsoft.com/office/drawing/2014/main" id="{BF4E3C7F-ADBC-4EEF-A4F9-9934B037242B}"/>
                </a:ext>
              </a:extLst>
            </p:cNvPr>
            <p:cNvSpPr txBox="1"/>
            <p:nvPr userDrawn="1"/>
          </p:nvSpPr>
          <p:spPr>
            <a:xfrm>
              <a:off x="12537681" y="5123358"/>
              <a:ext cx="2588841" cy="646331"/>
            </a:xfrm>
            <a:prstGeom prst="rect">
              <a:avLst/>
            </a:prstGeom>
            <a:noFill/>
          </p:spPr>
          <p:txBody>
            <a:bodyPr wrap="square" lIns="0" tIns="0" rIns="0" bIns="0" rtlCol="0" anchor="t">
              <a:spAutoFit/>
            </a:bodyPr>
            <a:lstStyle>
              <a:defPPr>
                <a:defRPr lang="nl-NL"/>
              </a:defPPr>
              <a:lvl1pPr marR="0" lvl="0" indent="0" defTabSz="914400" fontAlgn="auto">
                <a:lnSpc>
                  <a:spcPct val="100000"/>
                </a:lnSpc>
                <a:spcBef>
                  <a:spcPts val="0"/>
                </a:spcBef>
                <a:spcAft>
                  <a:spcPts val="0"/>
                </a:spcAft>
                <a:buClrTx/>
                <a:buSzTx/>
                <a:buFontTx/>
                <a:buNone/>
                <a:tabLst/>
                <a:defRPr kumimoji="0" sz="1400" b="0" i="0" u="none" strike="noStrike" kern="0" cap="none" spc="0" normalizeH="0" baseline="0">
                  <a:ln>
                    <a:noFill/>
                  </a:ln>
                  <a:effectLst/>
                  <a:uLnTx/>
                  <a:uFillTx/>
                  <a:latin typeface="Calibri"/>
                  <a:ea typeface="Tahoma" pitchFamily="34" charset="0"/>
                  <a:cs typeface="Arial" pitchFamily="34" charset="0"/>
                </a:defRPr>
              </a:lvl1pPr>
            </a:lstStyle>
            <a:p>
              <a:pPr lvl="0"/>
              <a:r>
                <a:rPr lang="nl-NL" dirty="0">
                  <a:solidFill>
                    <a:schemeClr val="tx2"/>
                  </a:solidFill>
                  <a:latin typeface="+mn-lt"/>
                </a:rPr>
                <a:t>Selecteer de grafiek, klik op de rechter muisknop en kies </a:t>
              </a:r>
              <a:r>
                <a:rPr lang="nl-NL" b="0" dirty="0">
                  <a:solidFill>
                    <a:schemeClr val="tx2"/>
                  </a:solidFill>
                  <a:latin typeface="+mj-lt"/>
                </a:rPr>
                <a:t>‘Gegevens bewerken’</a:t>
              </a:r>
            </a:p>
          </p:txBody>
        </p:sp>
        <p:sp>
          <p:nvSpPr>
            <p:cNvPr id="235" name="Rechthoek 234">
              <a:extLst>
                <a:ext uri="{FF2B5EF4-FFF2-40B4-BE49-F238E27FC236}">
                  <a16:creationId xmlns:a16="http://schemas.microsoft.com/office/drawing/2014/main" id="{D3297F07-476F-4144-9898-3B1B49FC51A4}"/>
                </a:ext>
              </a:extLst>
            </p:cNvPr>
            <p:cNvSpPr/>
            <p:nvPr userDrawn="1"/>
          </p:nvSpPr>
          <p:spPr>
            <a:xfrm>
              <a:off x="12363871" y="4529047"/>
              <a:ext cx="2584447" cy="3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lvl="0"/>
              <a:r>
                <a:rPr lang="nl-NL" sz="1600" b="0" dirty="0">
                  <a:solidFill>
                    <a:schemeClr val="tx2"/>
                  </a:solidFill>
                  <a:latin typeface="+mj-lt"/>
                </a:rPr>
                <a:t>GRAFIEK BEWERKEN</a:t>
              </a:r>
            </a:p>
          </p:txBody>
        </p:sp>
        <p:pic>
          <p:nvPicPr>
            <p:cNvPr id="236" name="Picture 3">
              <a:extLst>
                <a:ext uri="{FF2B5EF4-FFF2-40B4-BE49-F238E27FC236}">
                  <a16:creationId xmlns:a16="http://schemas.microsoft.com/office/drawing/2014/main" id="{D174C7C2-2FE4-4532-87AF-841377AC2F78}"/>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4262557" y="6394752"/>
              <a:ext cx="158644" cy="256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53" name="Groep 352">
            <a:extLst>
              <a:ext uri="{FF2B5EF4-FFF2-40B4-BE49-F238E27FC236}">
                <a16:creationId xmlns:a16="http://schemas.microsoft.com/office/drawing/2014/main" id="{DE4044AE-64EE-495E-90FB-688BA2AF0D71}"/>
              </a:ext>
            </a:extLst>
          </p:cNvPr>
          <p:cNvGrpSpPr/>
          <p:nvPr userDrawn="1"/>
        </p:nvGrpSpPr>
        <p:grpSpPr>
          <a:xfrm>
            <a:off x="-2973833" y="0"/>
            <a:ext cx="2808312" cy="5805264"/>
            <a:chOff x="-2973833" y="0"/>
            <a:chExt cx="2808312" cy="5805264"/>
          </a:xfrm>
        </p:grpSpPr>
        <p:sp>
          <p:nvSpPr>
            <p:cNvPr id="354" name="Rechthoek 353">
              <a:extLst>
                <a:ext uri="{FF2B5EF4-FFF2-40B4-BE49-F238E27FC236}">
                  <a16:creationId xmlns:a16="http://schemas.microsoft.com/office/drawing/2014/main" id="{B420D42A-976D-40D1-9656-0327E5BF6058}"/>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355" name="Textfield placeholder">
              <a:extLst>
                <a:ext uri="{FF2B5EF4-FFF2-40B4-BE49-F238E27FC236}">
                  <a16:creationId xmlns:a16="http://schemas.microsoft.com/office/drawing/2014/main" id="{44356E7B-7BBC-41EF-AB0F-E135E7EB7D6B}"/>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356" name="Ovaal 355">
              <a:extLst>
                <a:ext uri="{FF2B5EF4-FFF2-40B4-BE49-F238E27FC236}">
                  <a16:creationId xmlns:a16="http://schemas.microsoft.com/office/drawing/2014/main" id="{9026E598-9DAF-4476-A55B-A32C8B36C5BE}"/>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357" name="Ovaal 356">
              <a:extLst>
                <a:ext uri="{FF2B5EF4-FFF2-40B4-BE49-F238E27FC236}">
                  <a16:creationId xmlns:a16="http://schemas.microsoft.com/office/drawing/2014/main" id="{DAB7BA3D-6710-4A1E-A97C-4C887F4C8C78}"/>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358" name="Ovaal 357">
              <a:extLst>
                <a:ext uri="{FF2B5EF4-FFF2-40B4-BE49-F238E27FC236}">
                  <a16:creationId xmlns:a16="http://schemas.microsoft.com/office/drawing/2014/main" id="{D1C4277B-7200-42C7-BF00-E4F36093D447}"/>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359" name="Ovaal 358">
              <a:extLst>
                <a:ext uri="{FF2B5EF4-FFF2-40B4-BE49-F238E27FC236}">
                  <a16:creationId xmlns:a16="http://schemas.microsoft.com/office/drawing/2014/main" id="{C61D4F8F-FF3C-4058-BBAE-035E8A7441D9}"/>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360" name="Textfield placeholder">
              <a:extLst>
                <a:ext uri="{FF2B5EF4-FFF2-40B4-BE49-F238E27FC236}">
                  <a16:creationId xmlns:a16="http://schemas.microsoft.com/office/drawing/2014/main" id="{1A187A43-B355-47C0-9ECE-D9C88187A641}"/>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361" name="Textfield placeholder">
              <a:extLst>
                <a:ext uri="{FF2B5EF4-FFF2-40B4-BE49-F238E27FC236}">
                  <a16:creationId xmlns:a16="http://schemas.microsoft.com/office/drawing/2014/main" id="{A7C43770-F372-4571-AF68-6D991FB81EDB}"/>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362" name="Textfield placeholder">
              <a:extLst>
                <a:ext uri="{FF2B5EF4-FFF2-40B4-BE49-F238E27FC236}">
                  <a16:creationId xmlns:a16="http://schemas.microsoft.com/office/drawing/2014/main" id="{AD4F3D93-7CCC-4C91-8FD6-33D807092074}"/>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363" name="Rechte verbindingslijn 362">
              <a:extLst>
                <a:ext uri="{FF2B5EF4-FFF2-40B4-BE49-F238E27FC236}">
                  <a16:creationId xmlns:a16="http://schemas.microsoft.com/office/drawing/2014/main" id="{586C3164-8B9E-4228-89D5-01C854E5DFBC}"/>
                </a:ext>
              </a:extLst>
            </p:cNvPr>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4" name="Rechte verbindingslijn 363">
              <a:extLst>
                <a:ext uri="{FF2B5EF4-FFF2-40B4-BE49-F238E27FC236}">
                  <a16:creationId xmlns:a16="http://schemas.microsoft.com/office/drawing/2014/main" id="{B67C8CD7-D77A-4560-BF20-5CD3A83CE6DA}"/>
                </a:ext>
              </a:extLst>
            </p:cNvPr>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5" name="Rechte verbindingslijn 364">
              <a:extLst>
                <a:ext uri="{FF2B5EF4-FFF2-40B4-BE49-F238E27FC236}">
                  <a16:creationId xmlns:a16="http://schemas.microsoft.com/office/drawing/2014/main" id="{A416EB3D-9DD1-42C7-A2A8-8B809F785542}"/>
                </a:ext>
              </a:extLst>
            </p:cNvPr>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366" name="Picture 3">
              <a:extLst>
                <a:ext uri="{FF2B5EF4-FFF2-40B4-BE49-F238E27FC236}">
                  <a16:creationId xmlns:a16="http://schemas.microsoft.com/office/drawing/2014/main" id="{FA7BF4A1-538E-4286-8872-BF0A3C9BD103}"/>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7" name="Picture 4">
              <a:extLst>
                <a:ext uri="{FF2B5EF4-FFF2-40B4-BE49-F238E27FC236}">
                  <a16:creationId xmlns:a16="http://schemas.microsoft.com/office/drawing/2014/main" id="{BBDC7EB3-591D-4421-9CDB-CEBD933E0EE3}"/>
                </a:ext>
              </a:extLst>
            </p:cNvPr>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68" name="Groep 367">
              <a:extLst>
                <a:ext uri="{FF2B5EF4-FFF2-40B4-BE49-F238E27FC236}">
                  <a16:creationId xmlns:a16="http://schemas.microsoft.com/office/drawing/2014/main" id="{2FAFC09F-4812-4487-8EE6-3DF719FA7FF7}"/>
                </a:ext>
              </a:extLst>
            </p:cNvPr>
            <p:cNvGrpSpPr/>
            <p:nvPr userDrawn="1"/>
          </p:nvGrpSpPr>
          <p:grpSpPr>
            <a:xfrm>
              <a:off x="-2098870" y="523279"/>
              <a:ext cx="435437" cy="427699"/>
              <a:chOff x="-1085063" y="758027"/>
              <a:chExt cx="633800" cy="622540"/>
            </a:xfrm>
          </p:grpSpPr>
          <p:sp>
            <p:nvSpPr>
              <p:cNvPr id="409" name="Afgeronde rechthoek 133">
                <a:extLst>
                  <a:ext uri="{FF2B5EF4-FFF2-40B4-BE49-F238E27FC236}">
                    <a16:creationId xmlns:a16="http://schemas.microsoft.com/office/drawing/2014/main" id="{6C0710DE-8523-4C81-B597-29A0031257F6}"/>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410" name="Groep 409">
                <a:extLst>
                  <a:ext uri="{FF2B5EF4-FFF2-40B4-BE49-F238E27FC236}">
                    <a16:creationId xmlns:a16="http://schemas.microsoft.com/office/drawing/2014/main" id="{C489F864-0304-4124-A598-5DE80A1FCC2D}"/>
                  </a:ext>
                </a:extLst>
              </p:cNvPr>
              <p:cNvGrpSpPr/>
              <p:nvPr userDrawn="1"/>
            </p:nvGrpSpPr>
            <p:grpSpPr>
              <a:xfrm>
                <a:off x="-977746" y="864082"/>
                <a:ext cx="419166" cy="410430"/>
                <a:chOff x="6366933" y="309013"/>
                <a:chExt cx="1901295" cy="1861668"/>
              </a:xfrm>
              <a:solidFill>
                <a:schemeClr val="tx1"/>
              </a:solidFill>
            </p:grpSpPr>
            <p:sp>
              <p:nvSpPr>
                <p:cNvPr id="411" name="Rechthoek 410">
                  <a:extLst>
                    <a:ext uri="{FF2B5EF4-FFF2-40B4-BE49-F238E27FC236}">
                      <a16:creationId xmlns:a16="http://schemas.microsoft.com/office/drawing/2014/main" id="{1B7F0B6C-762C-49AA-9F10-44F9AEB41838}"/>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2" name="Rechthoek 411">
                  <a:extLst>
                    <a:ext uri="{FF2B5EF4-FFF2-40B4-BE49-F238E27FC236}">
                      <a16:creationId xmlns:a16="http://schemas.microsoft.com/office/drawing/2014/main" id="{0B1FA537-9221-4DA3-B9A8-459EFB220BE1}"/>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3" name="Rechthoek 412">
                  <a:extLst>
                    <a:ext uri="{FF2B5EF4-FFF2-40B4-BE49-F238E27FC236}">
                      <a16:creationId xmlns:a16="http://schemas.microsoft.com/office/drawing/2014/main" id="{3F50FDE2-D6BF-4581-90C1-A17359D7D48B}"/>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4" name="Rechthoek 413">
                  <a:extLst>
                    <a:ext uri="{FF2B5EF4-FFF2-40B4-BE49-F238E27FC236}">
                      <a16:creationId xmlns:a16="http://schemas.microsoft.com/office/drawing/2014/main" id="{4CE84002-2CCC-42D4-ADDB-640191138278}"/>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5" name="Rechthoek 414">
                  <a:extLst>
                    <a:ext uri="{FF2B5EF4-FFF2-40B4-BE49-F238E27FC236}">
                      <a16:creationId xmlns:a16="http://schemas.microsoft.com/office/drawing/2014/main" id="{848765F4-E675-4AAC-BC36-76D604B8644C}"/>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6" name="Rechthoek 415">
                  <a:extLst>
                    <a:ext uri="{FF2B5EF4-FFF2-40B4-BE49-F238E27FC236}">
                      <a16:creationId xmlns:a16="http://schemas.microsoft.com/office/drawing/2014/main" id="{713E7327-0C3B-4C55-9B46-9EA31866F54F}"/>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7" name="Rechthoek 416">
                  <a:extLst>
                    <a:ext uri="{FF2B5EF4-FFF2-40B4-BE49-F238E27FC236}">
                      <a16:creationId xmlns:a16="http://schemas.microsoft.com/office/drawing/2014/main" id="{AE64B53E-6496-4C38-BC64-1C0BBDB47B3F}"/>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8" name="Rechthoek 417">
                  <a:extLst>
                    <a:ext uri="{FF2B5EF4-FFF2-40B4-BE49-F238E27FC236}">
                      <a16:creationId xmlns:a16="http://schemas.microsoft.com/office/drawing/2014/main" id="{413AD0BA-511E-40B4-B4E6-3A962504D144}"/>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9" name="Rechthoek 418">
                  <a:extLst>
                    <a:ext uri="{FF2B5EF4-FFF2-40B4-BE49-F238E27FC236}">
                      <a16:creationId xmlns:a16="http://schemas.microsoft.com/office/drawing/2014/main" id="{D466F5C1-8F91-4415-868C-C9231F1E4581}"/>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20" name="Rechthoek 419">
                  <a:extLst>
                    <a:ext uri="{FF2B5EF4-FFF2-40B4-BE49-F238E27FC236}">
                      <a16:creationId xmlns:a16="http://schemas.microsoft.com/office/drawing/2014/main" id="{E471C4CC-4D74-460A-A3C4-222C02DE536A}"/>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21" name="Vrije vorm 145">
                  <a:extLst>
                    <a:ext uri="{FF2B5EF4-FFF2-40B4-BE49-F238E27FC236}">
                      <a16:creationId xmlns:a16="http://schemas.microsoft.com/office/drawing/2014/main" id="{DBBFE3C1-2FC5-454A-9159-5CD4A7EBA50D}"/>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369" name="Groep 368">
              <a:extLst>
                <a:ext uri="{FF2B5EF4-FFF2-40B4-BE49-F238E27FC236}">
                  <a16:creationId xmlns:a16="http://schemas.microsoft.com/office/drawing/2014/main" id="{59AC8782-A4AC-4E52-B57C-32168B32FC16}"/>
                </a:ext>
              </a:extLst>
            </p:cNvPr>
            <p:cNvGrpSpPr/>
            <p:nvPr userDrawn="1"/>
          </p:nvGrpSpPr>
          <p:grpSpPr>
            <a:xfrm>
              <a:off x="-2095303" y="1071657"/>
              <a:ext cx="435437" cy="427699"/>
              <a:chOff x="-1845083" y="758027"/>
              <a:chExt cx="633800" cy="622540"/>
            </a:xfrm>
          </p:grpSpPr>
          <p:sp>
            <p:nvSpPr>
              <p:cNvPr id="396" name="Afgeronde rechthoek 120">
                <a:extLst>
                  <a:ext uri="{FF2B5EF4-FFF2-40B4-BE49-F238E27FC236}">
                    <a16:creationId xmlns:a16="http://schemas.microsoft.com/office/drawing/2014/main" id="{439E270A-F632-41C9-B307-7584A3A81034}"/>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397" name="Groep 396">
                <a:extLst>
                  <a:ext uri="{FF2B5EF4-FFF2-40B4-BE49-F238E27FC236}">
                    <a16:creationId xmlns:a16="http://schemas.microsoft.com/office/drawing/2014/main" id="{B804B5F4-B164-4FCC-900D-2FC36DC8BAF0}"/>
                  </a:ext>
                </a:extLst>
              </p:cNvPr>
              <p:cNvGrpSpPr/>
              <p:nvPr userDrawn="1"/>
            </p:nvGrpSpPr>
            <p:grpSpPr>
              <a:xfrm>
                <a:off x="-1737766" y="864082"/>
                <a:ext cx="419166" cy="410430"/>
                <a:chOff x="3708400" y="309013"/>
                <a:chExt cx="1901295" cy="1861668"/>
              </a:xfrm>
              <a:solidFill>
                <a:schemeClr val="tx1"/>
              </a:solidFill>
            </p:grpSpPr>
            <p:sp>
              <p:nvSpPr>
                <p:cNvPr id="398" name="Rechthoek 397">
                  <a:extLst>
                    <a:ext uri="{FF2B5EF4-FFF2-40B4-BE49-F238E27FC236}">
                      <a16:creationId xmlns:a16="http://schemas.microsoft.com/office/drawing/2014/main" id="{39E8FC2B-C743-4A8F-AD99-ED1447850C79}"/>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99" name="Rechthoek 398">
                  <a:extLst>
                    <a:ext uri="{FF2B5EF4-FFF2-40B4-BE49-F238E27FC236}">
                      <a16:creationId xmlns:a16="http://schemas.microsoft.com/office/drawing/2014/main" id="{C0D120C7-F6ED-40EA-BF9E-BC0C4018C94B}"/>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0" name="Rechthoek 399">
                  <a:extLst>
                    <a:ext uri="{FF2B5EF4-FFF2-40B4-BE49-F238E27FC236}">
                      <a16:creationId xmlns:a16="http://schemas.microsoft.com/office/drawing/2014/main" id="{A33A161E-994C-4E66-8706-4FAD71E24878}"/>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1" name="Rechthoek 400">
                  <a:extLst>
                    <a:ext uri="{FF2B5EF4-FFF2-40B4-BE49-F238E27FC236}">
                      <a16:creationId xmlns:a16="http://schemas.microsoft.com/office/drawing/2014/main" id="{A2087ACC-8CAF-464D-9054-437611DDC647}"/>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2" name="Rechthoek 401">
                  <a:extLst>
                    <a:ext uri="{FF2B5EF4-FFF2-40B4-BE49-F238E27FC236}">
                      <a16:creationId xmlns:a16="http://schemas.microsoft.com/office/drawing/2014/main" id="{036635F3-28E2-4AE6-8A8B-B0E7F10AB2FA}"/>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3" name="Rechthoek 402">
                  <a:extLst>
                    <a:ext uri="{FF2B5EF4-FFF2-40B4-BE49-F238E27FC236}">
                      <a16:creationId xmlns:a16="http://schemas.microsoft.com/office/drawing/2014/main" id="{C3CA1F05-876A-4609-8191-6F888A082C1C}"/>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4" name="Rechthoek 403">
                  <a:extLst>
                    <a:ext uri="{FF2B5EF4-FFF2-40B4-BE49-F238E27FC236}">
                      <a16:creationId xmlns:a16="http://schemas.microsoft.com/office/drawing/2014/main" id="{27C0B778-890D-4D6C-80D4-DAAE329DB395}"/>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5" name="Rechthoek 404">
                  <a:extLst>
                    <a:ext uri="{FF2B5EF4-FFF2-40B4-BE49-F238E27FC236}">
                      <a16:creationId xmlns:a16="http://schemas.microsoft.com/office/drawing/2014/main" id="{BC85A391-9B93-4743-B195-BED1BC81BE9B}"/>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6" name="Rechthoek 405">
                  <a:extLst>
                    <a:ext uri="{FF2B5EF4-FFF2-40B4-BE49-F238E27FC236}">
                      <a16:creationId xmlns:a16="http://schemas.microsoft.com/office/drawing/2014/main" id="{5D5A0B76-DD49-4870-A3CB-3326FEEA85CE}"/>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7" name="Rechthoek 406">
                  <a:extLst>
                    <a:ext uri="{FF2B5EF4-FFF2-40B4-BE49-F238E27FC236}">
                      <a16:creationId xmlns:a16="http://schemas.microsoft.com/office/drawing/2014/main" id="{3742E868-A35E-419D-9C6D-48BCE2AFB36B}"/>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8" name="Vrije vorm 132">
                  <a:extLst>
                    <a:ext uri="{FF2B5EF4-FFF2-40B4-BE49-F238E27FC236}">
                      <a16:creationId xmlns:a16="http://schemas.microsoft.com/office/drawing/2014/main" id="{D53B0229-291D-4F09-9B51-49076E8BDC57}"/>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370" name="Rechte verbindingslijn 369">
              <a:extLst>
                <a:ext uri="{FF2B5EF4-FFF2-40B4-BE49-F238E27FC236}">
                  <a16:creationId xmlns:a16="http://schemas.microsoft.com/office/drawing/2014/main" id="{14C8E21F-1C71-45D7-802F-68D978CE2C8E}"/>
                </a:ext>
              </a:extLst>
            </p:cNvPr>
            <p:cNvCxnSpPr>
              <a:stCxn id="372" idx="2"/>
              <a:endCxn id="396"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371" name="Rechte verbindingslijn 370">
              <a:extLst>
                <a:ext uri="{FF2B5EF4-FFF2-40B4-BE49-F238E27FC236}">
                  <a16:creationId xmlns:a16="http://schemas.microsoft.com/office/drawing/2014/main" id="{255494AA-68DB-4CC7-B937-E47FB1A87F22}"/>
                </a:ext>
              </a:extLst>
            </p:cNvPr>
            <p:cNvCxnSpPr>
              <a:stCxn id="373" idx="3"/>
              <a:endCxn id="409"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372" name="Ovaal 371">
              <a:extLst>
                <a:ext uri="{FF2B5EF4-FFF2-40B4-BE49-F238E27FC236}">
                  <a16:creationId xmlns:a16="http://schemas.microsoft.com/office/drawing/2014/main" id="{81298D2A-F002-40FF-82AA-E09D3B806461}"/>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73" name="Ovaal 372">
              <a:extLst>
                <a:ext uri="{FF2B5EF4-FFF2-40B4-BE49-F238E27FC236}">
                  <a16:creationId xmlns:a16="http://schemas.microsoft.com/office/drawing/2014/main" id="{A8063AEA-2B4A-45F3-9880-B1B7C1E756FA}"/>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74" name="Textfield placeholder">
              <a:extLst>
                <a:ext uri="{FF2B5EF4-FFF2-40B4-BE49-F238E27FC236}">
                  <a16:creationId xmlns:a16="http://schemas.microsoft.com/office/drawing/2014/main" id="{AFD41977-7579-49CD-8914-677FAB8F1478}"/>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375" name="Textfield placeholder">
              <a:extLst>
                <a:ext uri="{FF2B5EF4-FFF2-40B4-BE49-F238E27FC236}">
                  <a16:creationId xmlns:a16="http://schemas.microsoft.com/office/drawing/2014/main" id="{8D0B9FBE-1841-4F19-870F-8DCB500BC381}"/>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376" name="Ovaal 375">
              <a:extLst>
                <a:ext uri="{FF2B5EF4-FFF2-40B4-BE49-F238E27FC236}">
                  <a16:creationId xmlns:a16="http://schemas.microsoft.com/office/drawing/2014/main" id="{75186B1C-4B92-403E-BFBE-43EC9F13083D}"/>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377" name="Ovaal 376">
              <a:extLst>
                <a:ext uri="{FF2B5EF4-FFF2-40B4-BE49-F238E27FC236}">
                  <a16:creationId xmlns:a16="http://schemas.microsoft.com/office/drawing/2014/main" id="{613CE3F6-E93E-4EB8-93D4-B0DDE016A6D2}"/>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378" name="Ovaal 377">
              <a:extLst>
                <a:ext uri="{FF2B5EF4-FFF2-40B4-BE49-F238E27FC236}">
                  <a16:creationId xmlns:a16="http://schemas.microsoft.com/office/drawing/2014/main" id="{2B3A8786-C8E9-4D29-8E1F-C9D16D492916}"/>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379" name="Ovaal 378">
              <a:extLst>
                <a:ext uri="{FF2B5EF4-FFF2-40B4-BE49-F238E27FC236}">
                  <a16:creationId xmlns:a16="http://schemas.microsoft.com/office/drawing/2014/main" id="{A208D09B-4830-4ED3-87C5-BE1F09BDFE25}"/>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380" name="Ovaal 379">
              <a:extLst>
                <a:ext uri="{FF2B5EF4-FFF2-40B4-BE49-F238E27FC236}">
                  <a16:creationId xmlns:a16="http://schemas.microsoft.com/office/drawing/2014/main" id="{D66CB40A-3732-4965-B6DE-8F7173CF676A}"/>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381" name="Textfield placeholder">
              <a:extLst>
                <a:ext uri="{FF2B5EF4-FFF2-40B4-BE49-F238E27FC236}">
                  <a16:creationId xmlns:a16="http://schemas.microsoft.com/office/drawing/2014/main" id="{0F27B2BD-F846-4993-ABF5-5B4E37ECEC58}"/>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382" name="Textfield placeholder">
              <a:extLst>
                <a:ext uri="{FF2B5EF4-FFF2-40B4-BE49-F238E27FC236}">
                  <a16:creationId xmlns:a16="http://schemas.microsoft.com/office/drawing/2014/main" id="{9BD6262F-A593-472E-9A06-E541D850D973}"/>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383" name="Textfield placeholder">
              <a:extLst>
                <a:ext uri="{FF2B5EF4-FFF2-40B4-BE49-F238E27FC236}">
                  <a16:creationId xmlns:a16="http://schemas.microsoft.com/office/drawing/2014/main" id="{6A282837-EA2A-41AB-8455-E5B393BA9C75}"/>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384" name="Textfield placeholder">
              <a:extLst>
                <a:ext uri="{FF2B5EF4-FFF2-40B4-BE49-F238E27FC236}">
                  <a16:creationId xmlns:a16="http://schemas.microsoft.com/office/drawing/2014/main" id="{5355C381-B68B-43F0-8C80-42ACF7F12289}"/>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385" name="Textfield placeholder">
              <a:extLst>
                <a:ext uri="{FF2B5EF4-FFF2-40B4-BE49-F238E27FC236}">
                  <a16:creationId xmlns:a16="http://schemas.microsoft.com/office/drawing/2014/main" id="{15EBDF7E-C3BC-4B6D-AE83-B42CD6803EC6}"/>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386" name="Groep 385">
              <a:extLst>
                <a:ext uri="{FF2B5EF4-FFF2-40B4-BE49-F238E27FC236}">
                  <a16:creationId xmlns:a16="http://schemas.microsoft.com/office/drawing/2014/main" id="{65B29128-4360-4DEA-8FD6-10A2B013E9E7}"/>
                </a:ext>
              </a:extLst>
            </p:cNvPr>
            <p:cNvGrpSpPr/>
            <p:nvPr userDrawn="1"/>
          </p:nvGrpSpPr>
          <p:grpSpPr>
            <a:xfrm>
              <a:off x="-950342" y="1837957"/>
              <a:ext cx="687412" cy="3758146"/>
              <a:chOff x="-740196" y="1837957"/>
              <a:chExt cx="1374825" cy="3758146"/>
            </a:xfrm>
          </p:grpSpPr>
          <p:sp>
            <p:nvSpPr>
              <p:cNvPr id="387" name="Textfield placeholder">
                <a:extLst>
                  <a:ext uri="{FF2B5EF4-FFF2-40B4-BE49-F238E27FC236}">
                    <a16:creationId xmlns:a16="http://schemas.microsoft.com/office/drawing/2014/main" id="{5D1D4BCC-80B4-4D9D-913D-033DBDB16DC3}"/>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388" name="Textfield placeholder">
                <a:extLst>
                  <a:ext uri="{FF2B5EF4-FFF2-40B4-BE49-F238E27FC236}">
                    <a16:creationId xmlns:a16="http://schemas.microsoft.com/office/drawing/2014/main" id="{515AD830-5772-4CDD-9301-D55CF4C53FFD}"/>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389" name="Textfield placeholder">
                <a:extLst>
                  <a:ext uri="{FF2B5EF4-FFF2-40B4-BE49-F238E27FC236}">
                    <a16:creationId xmlns:a16="http://schemas.microsoft.com/office/drawing/2014/main" id="{7CABA125-E39A-44EA-9894-E37B04CB8D42}"/>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90" name="Textfield placeholder">
                <a:extLst>
                  <a:ext uri="{FF2B5EF4-FFF2-40B4-BE49-F238E27FC236}">
                    <a16:creationId xmlns:a16="http://schemas.microsoft.com/office/drawing/2014/main" id="{E4836D85-BB60-4D42-A81C-92F84FADEDA3}"/>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391" name="Textfield placeholder">
                <a:extLst>
                  <a:ext uri="{FF2B5EF4-FFF2-40B4-BE49-F238E27FC236}">
                    <a16:creationId xmlns:a16="http://schemas.microsoft.com/office/drawing/2014/main" id="{D2AACC97-3917-44CF-AF15-28372881D96A}"/>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392" name="Textfield placeholder">
                <a:extLst>
                  <a:ext uri="{FF2B5EF4-FFF2-40B4-BE49-F238E27FC236}">
                    <a16:creationId xmlns:a16="http://schemas.microsoft.com/office/drawing/2014/main" id="{D1C6756F-897E-46FD-998D-38660049580C}"/>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93" name="Textfield placeholder">
                <a:extLst>
                  <a:ext uri="{FF2B5EF4-FFF2-40B4-BE49-F238E27FC236}">
                    <a16:creationId xmlns:a16="http://schemas.microsoft.com/office/drawing/2014/main" id="{2A9D2B3B-23B6-4E00-8BE9-5F3CAAFB3CBA}"/>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94" name="Textfield placeholder">
                <a:extLst>
                  <a:ext uri="{FF2B5EF4-FFF2-40B4-BE49-F238E27FC236}">
                    <a16:creationId xmlns:a16="http://schemas.microsoft.com/office/drawing/2014/main" id="{EE2FB1F7-61C5-41A6-9B6D-24E61F45A123}"/>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395" name="Textfield placeholder">
                <a:extLst>
                  <a:ext uri="{FF2B5EF4-FFF2-40B4-BE49-F238E27FC236}">
                    <a16:creationId xmlns:a16="http://schemas.microsoft.com/office/drawing/2014/main" id="{A692538C-0409-4522-A94D-FCBD4DF960C7}"/>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spTree>
    <p:extLst>
      <p:ext uri="{BB962C8B-B14F-4D97-AF65-F5344CB8AC3E}">
        <p14:creationId xmlns:p14="http://schemas.microsoft.com/office/powerpoint/2010/main" val="1675082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Links + afbeelding (L)">
    <p:spTree>
      <p:nvGrpSpPr>
        <p:cNvPr id="1" name=""/>
        <p:cNvGrpSpPr/>
        <p:nvPr/>
      </p:nvGrpSpPr>
      <p:grpSpPr>
        <a:xfrm>
          <a:off x="0" y="0"/>
          <a:ext cx="0" cy="0"/>
          <a:chOff x="0" y="0"/>
          <a:chExt cx="0" cy="0"/>
        </a:xfrm>
      </p:grpSpPr>
      <p:sp>
        <p:nvSpPr>
          <p:cNvPr id="8" name="Rechthoek 7"/>
          <p:cNvSpPr/>
          <p:nvPr userDrawn="1"/>
        </p:nvSpPr>
        <p:spPr>
          <a:xfrm>
            <a:off x="4644782" y="1420099"/>
            <a:ext cx="7550393" cy="4558246"/>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p>
        </p:txBody>
      </p:sp>
      <p:sp>
        <p:nvSpPr>
          <p:cNvPr id="2" name="Titel 1"/>
          <p:cNvSpPr>
            <a:spLocks noGrp="1"/>
          </p:cNvSpPr>
          <p:nvPr>
            <p:ph type="title"/>
          </p:nvPr>
        </p:nvSpPr>
        <p:spPr/>
        <p:txBody>
          <a:bodyPr/>
          <a:lstStyle/>
          <a:p>
            <a:r>
              <a:rPr lang="nl-NL"/>
              <a:t>Klik om stijl te bewerken</a:t>
            </a:r>
            <a:endParaRPr lang="en-GB"/>
          </a:p>
        </p:txBody>
      </p:sp>
      <p:sp>
        <p:nvSpPr>
          <p:cNvPr id="3" name="Tijdelijke aanduiding voor verticale tekst 2"/>
          <p:cNvSpPr>
            <a:spLocks noGrp="1"/>
          </p:cNvSpPr>
          <p:nvPr>
            <p:ph type="body" orient="vert" idx="1"/>
          </p:nvPr>
        </p:nvSpPr>
        <p:spPr>
          <a:xfrm>
            <a:off x="472587" y="1420099"/>
            <a:ext cx="4172195" cy="4558244"/>
          </a:xfrm>
        </p:spPr>
        <p:txBody>
          <a:bodyPr vert="horz"/>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10"/>
          </p:nvPr>
        </p:nvSpPr>
        <p:spPr/>
        <p:txBody>
          <a:bodyPr/>
          <a:lstStyle/>
          <a:p>
            <a:fld id="{5B7EDF56-F66E-4579-9A49-0DE461D89784}"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ijdelijke aanduiding voor afbeelding 2"/>
          <p:cNvSpPr>
            <a:spLocks noGrp="1"/>
          </p:cNvSpPr>
          <p:nvPr>
            <p:ph type="pic" idx="13"/>
          </p:nvPr>
        </p:nvSpPr>
        <p:spPr>
          <a:xfrm>
            <a:off x="4644781" y="1420099"/>
            <a:ext cx="7550393" cy="4558244"/>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en-GB"/>
          </a:p>
        </p:txBody>
      </p:sp>
      <p:sp>
        <p:nvSpPr>
          <p:cNvPr id="10" name="Tekstvak 9"/>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Tekst Links + afbeelding (L) + onderschrift</a:t>
            </a:r>
          </a:p>
        </p:txBody>
      </p:sp>
      <p:sp>
        <p:nvSpPr>
          <p:cNvPr id="11" name="Tijdelijke aanduiding voor verticale tekst 2"/>
          <p:cNvSpPr>
            <a:spLocks noGrp="1"/>
          </p:cNvSpPr>
          <p:nvPr>
            <p:ph type="body" orient="vert" idx="14" hasCustomPrompt="1"/>
          </p:nvPr>
        </p:nvSpPr>
        <p:spPr>
          <a:xfrm>
            <a:off x="4644781" y="5474343"/>
            <a:ext cx="7550394" cy="504000"/>
          </a:xfrm>
          <a:solidFill>
            <a:schemeClr val="accent2"/>
          </a:solidFill>
        </p:spPr>
        <p:txBody>
          <a:bodyPr vert="horz" lIns="216000" tIns="36000" rIns="216000" bIns="0" anchor="ctr"/>
          <a:lstStyle>
            <a:lvl1pPr algn="l">
              <a:defRPr sz="1800" b="0">
                <a:solidFill>
                  <a:schemeClr val="tx2"/>
                </a:solidFill>
              </a:defRPr>
            </a:lvl1pPr>
          </a:lstStyle>
          <a:p>
            <a:pPr lvl="0"/>
            <a:r>
              <a:rPr lang="nl-NL" dirty="0"/>
              <a:t>Onderschrift</a:t>
            </a:r>
          </a:p>
        </p:txBody>
      </p:sp>
      <p:grpSp>
        <p:nvGrpSpPr>
          <p:cNvPr id="178" name="Groep 177">
            <a:extLst>
              <a:ext uri="{FF2B5EF4-FFF2-40B4-BE49-F238E27FC236}">
                <a16:creationId xmlns:a16="http://schemas.microsoft.com/office/drawing/2014/main" id="{8DF5A290-56F4-4679-BB2F-3F26F89F84BD}"/>
              </a:ext>
            </a:extLst>
          </p:cNvPr>
          <p:cNvGrpSpPr/>
          <p:nvPr userDrawn="1"/>
        </p:nvGrpSpPr>
        <p:grpSpPr>
          <a:xfrm>
            <a:off x="-2973833" y="0"/>
            <a:ext cx="2808312" cy="5805264"/>
            <a:chOff x="-2973833" y="0"/>
            <a:chExt cx="2808312" cy="5805264"/>
          </a:xfrm>
        </p:grpSpPr>
        <p:sp>
          <p:nvSpPr>
            <p:cNvPr id="179" name="Rechthoek 178">
              <a:extLst>
                <a:ext uri="{FF2B5EF4-FFF2-40B4-BE49-F238E27FC236}">
                  <a16:creationId xmlns:a16="http://schemas.microsoft.com/office/drawing/2014/main" id="{511B22E5-E1A3-4199-8ACE-09C4F87B07A0}"/>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180" name="Textfield placeholder">
              <a:extLst>
                <a:ext uri="{FF2B5EF4-FFF2-40B4-BE49-F238E27FC236}">
                  <a16:creationId xmlns:a16="http://schemas.microsoft.com/office/drawing/2014/main" id="{27F206B5-0C7E-42F8-A848-D064F6C02134}"/>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181" name="Ovaal 180">
              <a:extLst>
                <a:ext uri="{FF2B5EF4-FFF2-40B4-BE49-F238E27FC236}">
                  <a16:creationId xmlns:a16="http://schemas.microsoft.com/office/drawing/2014/main" id="{0ED2AB90-C357-4CFE-96BA-119AE1E9DD34}"/>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182" name="Ovaal 181">
              <a:extLst>
                <a:ext uri="{FF2B5EF4-FFF2-40B4-BE49-F238E27FC236}">
                  <a16:creationId xmlns:a16="http://schemas.microsoft.com/office/drawing/2014/main" id="{82C61F81-319A-46B1-B572-4FE1BD6A6D49}"/>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183" name="Ovaal 182">
              <a:extLst>
                <a:ext uri="{FF2B5EF4-FFF2-40B4-BE49-F238E27FC236}">
                  <a16:creationId xmlns:a16="http://schemas.microsoft.com/office/drawing/2014/main" id="{010F9B68-195B-486C-90B7-F850FE8A0851}"/>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184" name="Ovaal 183">
              <a:extLst>
                <a:ext uri="{FF2B5EF4-FFF2-40B4-BE49-F238E27FC236}">
                  <a16:creationId xmlns:a16="http://schemas.microsoft.com/office/drawing/2014/main" id="{26867DF1-F22F-49F3-847C-70B8698B2156}"/>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185" name="Textfield placeholder">
              <a:extLst>
                <a:ext uri="{FF2B5EF4-FFF2-40B4-BE49-F238E27FC236}">
                  <a16:creationId xmlns:a16="http://schemas.microsoft.com/office/drawing/2014/main" id="{95BB224F-6899-4AA9-ABF2-9B835AE22EE0}"/>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186" name="Textfield placeholder">
              <a:extLst>
                <a:ext uri="{FF2B5EF4-FFF2-40B4-BE49-F238E27FC236}">
                  <a16:creationId xmlns:a16="http://schemas.microsoft.com/office/drawing/2014/main" id="{9E194317-3CD5-449E-A13E-DE6DFA32C6BE}"/>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187" name="Textfield placeholder">
              <a:extLst>
                <a:ext uri="{FF2B5EF4-FFF2-40B4-BE49-F238E27FC236}">
                  <a16:creationId xmlns:a16="http://schemas.microsoft.com/office/drawing/2014/main" id="{B74AB4F5-50BD-4E42-B74E-DE00C26CCF64}"/>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188" name="Rechte verbindingslijn 187">
              <a:extLst>
                <a:ext uri="{FF2B5EF4-FFF2-40B4-BE49-F238E27FC236}">
                  <a16:creationId xmlns:a16="http://schemas.microsoft.com/office/drawing/2014/main" id="{7A539033-7A7F-4C39-AE13-9DC75C86FD28}"/>
                </a:ext>
              </a:extLst>
            </p:cNvPr>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9" name="Rechte verbindingslijn 188">
              <a:extLst>
                <a:ext uri="{FF2B5EF4-FFF2-40B4-BE49-F238E27FC236}">
                  <a16:creationId xmlns:a16="http://schemas.microsoft.com/office/drawing/2014/main" id="{B7227AFB-C9CC-464D-B739-3844CE703B37}"/>
                </a:ext>
              </a:extLst>
            </p:cNvPr>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0" name="Rechte verbindingslijn 189">
              <a:extLst>
                <a:ext uri="{FF2B5EF4-FFF2-40B4-BE49-F238E27FC236}">
                  <a16:creationId xmlns:a16="http://schemas.microsoft.com/office/drawing/2014/main" id="{55DB8CF7-F3AB-4639-8651-F6AEFAA82F54}"/>
                </a:ext>
              </a:extLst>
            </p:cNvPr>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91" name="Picture 3">
              <a:extLst>
                <a:ext uri="{FF2B5EF4-FFF2-40B4-BE49-F238E27FC236}">
                  <a16:creationId xmlns:a16="http://schemas.microsoft.com/office/drawing/2014/main" id="{FF295C84-6F5E-4BF8-A609-568D0BBF689B}"/>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2" name="Picture 4">
              <a:extLst>
                <a:ext uri="{FF2B5EF4-FFF2-40B4-BE49-F238E27FC236}">
                  <a16:creationId xmlns:a16="http://schemas.microsoft.com/office/drawing/2014/main" id="{A9E56FA6-0B8C-46FB-8780-B1444CF76F9E}"/>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93" name="Groep 192">
              <a:extLst>
                <a:ext uri="{FF2B5EF4-FFF2-40B4-BE49-F238E27FC236}">
                  <a16:creationId xmlns:a16="http://schemas.microsoft.com/office/drawing/2014/main" id="{78B7AD53-DE50-428C-A42D-3E6C576D2D91}"/>
                </a:ext>
              </a:extLst>
            </p:cNvPr>
            <p:cNvGrpSpPr/>
            <p:nvPr userDrawn="1"/>
          </p:nvGrpSpPr>
          <p:grpSpPr>
            <a:xfrm>
              <a:off x="-2098870" y="523279"/>
              <a:ext cx="435437" cy="427699"/>
              <a:chOff x="-1085063" y="758027"/>
              <a:chExt cx="633800" cy="622540"/>
            </a:xfrm>
          </p:grpSpPr>
          <p:sp>
            <p:nvSpPr>
              <p:cNvPr id="234" name="Afgeronde rechthoek 133">
                <a:extLst>
                  <a:ext uri="{FF2B5EF4-FFF2-40B4-BE49-F238E27FC236}">
                    <a16:creationId xmlns:a16="http://schemas.microsoft.com/office/drawing/2014/main" id="{5A4F2636-D199-4D6F-9C18-E0939B8E451E}"/>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235" name="Groep 234">
                <a:extLst>
                  <a:ext uri="{FF2B5EF4-FFF2-40B4-BE49-F238E27FC236}">
                    <a16:creationId xmlns:a16="http://schemas.microsoft.com/office/drawing/2014/main" id="{4378F78C-5E97-43AF-B901-7B969D46CD80}"/>
                  </a:ext>
                </a:extLst>
              </p:cNvPr>
              <p:cNvGrpSpPr/>
              <p:nvPr userDrawn="1"/>
            </p:nvGrpSpPr>
            <p:grpSpPr>
              <a:xfrm>
                <a:off x="-977746" y="864082"/>
                <a:ext cx="419166" cy="410430"/>
                <a:chOff x="6366933" y="309013"/>
                <a:chExt cx="1901295" cy="1861668"/>
              </a:xfrm>
              <a:solidFill>
                <a:schemeClr val="tx1"/>
              </a:solidFill>
            </p:grpSpPr>
            <p:sp>
              <p:nvSpPr>
                <p:cNvPr id="236" name="Rechthoek 235">
                  <a:extLst>
                    <a:ext uri="{FF2B5EF4-FFF2-40B4-BE49-F238E27FC236}">
                      <a16:creationId xmlns:a16="http://schemas.microsoft.com/office/drawing/2014/main" id="{C7DBB36F-7BAC-4BD6-A797-306496BAE93E}"/>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7" name="Rechthoek 236">
                  <a:extLst>
                    <a:ext uri="{FF2B5EF4-FFF2-40B4-BE49-F238E27FC236}">
                      <a16:creationId xmlns:a16="http://schemas.microsoft.com/office/drawing/2014/main" id="{16534E7F-3F4A-4E80-BD02-B6423CEFF796}"/>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8" name="Rechthoek 237">
                  <a:extLst>
                    <a:ext uri="{FF2B5EF4-FFF2-40B4-BE49-F238E27FC236}">
                      <a16:creationId xmlns:a16="http://schemas.microsoft.com/office/drawing/2014/main" id="{8A97CE47-E8DA-40BC-B37C-0CBF7547B6DA}"/>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9" name="Rechthoek 238">
                  <a:extLst>
                    <a:ext uri="{FF2B5EF4-FFF2-40B4-BE49-F238E27FC236}">
                      <a16:creationId xmlns:a16="http://schemas.microsoft.com/office/drawing/2014/main" id="{98918B14-E8D7-4DBC-906D-163521338651}"/>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0" name="Rechthoek 239">
                  <a:extLst>
                    <a:ext uri="{FF2B5EF4-FFF2-40B4-BE49-F238E27FC236}">
                      <a16:creationId xmlns:a16="http://schemas.microsoft.com/office/drawing/2014/main" id="{F974A533-4184-4E95-986A-62F737001909}"/>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1" name="Rechthoek 240">
                  <a:extLst>
                    <a:ext uri="{FF2B5EF4-FFF2-40B4-BE49-F238E27FC236}">
                      <a16:creationId xmlns:a16="http://schemas.microsoft.com/office/drawing/2014/main" id="{E19DBA5D-9FA4-4D92-AE57-16A0A64CC14E}"/>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2" name="Rechthoek 241">
                  <a:extLst>
                    <a:ext uri="{FF2B5EF4-FFF2-40B4-BE49-F238E27FC236}">
                      <a16:creationId xmlns:a16="http://schemas.microsoft.com/office/drawing/2014/main" id="{5A4504C0-3B5E-4AA6-B42B-9D77F1C313E7}"/>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3" name="Rechthoek 242">
                  <a:extLst>
                    <a:ext uri="{FF2B5EF4-FFF2-40B4-BE49-F238E27FC236}">
                      <a16:creationId xmlns:a16="http://schemas.microsoft.com/office/drawing/2014/main" id="{C4774FD9-93D0-43C8-9146-6D3546E6D7BD}"/>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4" name="Rechthoek 243">
                  <a:extLst>
                    <a:ext uri="{FF2B5EF4-FFF2-40B4-BE49-F238E27FC236}">
                      <a16:creationId xmlns:a16="http://schemas.microsoft.com/office/drawing/2014/main" id="{7041CFF5-D851-40FF-9AE6-1C8987848FAE}"/>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5" name="Rechthoek 244">
                  <a:extLst>
                    <a:ext uri="{FF2B5EF4-FFF2-40B4-BE49-F238E27FC236}">
                      <a16:creationId xmlns:a16="http://schemas.microsoft.com/office/drawing/2014/main" id="{42E02C84-2C2F-4CF1-87A0-AE6DE87C7E11}"/>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6" name="Vrije vorm 145">
                  <a:extLst>
                    <a:ext uri="{FF2B5EF4-FFF2-40B4-BE49-F238E27FC236}">
                      <a16:creationId xmlns:a16="http://schemas.microsoft.com/office/drawing/2014/main" id="{0816ADA2-86B5-463F-833A-2E3394BDE388}"/>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194" name="Groep 193">
              <a:extLst>
                <a:ext uri="{FF2B5EF4-FFF2-40B4-BE49-F238E27FC236}">
                  <a16:creationId xmlns:a16="http://schemas.microsoft.com/office/drawing/2014/main" id="{19FCFEED-4417-4F45-8D0D-453B85655454}"/>
                </a:ext>
              </a:extLst>
            </p:cNvPr>
            <p:cNvGrpSpPr/>
            <p:nvPr userDrawn="1"/>
          </p:nvGrpSpPr>
          <p:grpSpPr>
            <a:xfrm>
              <a:off x="-2095303" y="1071657"/>
              <a:ext cx="435437" cy="427699"/>
              <a:chOff x="-1845083" y="758027"/>
              <a:chExt cx="633800" cy="622540"/>
            </a:xfrm>
          </p:grpSpPr>
          <p:sp>
            <p:nvSpPr>
              <p:cNvPr id="221" name="Afgeronde rechthoek 120">
                <a:extLst>
                  <a:ext uri="{FF2B5EF4-FFF2-40B4-BE49-F238E27FC236}">
                    <a16:creationId xmlns:a16="http://schemas.microsoft.com/office/drawing/2014/main" id="{327B2A07-8C1C-4794-AD73-E0AC3026D0EB}"/>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222" name="Groep 221">
                <a:extLst>
                  <a:ext uri="{FF2B5EF4-FFF2-40B4-BE49-F238E27FC236}">
                    <a16:creationId xmlns:a16="http://schemas.microsoft.com/office/drawing/2014/main" id="{82BAAAE4-AC72-4377-869C-67A7C4A7DF79}"/>
                  </a:ext>
                </a:extLst>
              </p:cNvPr>
              <p:cNvGrpSpPr/>
              <p:nvPr userDrawn="1"/>
            </p:nvGrpSpPr>
            <p:grpSpPr>
              <a:xfrm>
                <a:off x="-1737766" y="864082"/>
                <a:ext cx="419166" cy="410430"/>
                <a:chOff x="3708400" y="309013"/>
                <a:chExt cx="1901295" cy="1861668"/>
              </a:xfrm>
              <a:solidFill>
                <a:schemeClr val="tx1"/>
              </a:solidFill>
            </p:grpSpPr>
            <p:sp>
              <p:nvSpPr>
                <p:cNvPr id="223" name="Rechthoek 222">
                  <a:extLst>
                    <a:ext uri="{FF2B5EF4-FFF2-40B4-BE49-F238E27FC236}">
                      <a16:creationId xmlns:a16="http://schemas.microsoft.com/office/drawing/2014/main" id="{3788C76F-ED27-40E1-818F-433550B506C2}"/>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4" name="Rechthoek 223">
                  <a:extLst>
                    <a:ext uri="{FF2B5EF4-FFF2-40B4-BE49-F238E27FC236}">
                      <a16:creationId xmlns:a16="http://schemas.microsoft.com/office/drawing/2014/main" id="{24A6F2A1-F988-4907-BE49-39637B6E4C7F}"/>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5" name="Rechthoek 224">
                  <a:extLst>
                    <a:ext uri="{FF2B5EF4-FFF2-40B4-BE49-F238E27FC236}">
                      <a16:creationId xmlns:a16="http://schemas.microsoft.com/office/drawing/2014/main" id="{5CE3216E-4795-490B-8F08-643851503E61}"/>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6" name="Rechthoek 225">
                  <a:extLst>
                    <a:ext uri="{FF2B5EF4-FFF2-40B4-BE49-F238E27FC236}">
                      <a16:creationId xmlns:a16="http://schemas.microsoft.com/office/drawing/2014/main" id="{9E4E9E72-A672-433A-BB63-FFC079609E3B}"/>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7" name="Rechthoek 226">
                  <a:extLst>
                    <a:ext uri="{FF2B5EF4-FFF2-40B4-BE49-F238E27FC236}">
                      <a16:creationId xmlns:a16="http://schemas.microsoft.com/office/drawing/2014/main" id="{81302484-F3B9-4424-961B-CEB6DAB9D36D}"/>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8" name="Rechthoek 227">
                  <a:extLst>
                    <a:ext uri="{FF2B5EF4-FFF2-40B4-BE49-F238E27FC236}">
                      <a16:creationId xmlns:a16="http://schemas.microsoft.com/office/drawing/2014/main" id="{0A647C6F-D7CD-4B99-889C-B88A93A941CE}"/>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9" name="Rechthoek 228">
                  <a:extLst>
                    <a:ext uri="{FF2B5EF4-FFF2-40B4-BE49-F238E27FC236}">
                      <a16:creationId xmlns:a16="http://schemas.microsoft.com/office/drawing/2014/main" id="{9AD336B8-F937-4879-9BD1-A597DB1E961B}"/>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0" name="Rechthoek 229">
                  <a:extLst>
                    <a:ext uri="{FF2B5EF4-FFF2-40B4-BE49-F238E27FC236}">
                      <a16:creationId xmlns:a16="http://schemas.microsoft.com/office/drawing/2014/main" id="{32C86986-1AA8-45B6-9FC7-BA1FDC7608BE}"/>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1" name="Rechthoek 230">
                  <a:extLst>
                    <a:ext uri="{FF2B5EF4-FFF2-40B4-BE49-F238E27FC236}">
                      <a16:creationId xmlns:a16="http://schemas.microsoft.com/office/drawing/2014/main" id="{03E7705D-D8C8-4F81-A4F1-378D2FD8FC40}"/>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2" name="Rechthoek 231">
                  <a:extLst>
                    <a:ext uri="{FF2B5EF4-FFF2-40B4-BE49-F238E27FC236}">
                      <a16:creationId xmlns:a16="http://schemas.microsoft.com/office/drawing/2014/main" id="{E6F0318C-77C4-4D33-9733-0FF09C84FE07}"/>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3" name="Vrije vorm 132">
                  <a:extLst>
                    <a:ext uri="{FF2B5EF4-FFF2-40B4-BE49-F238E27FC236}">
                      <a16:creationId xmlns:a16="http://schemas.microsoft.com/office/drawing/2014/main" id="{7625DE47-D4E7-4482-ABC2-917B5484E128}"/>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195" name="Rechte verbindingslijn 194">
              <a:extLst>
                <a:ext uri="{FF2B5EF4-FFF2-40B4-BE49-F238E27FC236}">
                  <a16:creationId xmlns:a16="http://schemas.microsoft.com/office/drawing/2014/main" id="{6D2757B8-8B63-45B3-8E95-C2C0559BD2BC}"/>
                </a:ext>
              </a:extLst>
            </p:cNvPr>
            <p:cNvCxnSpPr>
              <a:stCxn id="197" idx="2"/>
              <a:endCxn id="221"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6" name="Rechte verbindingslijn 195">
              <a:extLst>
                <a:ext uri="{FF2B5EF4-FFF2-40B4-BE49-F238E27FC236}">
                  <a16:creationId xmlns:a16="http://schemas.microsoft.com/office/drawing/2014/main" id="{D9B37F15-45CF-46B9-89A1-70F50BAFF09D}"/>
                </a:ext>
              </a:extLst>
            </p:cNvPr>
            <p:cNvCxnSpPr>
              <a:stCxn id="198" idx="3"/>
              <a:endCxn id="234"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97" name="Ovaal 196">
              <a:extLst>
                <a:ext uri="{FF2B5EF4-FFF2-40B4-BE49-F238E27FC236}">
                  <a16:creationId xmlns:a16="http://schemas.microsoft.com/office/drawing/2014/main" id="{B61DAE91-868B-4662-BC04-6A627F4F7A1B}"/>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98" name="Ovaal 197">
              <a:extLst>
                <a:ext uri="{FF2B5EF4-FFF2-40B4-BE49-F238E27FC236}">
                  <a16:creationId xmlns:a16="http://schemas.microsoft.com/office/drawing/2014/main" id="{D89F31E4-EB9D-4E57-BE74-A17EF5C2D4D3}"/>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99" name="Textfield placeholder">
              <a:extLst>
                <a:ext uri="{FF2B5EF4-FFF2-40B4-BE49-F238E27FC236}">
                  <a16:creationId xmlns:a16="http://schemas.microsoft.com/office/drawing/2014/main" id="{3B5ABE71-8972-4D94-8663-99A7A0DA2950}"/>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200" name="Textfield placeholder">
              <a:extLst>
                <a:ext uri="{FF2B5EF4-FFF2-40B4-BE49-F238E27FC236}">
                  <a16:creationId xmlns:a16="http://schemas.microsoft.com/office/drawing/2014/main" id="{EF358FF0-1386-4E29-99AC-4E0F5251590C}"/>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201" name="Ovaal 200">
              <a:extLst>
                <a:ext uri="{FF2B5EF4-FFF2-40B4-BE49-F238E27FC236}">
                  <a16:creationId xmlns:a16="http://schemas.microsoft.com/office/drawing/2014/main" id="{899D9FEE-C122-460C-8046-EDC9F41D7EE5}"/>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202" name="Ovaal 201">
              <a:extLst>
                <a:ext uri="{FF2B5EF4-FFF2-40B4-BE49-F238E27FC236}">
                  <a16:creationId xmlns:a16="http://schemas.microsoft.com/office/drawing/2014/main" id="{FEE189B2-4623-40B1-8682-87112D9FF906}"/>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203" name="Ovaal 202">
              <a:extLst>
                <a:ext uri="{FF2B5EF4-FFF2-40B4-BE49-F238E27FC236}">
                  <a16:creationId xmlns:a16="http://schemas.microsoft.com/office/drawing/2014/main" id="{2D207429-AAA5-40F0-BDAD-0912D3E1BBC8}"/>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204" name="Ovaal 203">
              <a:extLst>
                <a:ext uri="{FF2B5EF4-FFF2-40B4-BE49-F238E27FC236}">
                  <a16:creationId xmlns:a16="http://schemas.microsoft.com/office/drawing/2014/main" id="{EEAB5E69-C8B2-45C9-82B3-36DB93A8AF13}"/>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205" name="Ovaal 204">
              <a:extLst>
                <a:ext uri="{FF2B5EF4-FFF2-40B4-BE49-F238E27FC236}">
                  <a16:creationId xmlns:a16="http://schemas.microsoft.com/office/drawing/2014/main" id="{648A1BE7-166D-4DF0-9541-5F9C848FF3D4}"/>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206" name="Textfield placeholder">
              <a:extLst>
                <a:ext uri="{FF2B5EF4-FFF2-40B4-BE49-F238E27FC236}">
                  <a16:creationId xmlns:a16="http://schemas.microsoft.com/office/drawing/2014/main" id="{CD847E2D-4799-4E7D-A962-0C8C5550C560}"/>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07" name="Textfield placeholder">
              <a:extLst>
                <a:ext uri="{FF2B5EF4-FFF2-40B4-BE49-F238E27FC236}">
                  <a16:creationId xmlns:a16="http://schemas.microsoft.com/office/drawing/2014/main" id="{4B0260F9-E838-4F3D-87A2-B5C15A862B4E}"/>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08" name="Textfield placeholder">
              <a:extLst>
                <a:ext uri="{FF2B5EF4-FFF2-40B4-BE49-F238E27FC236}">
                  <a16:creationId xmlns:a16="http://schemas.microsoft.com/office/drawing/2014/main" id="{9FDD821F-C5C7-421B-9475-6ED9338D066C}"/>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09" name="Textfield placeholder">
              <a:extLst>
                <a:ext uri="{FF2B5EF4-FFF2-40B4-BE49-F238E27FC236}">
                  <a16:creationId xmlns:a16="http://schemas.microsoft.com/office/drawing/2014/main" id="{0C501CB1-2CF3-4461-9807-EED0C18676BB}"/>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210" name="Textfield placeholder">
              <a:extLst>
                <a:ext uri="{FF2B5EF4-FFF2-40B4-BE49-F238E27FC236}">
                  <a16:creationId xmlns:a16="http://schemas.microsoft.com/office/drawing/2014/main" id="{26B4A174-0EB3-43F1-8FCF-5823C1D3E237}"/>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11" name="Groep 210">
              <a:extLst>
                <a:ext uri="{FF2B5EF4-FFF2-40B4-BE49-F238E27FC236}">
                  <a16:creationId xmlns:a16="http://schemas.microsoft.com/office/drawing/2014/main" id="{37420118-A4CC-4A68-BB80-C2DC6674A75B}"/>
                </a:ext>
              </a:extLst>
            </p:cNvPr>
            <p:cNvGrpSpPr/>
            <p:nvPr userDrawn="1"/>
          </p:nvGrpSpPr>
          <p:grpSpPr>
            <a:xfrm>
              <a:off x="-950342" y="1837957"/>
              <a:ext cx="687412" cy="3758146"/>
              <a:chOff x="-740196" y="1837957"/>
              <a:chExt cx="1374825" cy="3758146"/>
            </a:xfrm>
          </p:grpSpPr>
          <p:sp>
            <p:nvSpPr>
              <p:cNvPr id="212" name="Textfield placeholder">
                <a:extLst>
                  <a:ext uri="{FF2B5EF4-FFF2-40B4-BE49-F238E27FC236}">
                    <a16:creationId xmlns:a16="http://schemas.microsoft.com/office/drawing/2014/main" id="{0AAAAFF3-AE80-4FB8-A3D4-48827AD3B5A9}"/>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13" name="Textfield placeholder">
                <a:extLst>
                  <a:ext uri="{FF2B5EF4-FFF2-40B4-BE49-F238E27FC236}">
                    <a16:creationId xmlns:a16="http://schemas.microsoft.com/office/drawing/2014/main" id="{A25716E6-0F73-4515-820E-0088B5609DE0}"/>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14" name="Textfield placeholder">
                <a:extLst>
                  <a:ext uri="{FF2B5EF4-FFF2-40B4-BE49-F238E27FC236}">
                    <a16:creationId xmlns:a16="http://schemas.microsoft.com/office/drawing/2014/main" id="{DCCA80B4-5313-413D-AA71-C445268DB102}"/>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5" name="Textfield placeholder">
                <a:extLst>
                  <a:ext uri="{FF2B5EF4-FFF2-40B4-BE49-F238E27FC236}">
                    <a16:creationId xmlns:a16="http://schemas.microsoft.com/office/drawing/2014/main" id="{ED967D37-33DC-4F8F-8CAA-34499EF21BE2}"/>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216" name="Textfield placeholder">
                <a:extLst>
                  <a:ext uri="{FF2B5EF4-FFF2-40B4-BE49-F238E27FC236}">
                    <a16:creationId xmlns:a16="http://schemas.microsoft.com/office/drawing/2014/main" id="{4561EC12-73FE-474B-A284-BEE24D36E5C5}"/>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217" name="Textfield placeholder">
                <a:extLst>
                  <a:ext uri="{FF2B5EF4-FFF2-40B4-BE49-F238E27FC236}">
                    <a16:creationId xmlns:a16="http://schemas.microsoft.com/office/drawing/2014/main" id="{B12364DC-A9CF-43C0-8E04-B12E947FC122}"/>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8" name="Textfield placeholder">
                <a:extLst>
                  <a:ext uri="{FF2B5EF4-FFF2-40B4-BE49-F238E27FC236}">
                    <a16:creationId xmlns:a16="http://schemas.microsoft.com/office/drawing/2014/main" id="{B20D00A0-A2C8-4F93-B208-375F46C02452}"/>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9" name="Textfield placeholder">
                <a:extLst>
                  <a:ext uri="{FF2B5EF4-FFF2-40B4-BE49-F238E27FC236}">
                    <a16:creationId xmlns:a16="http://schemas.microsoft.com/office/drawing/2014/main" id="{F433623F-8165-4E78-B2EB-1581F004753E}"/>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220" name="Textfield placeholder">
                <a:extLst>
                  <a:ext uri="{FF2B5EF4-FFF2-40B4-BE49-F238E27FC236}">
                    <a16:creationId xmlns:a16="http://schemas.microsoft.com/office/drawing/2014/main" id="{567BECA2-18E8-4A84-91E0-F982CE0E0AD4}"/>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grpSp>
        <p:nvGrpSpPr>
          <p:cNvPr id="247" name="Groep 246">
            <a:extLst>
              <a:ext uri="{FF2B5EF4-FFF2-40B4-BE49-F238E27FC236}">
                <a16:creationId xmlns:a16="http://schemas.microsoft.com/office/drawing/2014/main" id="{175F4B50-553D-4727-A350-600B52DE1F55}"/>
              </a:ext>
            </a:extLst>
          </p:cNvPr>
          <p:cNvGrpSpPr/>
          <p:nvPr userDrawn="1"/>
        </p:nvGrpSpPr>
        <p:grpSpPr>
          <a:xfrm>
            <a:off x="12363871" y="-26002"/>
            <a:ext cx="3064812" cy="4530930"/>
            <a:chOff x="15419739" y="-26002"/>
            <a:chExt cx="3064812" cy="4530930"/>
          </a:xfrm>
        </p:grpSpPr>
        <p:sp>
          <p:nvSpPr>
            <p:cNvPr id="248" name="Tekstvak 33">
              <a:extLst>
                <a:ext uri="{FF2B5EF4-FFF2-40B4-BE49-F238E27FC236}">
                  <a16:creationId xmlns:a16="http://schemas.microsoft.com/office/drawing/2014/main" id="{402FB69E-A3CC-4641-9B32-7AB09B05C959}"/>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249" name="Tekstvak 33">
              <a:extLst>
                <a:ext uri="{FF2B5EF4-FFF2-40B4-BE49-F238E27FC236}">
                  <a16:creationId xmlns:a16="http://schemas.microsoft.com/office/drawing/2014/main" id="{3ABFB2E6-9FCA-4101-AFB3-28366B9AAA65}"/>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250" name="Ovaal 249">
              <a:extLst>
                <a:ext uri="{FF2B5EF4-FFF2-40B4-BE49-F238E27FC236}">
                  <a16:creationId xmlns:a16="http://schemas.microsoft.com/office/drawing/2014/main" id="{DD6291DB-06F3-4A43-9998-07988BCD60F8}"/>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251" name="Ovaal 250">
              <a:extLst>
                <a:ext uri="{FF2B5EF4-FFF2-40B4-BE49-F238E27FC236}">
                  <a16:creationId xmlns:a16="http://schemas.microsoft.com/office/drawing/2014/main" id="{021D2216-D0B6-4C85-8BA3-A2AEF2F376F3}"/>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252" name="Picture 3">
              <a:extLst>
                <a:ext uri="{FF2B5EF4-FFF2-40B4-BE49-F238E27FC236}">
                  <a16:creationId xmlns:a16="http://schemas.microsoft.com/office/drawing/2014/main" id="{A43A63C6-4F53-4938-84F7-71A4D419BC3B}"/>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53" name="Picture 3">
              <a:extLst>
                <a:ext uri="{FF2B5EF4-FFF2-40B4-BE49-F238E27FC236}">
                  <a16:creationId xmlns:a16="http://schemas.microsoft.com/office/drawing/2014/main" id="{E207D827-33A3-415F-B6AB-27D84339B423}"/>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54" name="Tekstvak 253">
              <a:extLst>
                <a:ext uri="{FF2B5EF4-FFF2-40B4-BE49-F238E27FC236}">
                  <a16:creationId xmlns:a16="http://schemas.microsoft.com/office/drawing/2014/main" id="{D125B444-2FA1-4669-8457-F025465E5875}"/>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255" name="Rechthoek 254">
              <a:extLst>
                <a:ext uri="{FF2B5EF4-FFF2-40B4-BE49-F238E27FC236}">
                  <a16:creationId xmlns:a16="http://schemas.microsoft.com/office/drawing/2014/main" id="{40632C77-BCA0-4457-882C-BA341324F525}"/>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256" name="Groep 255">
              <a:extLst>
                <a:ext uri="{FF2B5EF4-FFF2-40B4-BE49-F238E27FC236}">
                  <a16:creationId xmlns:a16="http://schemas.microsoft.com/office/drawing/2014/main" id="{E013ED7A-292D-4539-A6DA-BF278351AA00}"/>
                </a:ext>
              </a:extLst>
            </p:cNvPr>
            <p:cNvGrpSpPr/>
            <p:nvPr userDrawn="1"/>
          </p:nvGrpSpPr>
          <p:grpSpPr>
            <a:xfrm>
              <a:off x="15563079" y="358984"/>
              <a:ext cx="2489424" cy="4145944"/>
              <a:chOff x="15563079" y="358984"/>
              <a:chExt cx="2315772" cy="4145944"/>
            </a:xfrm>
          </p:grpSpPr>
          <p:cxnSp>
            <p:nvCxnSpPr>
              <p:cNvPr id="258" name="Rechte verbindingslijn 257">
                <a:extLst>
                  <a:ext uri="{FF2B5EF4-FFF2-40B4-BE49-F238E27FC236}">
                    <a16:creationId xmlns:a16="http://schemas.microsoft.com/office/drawing/2014/main" id="{BA5B8B8C-FDC9-4931-B4C7-7F0A881F6B2B}"/>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9" name="Rechte verbindingslijn 258">
                <a:extLst>
                  <a:ext uri="{FF2B5EF4-FFF2-40B4-BE49-F238E27FC236}">
                    <a16:creationId xmlns:a16="http://schemas.microsoft.com/office/drawing/2014/main" id="{4ABA9649-3C8C-4FE4-83C0-2A8BB48B2E38}"/>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0" name="Rechte verbindingslijn 259">
                <a:extLst>
                  <a:ext uri="{FF2B5EF4-FFF2-40B4-BE49-F238E27FC236}">
                    <a16:creationId xmlns:a16="http://schemas.microsoft.com/office/drawing/2014/main" id="{5203C02D-082C-4139-B60C-A2026FE43B29}"/>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57" name="Afbeelding 256">
              <a:extLst>
                <a:ext uri="{FF2B5EF4-FFF2-40B4-BE49-F238E27FC236}">
                  <a16:creationId xmlns:a16="http://schemas.microsoft.com/office/drawing/2014/main" id="{8F50405B-C272-4E1B-BB0B-A36F17A6BF9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1547179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kst Rechts + Object (M)">
    <p:spTree>
      <p:nvGrpSpPr>
        <p:cNvPr id="1" name=""/>
        <p:cNvGrpSpPr/>
        <p:nvPr/>
      </p:nvGrpSpPr>
      <p:grpSpPr>
        <a:xfrm>
          <a:off x="0" y="0"/>
          <a:ext cx="0" cy="0"/>
          <a:chOff x="0" y="0"/>
          <a:chExt cx="0" cy="0"/>
        </a:xfrm>
      </p:grpSpPr>
      <p:sp>
        <p:nvSpPr>
          <p:cNvPr id="148" name="Rechthoek 147"/>
          <p:cNvSpPr/>
          <p:nvPr userDrawn="1"/>
        </p:nvSpPr>
        <p:spPr>
          <a:xfrm>
            <a:off x="0" y="1420100"/>
            <a:ext cx="6079047" cy="455822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tel 1"/>
          <p:cNvSpPr>
            <a:spLocks noGrp="1"/>
          </p:cNvSpPr>
          <p:nvPr>
            <p:ph type="title"/>
          </p:nvPr>
        </p:nvSpPr>
        <p:spPr/>
        <p:txBody>
          <a:bodyPr/>
          <a:lstStyle/>
          <a:p>
            <a:r>
              <a:rPr lang="nl-NL"/>
              <a:t>Klik om stijl te bewerken</a:t>
            </a:r>
            <a:endParaRPr lang="en-GB"/>
          </a:p>
        </p:txBody>
      </p:sp>
      <p:sp>
        <p:nvSpPr>
          <p:cNvPr id="3" name="Tijdelijke aanduiding voor verticale tekst 2"/>
          <p:cNvSpPr>
            <a:spLocks noGrp="1"/>
          </p:cNvSpPr>
          <p:nvPr>
            <p:ph type="body" orient="vert" idx="1"/>
          </p:nvPr>
        </p:nvSpPr>
        <p:spPr>
          <a:xfrm>
            <a:off x="6543688" y="1420100"/>
            <a:ext cx="5651487" cy="4554193"/>
          </a:xfrm>
        </p:spPr>
        <p:txBody>
          <a:bodyPr vert="horz"/>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dirty="0"/>
          </a:p>
        </p:txBody>
      </p:sp>
      <p:sp>
        <p:nvSpPr>
          <p:cNvPr id="4" name="Tijdelijke aanduiding voor datum 3"/>
          <p:cNvSpPr>
            <a:spLocks noGrp="1"/>
          </p:cNvSpPr>
          <p:nvPr>
            <p:ph type="dt" sz="half" idx="10"/>
          </p:nvPr>
        </p:nvSpPr>
        <p:spPr/>
        <p:txBody>
          <a:bodyPr/>
          <a:lstStyle/>
          <a:p>
            <a:fld id="{15B6DE08-4417-467F-9B75-2C884B0376FD}"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9" name="Tijdelijke aanduiding voor inhoud 2"/>
          <p:cNvSpPr>
            <a:spLocks noGrp="1"/>
          </p:cNvSpPr>
          <p:nvPr>
            <p:ph idx="14"/>
          </p:nvPr>
        </p:nvSpPr>
        <p:spPr>
          <a:xfrm>
            <a:off x="375470" y="1641026"/>
            <a:ext cx="5332035" cy="3586068"/>
          </a:xfrm>
          <a:noFill/>
        </p:spPr>
        <p:txBody>
          <a:bodyPr anchor="ctr"/>
          <a:lstStyle>
            <a:lvl1pPr algn="ctr">
              <a:defRPr sz="1200"/>
            </a:lvl1pPr>
          </a:lstStyle>
          <a:p>
            <a:pPr lvl="0"/>
            <a:r>
              <a:rPr lang="nl-NL"/>
              <a:t>Klikken om de tekststijl van het model te bewerken</a:t>
            </a:r>
          </a:p>
        </p:txBody>
      </p:sp>
      <p:sp>
        <p:nvSpPr>
          <p:cNvPr id="11" name="Tekstvak 10"/>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Tekst Rechts + Object (M) + onderschrift</a:t>
            </a:r>
          </a:p>
        </p:txBody>
      </p:sp>
      <p:sp>
        <p:nvSpPr>
          <p:cNvPr id="12" name="Tijdelijke aanduiding voor verticale tekst 2"/>
          <p:cNvSpPr>
            <a:spLocks noGrp="1"/>
          </p:cNvSpPr>
          <p:nvPr>
            <p:ph type="body" orient="vert" idx="15" hasCustomPrompt="1"/>
          </p:nvPr>
        </p:nvSpPr>
        <p:spPr>
          <a:xfrm>
            <a:off x="0" y="5479087"/>
            <a:ext cx="6079047" cy="504000"/>
          </a:xfrm>
          <a:solidFill>
            <a:schemeClr val="accent2"/>
          </a:solidFill>
        </p:spPr>
        <p:txBody>
          <a:bodyPr vert="horz" lIns="324000" tIns="36000" rIns="216000" bIns="0" anchor="ctr"/>
          <a:lstStyle>
            <a:lvl1pPr algn="r">
              <a:defRPr sz="1800" b="0">
                <a:solidFill>
                  <a:schemeClr val="tx2"/>
                </a:solidFill>
              </a:defRPr>
            </a:lvl1pPr>
          </a:lstStyle>
          <a:p>
            <a:pPr lvl="0"/>
            <a:r>
              <a:rPr lang="nl-NL" dirty="0"/>
              <a:t>Onderschrift</a:t>
            </a:r>
          </a:p>
        </p:txBody>
      </p:sp>
      <p:grpSp>
        <p:nvGrpSpPr>
          <p:cNvPr id="146" name="Groep 145">
            <a:extLst>
              <a:ext uri="{FF2B5EF4-FFF2-40B4-BE49-F238E27FC236}">
                <a16:creationId xmlns:a16="http://schemas.microsoft.com/office/drawing/2014/main" id="{31ACB020-B3DE-444A-B9F4-8A7CEBC7D7F5}"/>
              </a:ext>
            </a:extLst>
          </p:cNvPr>
          <p:cNvGrpSpPr/>
          <p:nvPr userDrawn="1"/>
        </p:nvGrpSpPr>
        <p:grpSpPr>
          <a:xfrm>
            <a:off x="12353686" y="0"/>
            <a:ext cx="2808312" cy="5805264"/>
            <a:chOff x="-2973833" y="0"/>
            <a:chExt cx="2808312" cy="5805264"/>
          </a:xfrm>
        </p:grpSpPr>
        <p:sp>
          <p:nvSpPr>
            <p:cNvPr id="147" name="Rechthoek 146">
              <a:extLst>
                <a:ext uri="{FF2B5EF4-FFF2-40B4-BE49-F238E27FC236}">
                  <a16:creationId xmlns:a16="http://schemas.microsoft.com/office/drawing/2014/main" id="{C853C15A-D0DA-4317-B08B-07DC6B862F54}"/>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284" name="Textfield placeholder">
              <a:extLst>
                <a:ext uri="{FF2B5EF4-FFF2-40B4-BE49-F238E27FC236}">
                  <a16:creationId xmlns:a16="http://schemas.microsoft.com/office/drawing/2014/main" id="{C1253C1B-7BFF-4458-91A0-FCBFB6ED7CE1}"/>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285" name="Ovaal 284">
              <a:extLst>
                <a:ext uri="{FF2B5EF4-FFF2-40B4-BE49-F238E27FC236}">
                  <a16:creationId xmlns:a16="http://schemas.microsoft.com/office/drawing/2014/main" id="{8BAA1860-7857-4407-9D64-1F73552D3407}"/>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286" name="Ovaal 285">
              <a:extLst>
                <a:ext uri="{FF2B5EF4-FFF2-40B4-BE49-F238E27FC236}">
                  <a16:creationId xmlns:a16="http://schemas.microsoft.com/office/drawing/2014/main" id="{B71F4455-30DA-44A6-83C7-9253308D61A0}"/>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287" name="Ovaal 286">
              <a:extLst>
                <a:ext uri="{FF2B5EF4-FFF2-40B4-BE49-F238E27FC236}">
                  <a16:creationId xmlns:a16="http://schemas.microsoft.com/office/drawing/2014/main" id="{C94FA9F1-7DC5-4788-9832-4C3B01DA648E}"/>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288" name="Ovaal 287">
              <a:extLst>
                <a:ext uri="{FF2B5EF4-FFF2-40B4-BE49-F238E27FC236}">
                  <a16:creationId xmlns:a16="http://schemas.microsoft.com/office/drawing/2014/main" id="{7FAE39CB-44A1-4B0A-8A36-7BD0BA7FED27}"/>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289" name="Textfield placeholder">
              <a:extLst>
                <a:ext uri="{FF2B5EF4-FFF2-40B4-BE49-F238E27FC236}">
                  <a16:creationId xmlns:a16="http://schemas.microsoft.com/office/drawing/2014/main" id="{AFD43046-9D2F-44B9-B93B-C0ABAFDE8B1D}"/>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290" name="Textfield placeholder">
              <a:extLst>
                <a:ext uri="{FF2B5EF4-FFF2-40B4-BE49-F238E27FC236}">
                  <a16:creationId xmlns:a16="http://schemas.microsoft.com/office/drawing/2014/main" id="{E78FF9A2-5846-4F9B-B08B-E0D7C286E050}"/>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291" name="Textfield placeholder">
              <a:extLst>
                <a:ext uri="{FF2B5EF4-FFF2-40B4-BE49-F238E27FC236}">
                  <a16:creationId xmlns:a16="http://schemas.microsoft.com/office/drawing/2014/main" id="{58230418-B3A0-4335-9C6B-320B2A4A87D8}"/>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292" name="Rechte verbindingslijn 291">
              <a:extLst>
                <a:ext uri="{FF2B5EF4-FFF2-40B4-BE49-F238E27FC236}">
                  <a16:creationId xmlns:a16="http://schemas.microsoft.com/office/drawing/2014/main" id="{688E5E4A-A445-4C8B-89DD-F0E994D02641}"/>
                </a:ext>
              </a:extLst>
            </p:cNvPr>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3" name="Rechte verbindingslijn 292">
              <a:extLst>
                <a:ext uri="{FF2B5EF4-FFF2-40B4-BE49-F238E27FC236}">
                  <a16:creationId xmlns:a16="http://schemas.microsoft.com/office/drawing/2014/main" id="{FA5701AF-3031-4A5D-B1EC-329C2E4F00C2}"/>
                </a:ext>
              </a:extLst>
            </p:cNvPr>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4" name="Rechte verbindingslijn 293">
              <a:extLst>
                <a:ext uri="{FF2B5EF4-FFF2-40B4-BE49-F238E27FC236}">
                  <a16:creationId xmlns:a16="http://schemas.microsoft.com/office/drawing/2014/main" id="{2AB6B33D-09CA-46E9-84C3-CCAE8BC69158}"/>
                </a:ext>
              </a:extLst>
            </p:cNvPr>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295" name="Picture 3">
              <a:extLst>
                <a:ext uri="{FF2B5EF4-FFF2-40B4-BE49-F238E27FC236}">
                  <a16:creationId xmlns:a16="http://schemas.microsoft.com/office/drawing/2014/main" id="{80AB1075-C581-4BD8-8C2D-6B01BE105A14}"/>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6" name="Picture 4">
              <a:extLst>
                <a:ext uri="{FF2B5EF4-FFF2-40B4-BE49-F238E27FC236}">
                  <a16:creationId xmlns:a16="http://schemas.microsoft.com/office/drawing/2014/main" id="{06AA596C-5BD1-4CE9-9021-0534CC09A4E3}"/>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97" name="Groep 296">
              <a:extLst>
                <a:ext uri="{FF2B5EF4-FFF2-40B4-BE49-F238E27FC236}">
                  <a16:creationId xmlns:a16="http://schemas.microsoft.com/office/drawing/2014/main" id="{BED300DC-1964-4F27-9FF8-CA3724086B4A}"/>
                </a:ext>
              </a:extLst>
            </p:cNvPr>
            <p:cNvGrpSpPr/>
            <p:nvPr userDrawn="1"/>
          </p:nvGrpSpPr>
          <p:grpSpPr>
            <a:xfrm>
              <a:off x="-2098870" y="523279"/>
              <a:ext cx="435437" cy="427699"/>
              <a:chOff x="-1085063" y="758027"/>
              <a:chExt cx="633800" cy="622540"/>
            </a:xfrm>
          </p:grpSpPr>
          <p:sp>
            <p:nvSpPr>
              <p:cNvPr id="338" name="Afgeronde rechthoek 133">
                <a:extLst>
                  <a:ext uri="{FF2B5EF4-FFF2-40B4-BE49-F238E27FC236}">
                    <a16:creationId xmlns:a16="http://schemas.microsoft.com/office/drawing/2014/main" id="{63C3EE23-B58D-4BB7-A59B-54F80041F17E}"/>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339" name="Groep 338">
                <a:extLst>
                  <a:ext uri="{FF2B5EF4-FFF2-40B4-BE49-F238E27FC236}">
                    <a16:creationId xmlns:a16="http://schemas.microsoft.com/office/drawing/2014/main" id="{AA62EC14-7936-4236-82CD-DFD316A5132E}"/>
                  </a:ext>
                </a:extLst>
              </p:cNvPr>
              <p:cNvGrpSpPr/>
              <p:nvPr userDrawn="1"/>
            </p:nvGrpSpPr>
            <p:grpSpPr>
              <a:xfrm>
                <a:off x="-977746" y="864082"/>
                <a:ext cx="419166" cy="410430"/>
                <a:chOff x="6366933" y="309013"/>
                <a:chExt cx="1901295" cy="1861668"/>
              </a:xfrm>
              <a:solidFill>
                <a:schemeClr val="tx1"/>
              </a:solidFill>
            </p:grpSpPr>
            <p:sp>
              <p:nvSpPr>
                <p:cNvPr id="340" name="Rechthoek 339">
                  <a:extLst>
                    <a:ext uri="{FF2B5EF4-FFF2-40B4-BE49-F238E27FC236}">
                      <a16:creationId xmlns:a16="http://schemas.microsoft.com/office/drawing/2014/main" id="{FD266148-E8BE-4D3D-9E6B-3E1D3B1A7787}"/>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1" name="Rechthoek 340">
                  <a:extLst>
                    <a:ext uri="{FF2B5EF4-FFF2-40B4-BE49-F238E27FC236}">
                      <a16:creationId xmlns:a16="http://schemas.microsoft.com/office/drawing/2014/main" id="{BECDC00A-4DAC-4B0F-BAE6-6ED6CAA58558}"/>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2" name="Rechthoek 341">
                  <a:extLst>
                    <a:ext uri="{FF2B5EF4-FFF2-40B4-BE49-F238E27FC236}">
                      <a16:creationId xmlns:a16="http://schemas.microsoft.com/office/drawing/2014/main" id="{E47CD166-207E-4B5A-93A5-FFE71F7F80BC}"/>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3" name="Rechthoek 342">
                  <a:extLst>
                    <a:ext uri="{FF2B5EF4-FFF2-40B4-BE49-F238E27FC236}">
                      <a16:creationId xmlns:a16="http://schemas.microsoft.com/office/drawing/2014/main" id="{B64BF6B3-E238-4C59-A069-3D22414BACC1}"/>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4" name="Rechthoek 343">
                  <a:extLst>
                    <a:ext uri="{FF2B5EF4-FFF2-40B4-BE49-F238E27FC236}">
                      <a16:creationId xmlns:a16="http://schemas.microsoft.com/office/drawing/2014/main" id="{DE8F699A-DF7E-4E65-84A1-5DB49A3E8914}"/>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5" name="Rechthoek 344">
                  <a:extLst>
                    <a:ext uri="{FF2B5EF4-FFF2-40B4-BE49-F238E27FC236}">
                      <a16:creationId xmlns:a16="http://schemas.microsoft.com/office/drawing/2014/main" id="{2D1CA763-E173-40DA-971F-C99CBD7CF318}"/>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6" name="Rechthoek 345">
                  <a:extLst>
                    <a:ext uri="{FF2B5EF4-FFF2-40B4-BE49-F238E27FC236}">
                      <a16:creationId xmlns:a16="http://schemas.microsoft.com/office/drawing/2014/main" id="{450A6E2D-ABF4-432E-957E-72D355C2E1F5}"/>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7" name="Rechthoek 346">
                  <a:extLst>
                    <a:ext uri="{FF2B5EF4-FFF2-40B4-BE49-F238E27FC236}">
                      <a16:creationId xmlns:a16="http://schemas.microsoft.com/office/drawing/2014/main" id="{17BA1B22-05FB-4582-B409-4F899667B7E1}"/>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8" name="Rechthoek 347">
                  <a:extLst>
                    <a:ext uri="{FF2B5EF4-FFF2-40B4-BE49-F238E27FC236}">
                      <a16:creationId xmlns:a16="http://schemas.microsoft.com/office/drawing/2014/main" id="{616E09E5-8C9A-4406-8C94-CDA53E63E5F5}"/>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9" name="Rechthoek 348">
                  <a:extLst>
                    <a:ext uri="{FF2B5EF4-FFF2-40B4-BE49-F238E27FC236}">
                      <a16:creationId xmlns:a16="http://schemas.microsoft.com/office/drawing/2014/main" id="{54E28ABB-5611-45AA-A54D-83307ED84A77}"/>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50" name="Vrije vorm 145">
                  <a:extLst>
                    <a:ext uri="{FF2B5EF4-FFF2-40B4-BE49-F238E27FC236}">
                      <a16:creationId xmlns:a16="http://schemas.microsoft.com/office/drawing/2014/main" id="{C53E8BEC-A7AE-4217-8D72-04CE43656749}"/>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298" name="Groep 297">
              <a:extLst>
                <a:ext uri="{FF2B5EF4-FFF2-40B4-BE49-F238E27FC236}">
                  <a16:creationId xmlns:a16="http://schemas.microsoft.com/office/drawing/2014/main" id="{314A76E3-BE58-4FF3-8EED-A6F319EFA727}"/>
                </a:ext>
              </a:extLst>
            </p:cNvPr>
            <p:cNvGrpSpPr/>
            <p:nvPr userDrawn="1"/>
          </p:nvGrpSpPr>
          <p:grpSpPr>
            <a:xfrm>
              <a:off x="-2095303" y="1071657"/>
              <a:ext cx="435437" cy="427699"/>
              <a:chOff x="-1845083" y="758027"/>
              <a:chExt cx="633800" cy="622540"/>
            </a:xfrm>
          </p:grpSpPr>
          <p:sp>
            <p:nvSpPr>
              <p:cNvPr id="325" name="Afgeronde rechthoek 120">
                <a:extLst>
                  <a:ext uri="{FF2B5EF4-FFF2-40B4-BE49-F238E27FC236}">
                    <a16:creationId xmlns:a16="http://schemas.microsoft.com/office/drawing/2014/main" id="{4EC7350D-EC30-4780-94FC-E34B4B3D1F94}"/>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326" name="Groep 325">
                <a:extLst>
                  <a:ext uri="{FF2B5EF4-FFF2-40B4-BE49-F238E27FC236}">
                    <a16:creationId xmlns:a16="http://schemas.microsoft.com/office/drawing/2014/main" id="{9285EC5D-4F4A-40CD-9767-6078A643F8DB}"/>
                  </a:ext>
                </a:extLst>
              </p:cNvPr>
              <p:cNvGrpSpPr/>
              <p:nvPr userDrawn="1"/>
            </p:nvGrpSpPr>
            <p:grpSpPr>
              <a:xfrm>
                <a:off x="-1737766" y="864082"/>
                <a:ext cx="419166" cy="410430"/>
                <a:chOff x="3708400" y="309013"/>
                <a:chExt cx="1901295" cy="1861668"/>
              </a:xfrm>
              <a:solidFill>
                <a:schemeClr val="tx1"/>
              </a:solidFill>
            </p:grpSpPr>
            <p:sp>
              <p:nvSpPr>
                <p:cNvPr id="327" name="Rechthoek 326">
                  <a:extLst>
                    <a:ext uri="{FF2B5EF4-FFF2-40B4-BE49-F238E27FC236}">
                      <a16:creationId xmlns:a16="http://schemas.microsoft.com/office/drawing/2014/main" id="{3B86FC91-E139-4A22-966A-2AC435257F85}"/>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28" name="Rechthoek 327">
                  <a:extLst>
                    <a:ext uri="{FF2B5EF4-FFF2-40B4-BE49-F238E27FC236}">
                      <a16:creationId xmlns:a16="http://schemas.microsoft.com/office/drawing/2014/main" id="{325A82F3-CE76-49B6-AB54-2DCCAA10751A}"/>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29" name="Rechthoek 328">
                  <a:extLst>
                    <a:ext uri="{FF2B5EF4-FFF2-40B4-BE49-F238E27FC236}">
                      <a16:creationId xmlns:a16="http://schemas.microsoft.com/office/drawing/2014/main" id="{AB747E21-F066-4F26-B49E-C644649B401E}"/>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0" name="Rechthoek 329">
                  <a:extLst>
                    <a:ext uri="{FF2B5EF4-FFF2-40B4-BE49-F238E27FC236}">
                      <a16:creationId xmlns:a16="http://schemas.microsoft.com/office/drawing/2014/main" id="{FEE8B79C-2998-44A3-9100-F3273F733D02}"/>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1" name="Rechthoek 330">
                  <a:extLst>
                    <a:ext uri="{FF2B5EF4-FFF2-40B4-BE49-F238E27FC236}">
                      <a16:creationId xmlns:a16="http://schemas.microsoft.com/office/drawing/2014/main" id="{F253395B-A8E6-4408-8216-CCC283A9A9AB}"/>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2" name="Rechthoek 331">
                  <a:extLst>
                    <a:ext uri="{FF2B5EF4-FFF2-40B4-BE49-F238E27FC236}">
                      <a16:creationId xmlns:a16="http://schemas.microsoft.com/office/drawing/2014/main" id="{29FF417D-1E2B-470A-907B-5C2B8D1C9CFD}"/>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3" name="Rechthoek 332">
                  <a:extLst>
                    <a:ext uri="{FF2B5EF4-FFF2-40B4-BE49-F238E27FC236}">
                      <a16:creationId xmlns:a16="http://schemas.microsoft.com/office/drawing/2014/main" id="{123FFB4E-28D6-4D77-80D0-623D237F1F1A}"/>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4" name="Rechthoek 333">
                  <a:extLst>
                    <a:ext uri="{FF2B5EF4-FFF2-40B4-BE49-F238E27FC236}">
                      <a16:creationId xmlns:a16="http://schemas.microsoft.com/office/drawing/2014/main" id="{B5DD0DA7-12C1-46E9-BCAB-7EC9D40A666F}"/>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5" name="Rechthoek 334">
                  <a:extLst>
                    <a:ext uri="{FF2B5EF4-FFF2-40B4-BE49-F238E27FC236}">
                      <a16:creationId xmlns:a16="http://schemas.microsoft.com/office/drawing/2014/main" id="{F74405A7-55C9-474D-BF1F-5D252125EB58}"/>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6" name="Rechthoek 335">
                  <a:extLst>
                    <a:ext uri="{FF2B5EF4-FFF2-40B4-BE49-F238E27FC236}">
                      <a16:creationId xmlns:a16="http://schemas.microsoft.com/office/drawing/2014/main" id="{484DDDE3-DA57-4B5F-A562-F8942F2643C4}"/>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7" name="Vrije vorm 132">
                  <a:extLst>
                    <a:ext uri="{FF2B5EF4-FFF2-40B4-BE49-F238E27FC236}">
                      <a16:creationId xmlns:a16="http://schemas.microsoft.com/office/drawing/2014/main" id="{31AE43FB-EBE9-4B19-9755-7F5FE012F10D}"/>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299" name="Rechte verbindingslijn 298">
              <a:extLst>
                <a:ext uri="{FF2B5EF4-FFF2-40B4-BE49-F238E27FC236}">
                  <a16:creationId xmlns:a16="http://schemas.microsoft.com/office/drawing/2014/main" id="{965DEE1B-4541-4BAA-9192-8D86BEB8225F}"/>
                </a:ext>
              </a:extLst>
            </p:cNvPr>
            <p:cNvCxnSpPr>
              <a:stCxn id="301" idx="2"/>
              <a:endCxn id="325"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300" name="Rechte verbindingslijn 299">
              <a:extLst>
                <a:ext uri="{FF2B5EF4-FFF2-40B4-BE49-F238E27FC236}">
                  <a16:creationId xmlns:a16="http://schemas.microsoft.com/office/drawing/2014/main" id="{E0A30C7B-469D-4167-9CFE-BB65D99577F8}"/>
                </a:ext>
              </a:extLst>
            </p:cNvPr>
            <p:cNvCxnSpPr>
              <a:stCxn id="302" idx="3"/>
              <a:endCxn id="338"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301" name="Ovaal 300">
              <a:extLst>
                <a:ext uri="{FF2B5EF4-FFF2-40B4-BE49-F238E27FC236}">
                  <a16:creationId xmlns:a16="http://schemas.microsoft.com/office/drawing/2014/main" id="{EC9D903B-0A51-4C9C-9041-B494169E863F}"/>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02" name="Ovaal 301">
              <a:extLst>
                <a:ext uri="{FF2B5EF4-FFF2-40B4-BE49-F238E27FC236}">
                  <a16:creationId xmlns:a16="http://schemas.microsoft.com/office/drawing/2014/main" id="{371D220C-C06C-49D1-A152-945EE493109F}"/>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03" name="Textfield placeholder">
              <a:extLst>
                <a:ext uri="{FF2B5EF4-FFF2-40B4-BE49-F238E27FC236}">
                  <a16:creationId xmlns:a16="http://schemas.microsoft.com/office/drawing/2014/main" id="{A3BFE464-8484-4DBC-BE7B-044905E8C2ED}"/>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latin typeface="+mn-lt"/>
                </a:rPr>
                <a:t>Niveau</a:t>
              </a:r>
              <a:r>
                <a:rPr lang="en-GB" sz="1200" b="0" dirty="0">
                  <a:solidFill>
                    <a:schemeClr val="tx1"/>
                  </a:solidFill>
                  <a:latin typeface="+mn-lt"/>
                </a:rPr>
                <a:t> vooruit</a:t>
              </a:r>
            </a:p>
          </p:txBody>
        </p:sp>
        <p:sp>
          <p:nvSpPr>
            <p:cNvPr id="304" name="Textfield placeholder">
              <a:extLst>
                <a:ext uri="{FF2B5EF4-FFF2-40B4-BE49-F238E27FC236}">
                  <a16:creationId xmlns:a16="http://schemas.microsoft.com/office/drawing/2014/main" id="{A18EBA50-25EA-46D8-8392-CA37EF0D5B73}"/>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latin typeface="+mn-lt"/>
                </a:rPr>
                <a:t>Niveau</a:t>
              </a:r>
              <a:r>
                <a:rPr lang="en-GB" sz="1200" b="0" dirty="0">
                  <a:solidFill>
                    <a:schemeClr val="tx1"/>
                  </a:solidFill>
                  <a:latin typeface="+mn-lt"/>
                </a:rPr>
                <a:t> terug</a:t>
              </a:r>
            </a:p>
          </p:txBody>
        </p:sp>
        <p:sp>
          <p:nvSpPr>
            <p:cNvPr id="305" name="Ovaal 304">
              <a:extLst>
                <a:ext uri="{FF2B5EF4-FFF2-40B4-BE49-F238E27FC236}">
                  <a16:creationId xmlns:a16="http://schemas.microsoft.com/office/drawing/2014/main" id="{C0BA338D-0558-43B5-ADE8-3B010B312D39}"/>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306" name="Ovaal 305">
              <a:extLst>
                <a:ext uri="{FF2B5EF4-FFF2-40B4-BE49-F238E27FC236}">
                  <a16:creationId xmlns:a16="http://schemas.microsoft.com/office/drawing/2014/main" id="{05776E5D-B36A-489A-8967-D85E9E2AECDC}"/>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307" name="Ovaal 306">
              <a:extLst>
                <a:ext uri="{FF2B5EF4-FFF2-40B4-BE49-F238E27FC236}">
                  <a16:creationId xmlns:a16="http://schemas.microsoft.com/office/drawing/2014/main" id="{60EAA922-0ECE-4D35-9AD6-0651A4AA79E6}"/>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308" name="Ovaal 307">
              <a:extLst>
                <a:ext uri="{FF2B5EF4-FFF2-40B4-BE49-F238E27FC236}">
                  <a16:creationId xmlns:a16="http://schemas.microsoft.com/office/drawing/2014/main" id="{FB8386FC-DC66-41C6-A782-86237DADBDAB}"/>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309" name="Ovaal 308">
              <a:extLst>
                <a:ext uri="{FF2B5EF4-FFF2-40B4-BE49-F238E27FC236}">
                  <a16:creationId xmlns:a16="http://schemas.microsoft.com/office/drawing/2014/main" id="{1394542F-590D-4B8D-96DA-6E758C70047D}"/>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310" name="Textfield placeholder">
              <a:extLst>
                <a:ext uri="{FF2B5EF4-FFF2-40B4-BE49-F238E27FC236}">
                  <a16:creationId xmlns:a16="http://schemas.microsoft.com/office/drawing/2014/main" id="{D0CBDB9F-D771-4BBE-A501-E7D415B18D0F}"/>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311" name="Textfield placeholder">
              <a:extLst>
                <a:ext uri="{FF2B5EF4-FFF2-40B4-BE49-F238E27FC236}">
                  <a16:creationId xmlns:a16="http://schemas.microsoft.com/office/drawing/2014/main" id="{B6230F9C-08BE-4AA0-8D47-A59281790F68}"/>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312" name="Textfield placeholder">
              <a:extLst>
                <a:ext uri="{FF2B5EF4-FFF2-40B4-BE49-F238E27FC236}">
                  <a16:creationId xmlns:a16="http://schemas.microsoft.com/office/drawing/2014/main" id="{06BB8C76-2642-494A-B40F-80FD0DA80B8F}"/>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313" name="Textfield placeholder">
              <a:extLst>
                <a:ext uri="{FF2B5EF4-FFF2-40B4-BE49-F238E27FC236}">
                  <a16:creationId xmlns:a16="http://schemas.microsoft.com/office/drawing/2014/main" id="{B3CF8825-D20C-4B54-8D55-7E03801A0CB4}"/>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314" name="Textfield placeholder">
              <a:extLst>
                <a:ext uri="{FF2B5EF4-FFF2-40B4-BE49-F238E27FC236}">
                  <a16:creationId xmlns:a16="http://schemas.microsoft.com/office/drawing/2014/main" id="{DA234EED-F5E9-45A1-84A0-FF86037FB565}"/>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315" name="Groep 314">
              <a:extLst>
                <a:ext uri="{FF2B5EF4-FFF2-40B4-BE49-F238E27FC236}">
                  <a16:creationId xmlns:a16="http://schemas.microsoft.com/office/drawing/2014/main" id="{1814F644-0E37-460A-8C8D-314C7DA037AB}"/>
                </a:ext>
              </a:extLst>
            </p:cNvPr>
            <p:cNvGrpSpPr/>
            <p:nvPr userDrawn="1"/>
          </p:nvGrpSpPr>
          <p:grpSpPr>
            <a:xfrm>
              <a:off x="-950342" y="1837957"/>
              <a:ext cx="687412" cy="3758146"/>
              <a:chOff x="-740196" y="1837957"/>
              <a:chExt cx="1374825" cy="3758146"/>
            </a:xfrm>
          </p:grpSpPr>
          <p:sp>
            <p:nvSpPr>
              <p:cNvPr id="316" name="Textfield placeholder">
                <a:extLst>
                  <a:ext uri="{FF2B5EF4-FFF2-40B4-BE49-F238E27FC236}">
                    <a16:creationId xmlns:a16="http://schemas.microsoft.com/office/drawing/2014/main" id="{33DF6B55-6D07-4A83-9185-CBABC5678456}"/>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317" name="Textfield placeholder">
                <a:extLst>
                  <a:ext uri="{FF2B5EF4-FFF2-40B4-BE49-F238E27FC236}">
                    <a16:creationId xmlns:a16="http://schemas.microsoft.com/office/drawing/2014/main" id="{1A1D7CA3-E3B5-4CAE-9756-554B677319D3}"/>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318" name="Textfield placeholder">
                <a:extLst>
                  <a:ext uri="{FF2B5EF4-FFF2-40B4-BE49-F238E27FC236}">
                    <a16:creationId xmlns:a16="http://schemas.microsoft.com/office/drawing/2014/main" id="{3A394B6F-C608-4FD1-A120-0DFD9259159D}"/>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19" name="Textfield placeholder">
                <a:extLst>
                  <a:ext uri="{FF2B5EF4-FFF2-40B4-BE49-F238E27FC236}">
                    <a16:creationId xmlns:a16="http://schemas.microsoft.com/office/drawing/2014/main" id="{BB015E7A-33AA-4F0E-A681-2DE050B22872}"/>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320" name="Textfield placeholder">
                <a:extLst>
                  <a:ext uri="{FF2B5EF4-FFF2-40B4-BE49-F238E27FC236}">
                    <a16:creationId xmlns:a16="http://schemas.microsoft.com/office/drawing/2014/main" id="{B4AA4BCE-4828-4CB3-A67A-ECF8C4CC09BC}"/>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321" name="Textfield placeholder">
                <a:extLst>
                  <a:ext uri="{FF2B5EF4-FFF2-40B4-BE49-F238E27FC236}">
                    <a16:creationId xmlns:a16="http://schemas.microsoft.com/office/drawing/2014/main" id="{25329802-3F6C-48F8-B81D-79D4AA5E08B1}"/>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22" name="Textfield placeholder">
                <a:extLst>
                  <a:ext uri="{FF2B5EF4-FFF2-40B4-BE49-F238E27FC236}">
                    <a16:creationId xmlns:a16="http://schemas.microsoft.com/office/drawing/2014/main" id="{941F35C3-BB95-4D85-8FDA-820E134501E6}"/>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23" name="Textfield placeholder">
                <a:extLst>
                  <a:ext uri="{FF2B5EF4-FFF2-40B4-BE49-F238E27FC236}">
                    <a16:creationId xmlns:a16="http://schemas.microsoft.com/office/drawing/2014/main" id="{4A1AE652-AA3B-4373-AF88-61C35A9F637F}"/>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324" name="Textfield placeholder">
                <a:extLst>
                  <a:ext uri="{FF2B5EF4-FFF2-40B4-BE49-F238E27FC236}">
                    <a16:creationId xmlns:a16="http://schemas.microsoft.com/office/drawing/2014/main" id="{228CE66A-9870-4075-8C23-ADF89F1534CF}"/>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grpSp>
        <p:nvGrpSpPr>
          <p:cNvPr id="417" name="Groep 416">
            <a:extLst>
              <a:ext uri="{FF2B5EF4-FFF2-40B4-BE49-F238E27FC236}">
                <a16:creationId xmlns:a16="http://schemas.microsoft.com/office/drawing/2014/main" id="{EF880E22-2EB3-4740-9FEB-52A8152C21A3}"/>
              </a:ext>
            </a:extLst>
          </p:cNvPr>
          <p:cNvGrpSpPr/>
          <p:nvPr userDrawn="1"/>
        </p:nvGrpSpPr>
        <p:grpSpPr>
          <a:xfrm>
            <a:off x="-3216859" y="-26002"/>
            <a:ext cx="3064812" cy="6864697"/>
            <a:chOff x="12363871" y="-26002"/>
            <a:chExt cx="3064812" cy="6864697"/>
          </a:xfrm>
        </p:grpSpPr>
        <p:sp>
          <p:nvSpPr>
            <p:cNvPr id="418" name="Tekstvak 33">
              <a:extLst>
                <a:ext uri="{FF2B5EF4-FFF2-40B4-BE49-F238E27FC236}">
                  <a16:creationId xmlns:a16="http://schemas.microsoft.com/office/drawing/2014/main" id="{C9373A05-7C55-42D4-A056-8B9252140D03}"/>
                </a:ext>
              </a:extLst>
            </p:cNvPr>
            <p:cNvSpPr txBox="1"/>
            <p:nvPr userDrawn="1"/>
          </p:nvSpPr>
          <p:spPr>
            <a:xfrm>
              <a:off x="12537681" y="1001584"/>
              <a:ext cx="2285302" cy="430887"/>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 om een grafiek in te voegen</a:t>
              </a:r>
            </a:p>
          </p:txBody>
        </p:sp>
        <p:sp>
          <p:nvSpPr>
            <p:cNvPr id="419" name="Tekstvak 33">
              <a:extLst>
                <a:ext uri="{FF2B5EF4-FFF2-40B4-BE49-F238E27FC236}">
                  <a16:creationId xmlns:a16="http://schemas.microsoft.com/office/drawing/2014/main" id="{866A0862-706B-493A-8B85-E30EADA91BBF}"/>
                </a:ext>
              </a:extLst>
            </p:cNvPr>
            <p:cNvSpPr txBox="1"/>
            <p:nvPr userDrawn="1"/>
          </p:nvSpPr>
          <p:spPr>
            <a:xfrm>
              <a:off x="12537681"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Selecteer de grafiek die u wilt invoegen en klik op </a:t>
              </a:r>
              <a:r>
                <a:rPr kumimoji="0" lang="nl-NL" sz="1400" b="1"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p>
          </p:txBody>
        </p:sp>
        <p:sp>
          <p:nvSpPr>
            <p:cNvPr id="420" name="Ovaal 419">
              <a:extLst>
                <a:ext uri="{FF2B5EF4-FFF2-40B4-BE49-F238E27FC236}">
                  <a16:creationId xmlns:a16="http://schemas.microsoft.com/office/drawing/2014/main" id="{411D9B16-D79D-4910-A1F8-0C14EC973360}"/>
                </a:ext>
              </a:extLst>
            </p:cNvPr>
            <p:cNvSpPr/>
            <p:nvPr userDrawn="1"/>
          </p:nvSpPr>
          <p:spPr>
            <a:xfrm>
              <a:off x="12494665"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421" name="Ovaal 420">
              <a:extLst>
                <a:ext uri="{FF2B5EF4-FFF2-40B4-BE49-F238E27FC236}">
                  <a16:creationId xmlns:a16="http://schemas.microsoft.com/office/drawing/2014/main" id="{1758B6B5-08CA-47C8-A749-84C2F3DB76C6}"/>
                </a:ext>
              </a:extLst>
            </p:cNvPr>
            <p:cNvSpPr/>
            <p:nvPr userDrawn="1"/>
          </p:nvSpPr>
          <p:spPr>
            <a:xfrm>
              <a:off x="12494665"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422" name="Picture 3">
              <a:extLst>
                <a:ext uri="{FF2B5EF4-FFF2-40B4-BE49-F238E27FC236}">
                  <a16:creationId xmlns:a16="http://schemas.microsoft.com/office/drawing/2014/main" id="{82DB69CE-7C8E-407B-A8C9-3D3D847477CA}"/>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l="4630" t="13535" r="3470" b="13927"/>
            <a:stretch/>
          </p:blipFill>
          <p:spPr bwMode="auto">
            <a:xfrm>
              <a:off x="12535130"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423" name="Picture 3">
              <a:extLst>
                <a:ext uri="{FF2B5EF4-FFF2-40B4-BE49-F238E27FC236}">
                  <a16:creationId xmlns:a16="http://schemas.microsoft.com/office/drawing/2014/main" id="{4DC2D574-B482-4955-AFC1-A46AFAF956F3}"/>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2604588"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424" name="Tekstvak 423">
              <a:extLst>
                <a:ext uri="{FF2B5EF4-FFF2-40B4-BE49-F238E27FC236}">
                  <a16:creationId xmlns:a16="http://schemas.microsoft.com/office/drawing/2014/main" id="{94660A45-3114-490C-823F-5A694ABBBE2B}"/>
                </a:ext>
              </a:extLst>
            </p:cNvPr>
            <p:cNvSpPr txBox="1"/>
            <p:nvPr userDrawn="1"/>
          </p:nvSpPr>
          <p:spPr>
            <a:xfrm>
              <a:off x="12560359" y="4020160"/>
              <a:ext cx="88636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outerShdw blurRad="25400" algn="ctr" rotWithShape="0">
                      <a:prstClr val="white"/>
                    </a:outerShdw>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outerShdw blurRad="25400" algn="ctr" rotWithShape="0">
                    <a:prstClr val="white"/>
                  </a:outerShdw>
                </a:effectLst>
                <a:uLnTx/>
                <a:uFillTx/>
                <a:latin typeface="+mj-lt"/>
              </a:endParaRPr>
            </a:p>
          </p:txBody>
        </p:sp>
        <p:sp>
          <p:nvSpPr>
            <p:cNvPr id="425" name="Rechthoek 424">
              <a:extLst>
                <a:ext uri="{FF2B5EF4-FFF2-40B4-BE49-F238E27FC236}">
                  <a16:creationId xmlns:a16="http://schemas.microsoft.com/office/drawing/2014/main" id="{33924AA9-D98A-4EF3-BDC6-C83DDF114E71}"/>
                </a:ext>
              </a:extLst>
            </p:cNvPr>
            <p:cNvSpPr/>
            <p:nvPr userDrawn="1"/>
          </p:nvSpPr>
          <p:spPr>
            <a:xfrm>
              <a:off x="12363871"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GRAFIEK INVOEGEN</a:t>
              </a:r>
            </a:p>
          </p:txBody>
        </p:sp>
        <p:cxnSp>
          <p:nvCxnSpPr>
            <p:cNvPr id="426" name="Rechte verbindingslijn 425">
              <a:extLst>
                <a:ext uri="{FF2B5EF4-FFF2-40B4-BE49-F238E27FC236}">
                  <a16:creationId xmlns:a16="http://schemas.microsoft.com/office/drawing/2014/main" id="{94A3DE8D-5415-4D90-B416-9A6C222EA179}"/>
                </a:ext>
              </a:extLst>
            </p:cNvPr>
            <p:cNvCxnSpPr/>
            <p:nvPr userDrawn="1"/>
          </p:nvCxnSpPr>
          <p:spPr>
            <a:xfrm>
              <a:off x="12507575" y="33168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27" name="Rechte verbindingslijn 426">
              <a:extLst>
                <a:ext uri="{FF2B5EF4-FFF2-40B4-BE49-F238E27FC236}">
                  <a16:creationId xmlns:a16="http://schemas.microsoft.com/office/drawing/2014/main" id="{78C179AE-2207-47C0-866C-8AA8EFD6CA69}"/>
                </a:ext>
              </a:extLst>
            </p:cNvPr>
            <p:cNvCxnSpPr/>
            <p:nvPr userDrawn="1"/>
          </p:nvCxnSpPr>
          <p:spPr>
            <a:xfrm>
              <a:off x="12507211" y="253760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28" name="Rechte verbindingslijn 427">
              <a:extLst>
                <a:ext uri="{FF2B5EF4-FFF2-40B4-BE49-F238E27FC236}">
                  <a16:creationId xmlns:a16="http://schemas.microsoft.com/office/drawing/2014/main" id="{13E70B78-0DF9-496D-94A7-6D464FD9FF44}"/>
                </a:ext>
              </a:extLst>
            </p:cNvPr>
            <p:cNvCxnSpPr/>
            <p:nvPr userDrawn="1"/>
          </p:nvCxnSpPr>
          <p:spPr>
            <a:xfrm>
              <a:off x="12507575" y="4423040"/>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9" name="Rechte verbindingslijn 428">
              <a:extLst>
                <a:ext uri="{FF2B5EF4-FFF2-40B4-BE49-F238E27FC236}">
                  <a16:creationId xmlns:a16="http://schemas.microsoft.com/office/drawing/2014/main" id="{B924FD1F-C762-4BAB-929B-65A4BEFBDF83}"/>
                </a:ext>
              </a:extLst>
            </p:cNvPr>
            <p:cNvCxnSpPr/>
            <p:nvPr userDrawn="1"/>
          </p:nvCxnSpPr>
          <p:spPr>
            <a:xfrm>
              <a:off x="12507575" y="6838695"/>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0" name="Rechte verbindingslijn 429">
              <a:extLst>
                <a:ext uri="{FF2B5EF4-FFF2-40B4-BE49-F238E27FC236}">
                  <a16:creationId xmlns:a16="http://schemas.microsoft.com/office/drawing/2014/main" id="{7ED3A4C2-304F-41A4-B6BD-C890D35916D4}"/>
                </a:ext>
              </a:extLst>
            </p:cNvPr>
            <p:cNvCxnSpPr/>
            <p:nvPr userDrawn="1"/>
          </p:nvCxnSpPr>
          <p:spPr>
            <a:xfrm>
              <a:off x="12507211" y="4898666"/>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431" name="Groep 430">
              <a:extLst>
                <a:ext uri="{FF2B5EF4-FFF2-40B4-BE49-F238E27FC236}">
                  <a16:creationId xmlns:a16="http://schemas.microsoft.com/office/drawing/2014/main" id="{FE588FC8-29C6-4A6E-BA9E-D1DB2BEE97C2}"/>
                </a:ext>
              </a:extLst>
            </p:cNvPr>
            <p:cNvGrpSpPr/>
            <p:nvPr userDrawn="1"/>
          </p:nvGrpSpPr>
          <p:grpSpPr>
            <a:xfrm>
              <a:off x="12436353" y="1728359"/>
              <a:ext cx="689983" cy="573048"/>
              <a:chOff x="15171969" y="1587338"/>
              <a:chExt cx="755407" cy="627385"/>
            </a:xfrm>
          </p:grpSpPr>
          <p:sp>
            <p:nvSpPr>
              <p:cNvPr id="470" name="Rechthoek 962">
                <a:extLst>
                  <a:ext uri="{FF2B5EF4-FFF2-40B4-BE49-F238E27FC236}">
                    <a16:creationId xmlns:a16="http://schemas.microsoft.com/office/drawing/2014/main" id="{9625FB1F-2594-4346-B6BB-3D75286D6343}"/>
                  </a:ext>
                </a:extLst>
              </p:cNvPr>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471" name="Groep 470">
                <a:extLst>
                  <a:ext uri="{FF2B5EF4-FFF2-40B4-BE49-F238E27FC236}">
                    <a16:creationId xmlns:a16="http://schemas.microsoft.com/office/drawing/2014/main" id="{5DE4E730-4BAC-4828-A775-13B69C8CF2B2}"/>
                  </a:ext>
                </a:extLst>
              </p:cNvPr>
              <p:cNvGrpSpPr/>
              <p:nvPr userDrawn="1"/>
            </p:nvGrpSpPr>
            <p:grpSpPr>
              <a:xfrm>
                <a:off x="15281106" y="1587338"/>
                <a:ext cx="511775" cy="560304"/>
                <a:chOff x="10604642" y="969717"/>
                <a:chExt cx="1290643" cy="1427163"/>
              </a:xfrm>
            </p:grpSpPr>
            <p:grpSp>
              <p:nvGrpSpPr>
                <p:cNvPr id="472" name="Group 879">
                  <a:extLst>
                    <a:ext uri="{FF2B5EF4-FFF2-40B4-BE49-F238E27FC236}">
                      <a16:creationId xmlns:a16="http://schemas.microsoft.com/office/drawing/2014/main" id="{AE4281E3-F982-4853-9A4A-E3718D5CD396}"/>
                    </a:ext>
                  </a:extLst>
                </p:cNvPr>
                <p:cNvGrpSpPr>
                  <a:grpSpLocks noChangeAspect="1"/>
                </p:cNvGrpSpPr>
                <p:nvPr userDrawn="1"/>
              </p:nvGrpSpPr>
              <p:grpSpPr bwMode="auto">
                <a:xfrm>
                  <a:off x="10604642" y="969717"/>
                  <a:ext cx="1290643" cy="1427163"/>
                  <a:chOff x="4798" y="1515"/>
                  <a:chExt cx="813" cy="899"/>
                </a:xfrm>
              </p:grpSpPr>
              <p:sp>
                <p:nvSpPr>
                  <p:cNvPr id="474" name="Freeform 886">
                    <a:extLst>
                      <a:ext uri="{FF2B5EF4-FFF2-40B4-BE49-F238E27FC236}">
                        <a16:creationId xmlns:a16="http://schemas.microsoft.com/office/drawing/2014/main" id="{A297921A-5EB0-4512-8A66-6C10B4477DCE}"/>
                      </a:ext>
                    </a:extLst>
                  </p:cNvPr>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75" name="Rectangle 880">
                    <a:extLst>
                      <a:ext uri="{FF2B5EF4-FFF2-40B4-BE49-F238E27FC236}">
                        <a16:creationId xmlns:a16="http://schemas.microsoft.com/office/drawing/2014/main" id="{4F89E5F2-3030-4054-B5AF-CDD538C9B909}"/>
                      </a:ext>
                    </a:extLst>
                  </p:cNvPr>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76" name="Rectangle 881">
                    <a:extLst>
                      <a:ext uri="{FF2B5EF4-FFF2-40B4-BE49-F238E27FC236}">
                        <a16:creationId xmlns:a16="http://schemas.microsoft.com/office/drawing/2014/main" id="{FE977604-E690-4DBF-AA0A-3E5797942363}"/>
                      </a:ext>
                    </a:extLst>
                  </p:cNvPr>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77" name="Freeform 882">
                    <a:extLst>
                      <a:ext uri="{FF2B5EF4-FFF2-40B4-BE49-F238E27FC236}">
                        <a16:creationId xmlns:a16="http://schemas.microsoft.com/office/drawing/2014/main" id="{86A1D498-75A5-4516-B2BF-2E70F30416A7}"/>
                      </a:ext>
                    </a:extLst>
                  </p:cNvPr>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78" name="Freeform 883">
                    <a:extLst>
                      <a:ext uri="{FF2B5EF4-FFF2-40B4-BE49-F238E27FC236}">
                        <a16:creationId xmlns:a16="http://schemas.microsoft.com/office/drawing/2014/main" id="{7BFBAB48-2977-4A67-A1B7-817B41ACA391}"/>
                      </a:ext>
                    </a:extLst>
                  </p:cNvPr>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79" name="Freeform 884">
                    <a:extLst>
                      <a:ext uri="{FF2B5EF4-FFF2-40B4-BE49-F238E27FC236}">
                        <a16:creationId xmlns:a16="http://schemas.microsoft.com/office/drawing/2014/main" id="{32607CB2-8D71-4586-B0A1-F927E075BB35}"/>
                      </a:ext>
                    </a:extLst>
                  </p:cNvPr>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80" name="Rectangle 885">
                    <a:extLst>
                      <a:ext uri="{FF2B5EF4-FFF2-40B4-BE49-F238E27FC236}">
                        <a16:creationId xmlns:a16="http://schemas.microsoft.com/office/drawing/2014/main" id="{966A24F9-E252-477E-8D6E-346CA243ACEE}"/>
                      </a:ext>
                    </a:extLst>
                  </p:cNvPr>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81" name="Rectangle 887">
                    <a:extLst>
                      <a:ext uri="{FF2B5EF4-FFF2-40B4-BE49-F238E27FC236}">
                        <a16:creationId xmlns:a16="http://schemas.microsoft.com/office/drawing/2014/main" id="{34FD9C2D-FB7F-4421-9DBE-E41696E3E82A}"/>
                      </a:ext>
                    </a:extLst>
                  </p:cNvPr>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82" name="Freeform 888">
                    <a:extLst>
                      <a:ext uri="{FF2B5EF4-FFF2-40B4-BE49-F238E27FC236}">
                        <a16:creationId xmlns:a16="http://schemas.microsoft.com/office/drawing/2014/main" id="{09199220-CBB1-433C-94E0-B6262846072B}"/>
                      </a:ext>
                    </a:extLst>
                  </p:cNvPr>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473" name="Vrije vorm 84">
                  <a:extLst>
                    <a:ext uri="{FF2B5EF4-FFF2-40B4-BE49-F238E27FC236}">
                      <a16:creationId xmlns:a16="http://schemas.microsoft.com/office/drawing/2014/main" id="{1E8D590B-1963-4BD0-B84F-CFA7CCA2480B}"/>
                    </a:ext>
                  </a:extLst>
                </p:cNvPr>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432" name="Groep 431">
              <a:extLst>
                <a:ext uri="{FF2B5EF4-FFF2-40B4-BE49-F238E27FC236}">
                  <a16:creationId xmlns:a16="http://schemas.microsoft.com/office/drawing/2014/main" id="{40FC60DD-2D35-442F-9D91-E111394CEC1A}"/>
                </a:ext>
              </a:extLst>
            </p:cNvPr>
            <p:cNvGrpSpPr/>
            <p:nvPr userDrawn="1"/>
          </p:nvGrpSpPr>
          <p:grpSpPr>
            <a:xfrm>
              <a:off x="12548778" y="6003628"/>
              <a:ext cx="1980859" cy="542924"/>
              <a:chOff x="12390702" y="6054428"/>
              <a:chExt cx="1980859" cy="542924"/>
            </a:xfrm>
          </p:grpSpPr>
          <p:sp>
            <p:nvSpPr>
              <p:cNvPr id="436" name="Rechthoek 435">
                <a:extLst>
                  <a:ext uri="{FF2B5EF4-FFF2-40B4-BE49-F238E27FC236}">
                    <a16:creationId xmlns:a16="http://schemas.microsoft.com/office/drawing/2014/main" id="{28FD02F9-A7C9-4B45-AEE0-F2F86F5603D1}"/>
                  </a:ext>
                </a:extLst>
              </p:cNvPr>
              <p:cNvSpPr/>
              <p:nvPr/>
            </p:nvSpPr>
            <p:spPr>
              <a:xfrm>
                <a:off x="12402284" y="6054428"/>
                <a:ext cx="1969277" cy="542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437" name="Rechthoek 436">
                <a:extLst>
                  <a:ext uri="{FF2B5EF4-FFF2-40B4-BE49-F238E27FC236}">
                    <a16:creationId xmlns:a16="http://schemas.microsoft.com/office/drawing/2014/main" id="{82D67691-0EF9-428D-86A3-2A0AD9315B7A}"/>
                  </a:ext>
                </a:extLst>
              </p:cNvPr>
              <p:cNvSpPr/>
              <p:nvPr/>
            </p:nvSpPr>
            <p:spPr>
              <a:xfrm>
                <a:off x="12662053" y="6062530"/>
                <a:ext cx="1452642" cy="261610"/>
              </a:xfrm>
              <a:prstGeom prst="rect">
                <a:avLst/>
              </a:prstGeom>
            </p:spPr>
            <p:txBody>
              <a:bodyPr wrap="none">
                <a:spAutoFit/>
              </a:bodyPr>
              <a:lstStyle/>
              <a:p>
                <a:r>
                  <a:rPr lang="en-US" sz="1100" dirty="0">
                    <a:latin typeface="+mn-lt"/>
                    <a:ea typeface="Adobe Heiti Std R" panose="020B0400000000000000" pitchFamily="34" charset="-128"/>
                    <a:cs typeface="Segoe UI Light" panose="020B0502040204020203" pitchFamily="34" charset="0"/>
                  </a:rPr>
                  <a:t>Ander </a:t>
                </a:r>
                <a:r>
                  <a:rPr lang="en-US" sz="1100" dirty="0" err="1">
                    <a:latin typeface="+mn-lt"/>
                    <a:ea typeface="Adobe Heiti Std R" panose="020B0400000000000000" pitchFamily="34" charset="-128"/>
                    <a:cs typeface="Segoe UI Light" panose="020B0502040204020203" pitchFamily="34" charset="0"/>
                  </a:rPr>
                  <a:t>grafiektype</a:t>
                </a:r>
                <a:r>
                  <a:rPr lang="en-US" sz="1100" dirty="0">
                    <a:latin typeface="+mn-lt"/>
                    <a:ea typeface="Adobe Heiti Std R" panose="020B0400000000000000" pitchFamily="34" charset="-128"/>
                    <a:cs typeface="Segoe UI Light" panose="020B0502040204020203" pitchFamily="34" charset="0"/>
                  </a:rPr>
                  <a:t>…</a:t>
                </a:r>
              </a:p>
            </p:txBody>
          </p:sp>
          <p:sp>
            <p:nvSpPr>
              <p:cNvPr id="438" name="Gelijkbenige driehoek 437">
                <a:extLst>
                  <a:ext uri="{FF2B5EF4-FFF2-40B4-BE49-F238E27FC236}">
                    <a16:creationId xmlns:a16="http://schemas.microsoft.com/office/drawing/2014/main" id="{C0366247-5726-43AD-AC4F-3E3531C2B673}"/>
                  </a:ext>
                </a:extLst>
              </p:cNvPr>
              <p:cNvSpPr/>
              <p:nvPr/>
            </p:nvSpPr>
            <p:spPr>
              <a:xfrm rot="5400000">
                <a:off x="14210471" y="6150144"/>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n-lt"/>
                  <a:ea typeface="Adobe Heiti Std R" panose="020B0400000000000000" pitchFamily="34" charset="-128"/>
                  <a:cs typeface="Segoe UI Light" panose="020B0502040204020203" pitchFamily="34" charset="0"/>
                </a:endParaRPr>
              </a:p>
            </p:txBody>
          </p:sp>
          <p:sp>
            <p:nvSpPr>
              <p:cNvPr id="439" name="Afgeronde rechthoek 50">
                <a:extLst>
                  <a:ext uri="{FF2B5EF4-FFF2-40B4-BE49-F238E27FC236}">
                    <a16:creationId xmlns:a16="http://schemas.microsoft.com/office/drawing/2014/main" id="{43EDE28E-635A-4BEC-B580-C78C3610324A}"/>
                  </a:ext>
                </a:extLst>
              </p:cNvPr>
              <p:cNvSpPr/>
              <p:nvPr/>
            </p:nvSpPr>
            <p:spPr>
              <a:xfrm>
                <a:off x="12390702" y="6322741"/>
                <a:ext cx="1973675" cy="268314"/>
              </a:xfrm>
              <a:prstGeom prst="roundRect">
                <a:avLst/>
              </a:prstGeom>
              <a:gradFill>
                <a:gsLst>
                  <a:gs pos="0">
                    <a:srgbClr val="FFF2BD"/>
                  </a:gs>
                  <a:gs pos="34000">
                    <a:srgbClr val="FFE98B"/>
                  </a:gs>
                  <a:gs pos="78000">
                    <a:srgbClr val="FFF5C9"/>
                  </a:gs>
                  <a:gs pos="59000">
                    <a:srgbClr val="FFE98B"/>
                  </a:gs>
                </a:gsLst>
                <a:lin ang="5400000" scaled="0"/>
              </a:gra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1200" dirty="0" err="1">
                    <a:solidFill>
                      <a:schemeClr val="tx1"/>
                    </a:solidFill>
                    <a:latin typeface="+mn-lt"/>
                    <a:ea typeface="Adobe Heiti Std R" panose="020B0400000000000000" pitchFamily="34" charset="-128"/>
                    <a:cs typeface="Segoe UI Light" panose="020B0502040204020203" pitchFamily="34" charset="0"/>
                  </a:rPr>
                  <a:t>Gegevens</a:t>
                </a:r>
                <a:r>
                  <a:rPr lang="en-US" sz="1200" dirty="0">
                    <a:solidFill>
                      <a:schemeClr val="tx1"/>
                    </a:solidFill>
                    <a:latin typeface="+mn-lt"/>
                    <a:ea typeface="Adobe Heiti Std R" panose="020B0400000000000000" pitchFamily="34" charset="-128"/>
                    <a:cs typeface="Segoe UI Light" panose="020B0502040204020203" pitchFamily="34" charset="0"/>
                  </a:rPr>
                  <a:t> </a:t>
                </a:r>
                <a:r>
                  <a:rPr lang="en-US" sz="1200" dirty="0" err="1">
                    <a:solidFill>
                      <a:schemeClr val="tx1"/>
                    </a:solidFill>
                    <a:latin typeface="+mn-lt"/>
                    <a:ea typeface="Adobe Heiti Std R" panose="020B0400000000000000" pitchFamily="34" charset="-128"/>
                    <a:cs typeface="Segoe UI Light" panose="020B0502040204020203" pitchFamily="34" charset="0"/>
                  </a:rPr>
                  <a:t>bewerken</a:t>
                </a:r>
                <a:r>
                  <a:rPr lang="en-US" sz="1200" dirty="0">
                    <a:solidFill>
                      <a:schemeClr val="tx1"/>
                    </a:solidFill>
                    <a:latin typeface="+mn-lt"/>
                    <a:ea typeface="Adobe Heiti Std R" panose="020B0400000000000000" pitchFamily="34" charset="-128"/>
                    <a:cs typeface="Segoe UI Light" panose="020B0502040204020203" pitchFamily="34" charset="0"/>
                  </a:rPr>
                  <a:t>…</a:t>
                </a:r>
              </a:p>
            </p:txBody>
          </p:sp>
          <p:grpSp>
            <p:nvGrpSpPr>
              <p:cNvPr id="440" name="Groep 439">
                <a:extLst>
                  <a:ext uri="{FF2B5EF4-FFF2-40B4-BE49-F238E27FC236}">
                    <a16:creationId xmlns:a16="http://schemas.microsoft.com/office/drawing/2014/main" id="{3B59111B-1B4B-47BA-A835-48A038F9ADAC}"/>
                  </a:ext>
                </a:extLst>
              </p:cNvPr>
              <p:cNvGrpSpPr/>
              <p:nvPr/>
            </p:nvGrpSpPr>
            <p:grpSpPr>
              <a:xfrm>
                <a:off x="12461788" y="6100223"/>
                <a:ext cx="204691" cy="170000"/>
                <a:chOff x="15171969" y="1587338"/>
                <a:chExt cx="755407" cy="627385"/>
              </a:xfrm>
            </p:grpSpPr>
            <p:sp>
              <p:nvSpPr>
                <p:cNvPr id="457" name="Rechthoek 962">
                  <a:extLst>
                    <a:ext uri="{FF2B5EF4-FFF2-40B4-BE49-F238E27FC236}">
                      <a16:creationId xmlns:a16="http://schemas.microsoft.com/office/drawing/2014/main" id="{476E62C8-D443-42EB-B3D4-CEC66D303E96}"/>
                    </a:ext>
                  </a:extLst>
                </p:cNvPr>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458" name="Groep 457">
                  <a:extLst>
                    <a:ext uri="{FF2B5EF4-FFF2-40B4-BE49-F238E27FC236}">
                      <a16:creationId xmlns:a16="http://schemas.microsoft.com/office/drawing/2014/main" id="{F9E9C393-2AD7-480E-B5C5-5EF5B4CAB180}"/>
                    </a:ext>
                  </a:extLst>
                </p:cNvPr>
                <p:cNvGrpSpPr/>
                <p:nvPr userDrawn="1"/>
              </p:nvGrpSpPr>
              <p:grpSpPr>
                <a:xfrm>
                  <a:off x="15281106" y="1587338"/>
                  <a:ext cx="511775" cy="560304"/>
                  <a:chOff x="10604642" y="969717"/>
                  <a:chExt cx="1290643" cy="1427163"/>
                </a:xfrm>
              </p:grpSpPr>
              <p:grpSp>
                <p:nvGrpSpPr>
                  <p:cNvPr id="459" name="Group 879">
                    <a:extLst>
                      <a:ext uri="{FF2B5EF4-FFF2-40B4-BE49-F238E27FC236}">
                        <a16:creationId xmlns:a16="http://schemas.microsoft.com/office/drawing/2014/main" id="{DC412EB4-330B-4BC1-B48A-188D3A3D4B5C}"/>
                      </a:ext>
                    </a:extLst>
                  </p:cNvPr>
                  <p:cNvGrpSpPr>
                    <a:grpSpLocks noChangeAspect="1"/>
                  </p:cNvGrpSpPr>
                  <p:nvPr userDrawn="1"/>
                </p:nvGrpSpPr>
                <p:grpSpPr bwMode="auto">
                  <a:xfrm>
                    <a:off x="10604642" y="969717"/>
                    <a:ext cx="1290643" cy="1427163"/>
                    <a:chOff x="4798" y="1515"/>
                    <a:chExt cx="813" cy="899"/>
                  </a:xfrm>
                </p:grpSpPr>
                <p:sp>
                  <p:nvSpPr>
                    <p:cNvPr id="461" name="Freeform 886">
                      <a:extLst>
                        <a:ext uri="{FF2B5EF4-FFF2-40B4-BE49-F238E27FC236}">
                          <a16:creationId xmlns:a16="http://schemas.microsoft.com/office/drawing/2014/main" id="{A21BD19D-FA33-4F50-AE0B-04DA2F02EFDB}"/>
                        </a:ext>
                      </a:extLst>
                    </p:cNvPr>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62" name="Rectangle 880">
                      <a:extLst>
                        <a:ext uri="{FF2B5EF4-FFF2-40B4-BE49-F238E27FC236}">
                          <a16:creationId xmlns:a16="http://schemas.microsoft.com/office/drawing/2014/main" id="{1D40E227-6945-48D3-83CC-A8E0E4619438}"/>
                        </a:ext>
                      </a:extLst>
                    </p:cNvPr>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63" name="Rectangle 881">
                      <a:extLst>
                        <a:ext uri="{FF2B5EF4-FFF2-40B4-BE49-F238E27FC236}">
                          <a16:creationId xmlns:a16="http://schemas.microsoft.com/office/drawing/2014/main" id="{2F18DDA6-437E-4F67-A841-BDF4DB4EFE70}"/>
                        </a:ext>
                      </a:extLst>
                    </p:cNvPr>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64" name="Freeform 882">
                      <a:extLst>
                        <a:ext uri="{FF2B5EF4-FFF2-40B4-BE49-F238E27FC236}">
                          <a16:creationId xmlns:a16="http://schemas.microsoft.com/office/drawing/2014/main" id="{189D2BFC-78D0-407F-9B8D-615C4C8D7DF0}"/>
                        </a:ext>
                      </a:extLst>
                    </p:cNvPr>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65" name="Freeform 883">
                      <a:extLst>
                        <a:ext uri="{FF2B5EF4-FFF2-40B4-BE49-F238E27FC236}">
                          <a16:creationId xmlns:a16="http://schemas.microsoft.com/office/drawing/2014/main" id="{295F1617-C0F1-4B1A-9223-8349222FEA47}"/>
                        </a:ext>
                      </a:extLst>
                    </p:cNvPr>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66" name="Freeform 884">
                      <a:extLst>
                        <a:ext uri="{FF2B5EF4-FFF2-40B4-BE49-F238E27FC236}">
                          <a16:creationId xmlns:a16="http://schemas.microsoft.com/office/drawing/2014/main" id="{26347FD0-F354-4D76-B253-502AC3DB34F0}"/>
                        </a:ext>
                      </a:extLst>
                    </p:cNvPr>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67" name="Rectangle 885">
                      <a:extLst>
                        <a:ext uri="{FF2B5EF4-FFF2-40B4-BE49-F238E27FC236}">
                          <a16:creationId xmlns:a16="http://schemas.microsoft.com/office/drawing/2014/main" id="{2C8586B1-7BB6-49B2-B64A-74866E5C5B79}"/>
                        </a:ext>
                      </a:extLst>
                    </p:cNvPr>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68" name="Rectangle 887">
                      <a:extLst>
                        <a:ext uri="{FF2B5EF4-FFF2-40B4-BE49-F238E27FC236}">
                          <a16:creationId xmlns:a16="http://schemas.microsoft.com/office/drawing/2014/main" id="{B15B626E-7EF8-45A3-BE56-05E33182DBE9}"/>
                        </a:ext>
                      </a:extLst>
                    </p:cNvPr>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69" name="Freeform 888">
                      <a:extLst>
                        <a:ext uri="{FF2B5EF4-FFF2-40B4-BE49-F238E27FC236}">
                          <a16:creationId xmlns:a16="http://schemas.microsoft.com/office/drawing/2014/main" id="{B1CF487E-2B2A-4228-8A43-BD0F002DF90F}"/>
                        </a:ext>
                      </a:extLst>
                    </p:cNvPr>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460" name="Vrije vorm 71">
                    <a:extLst>
                      <a:ext uri="{FF2B5EF4-FFF2-40B4-BE49-F238E27FC236}">
                        <a16:creationId xmlns:a16="http://schemas.microsoft.com/office/drawing/2014/main" id="{B182B0C1-7E7E-4AF9-8147-0A24733C4513}"/>
                      </a:ext>
                    </a:extLst>
                  </p:cNvPr>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441" name="Groep 440">
                <a:extLst>
                  <a:ext uri="{FF2B5EF4-FFF2-40B4-BE49-F238E27FC236}">
                    <a16:creationId xmlns:a16="http://schemas.microsoft.com/office/drawing/2014/main" id="{8FE6EBE8-899F-40A5-AC58-C01C360E9613}"/>
                  </a:ext>
                </a:extLst>
              </p:cNvPr>
              <p:cNvGrpSpPr/>
              <p:nvPr/>
            </p:nvGrpSpPr>
            <p:grpSpPr>
              <a:xfrm>
                <a:off x="12468521" y="6356844"/>
                <a:ext cx="133446" cy="114786"/>
                <a:chOff x="14587469" y="6356844"/>
                <a:chExt cx="133446" cy="114786"/>
              </a:xfrm>
            </p:grpSpPr>
            <p:sp>
              <p:nvSpPr>
                <p:cNvPr id="447" name="Rectangle 6">
                  <a:extLst>
                    <a:ext uri="{FF2B5EF4-FFF2-40B4-BE49-F238E27FC236}">
                      <a16:creationId xmlns:a16="http://schemas.microsoft.com/office/drawing/2014/main" id="{CA35525C-792D-44E2-8AAB-3E8D69ADD89B}"/>
                    </a:ext>
                  </a:extLst>
                </p:cNvPr>
                <p:cNvSpPr>
                  <a:spLocks noChangeArrowheads="1"/>
                </p:cNvSpPr>
                <p:nvPr userDrawn="1"/>
              </p:nvSpPr>
              <p:spPr bwMode="auto">
                <a:xfrm>
                  <a:off x="14588703" y="6379233"/>
                  <a:ext cx="130780" cy="91699"/>
                </a:xfrm>
                <a:prstGeom prst="rect">
                  <a:avLst/>
                </a:prstGeom>
                <a:solidFill>
                  <a:srgbClr val="F2FAFF"/>
                </a:solidFill>
                <a:ln w="0">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448" name="Rectangle 15">
                  <a:extLst>
                    <a:ext uri="{FF2B5EF4-FFF2-40B4-BE49-F238E27FC236}">
                      <a16:creationId xmlns:a16="http://schemas.microsoft.com/office/drawing/2014/main" id="{A87AA3E7-E608-46E9-A2CC-D458C506A5EA}"/>
                    </a:ext>
                  </a:extLst>
                </p:cNvPr>
                <p:cNvSpPr>
                  <a:spLocks noChangeArrowheads="1"/>
                </p:cNvSpPr>
                <p:nvPr userDrawn="1"/>
              </p:nvSpPr>
              <p:spPr bwMode="auto">
                <a:xfrm>
                  <a:off x="14587469" y="6423761"/>
                  <a:ext cx="131076" cy="1446"/>
                </a:xfrm>
                <a:prstGeom prst="rect">
                  <a:avLst/>
                </a:prstGeom>
                <a:gradFill flip="none" rotWithShape="1">
                  <a:gsLst>
                    <a:gs pos="20000">
                      <a:srgbClr val="0039AC"/>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449" name="Freeform 14">
                  <a:extLst>
                    <a:ext uri="{FF2B5EF4-FFF2-40B4-BE49-F238E27FC236}">
                      <a16:creationId xmlns:a16="http://schemas.microsoft.com/office/drawing/2014/main" id="{4AC98EA0-FF08-45A0-8DB4-E3751A3457F5}"/>
                    </a:ext>
                  </a:extLst>
                </p:cNvPr>
                <p:cNvSpPr>
                  <a:spLocks noEditPoints="1"/>
                </p:cNvSpPr>
                <p:nvPr userDrawn="1"/>
              </p:nvSpPr>
              <p:spPr bwMode="auto">
                <a:xfrm>
                  <a:off x="14588901" y="6356844"/>
                  <a:ext cx="132014" cy="114786"/>
                </a:xfrm>
                <a:custGeom>
                  <a:avLst/>
                  <a:gdLst>
                    <a:gd name="T0" fmla="*/ 48 w 5347"/>
                    <a:gd name="T1" fmla="*/ 48 h 4605"/>
                    <a:gd name="T2" fmla="*/ 48 w 5347"/>
                    <a:gd name="T3" fmla="*/ 4557 h 4605"/>
                    <a:gd name="T4" fmla="*/ 5299 w 5347"/>
                    <a:gd name="T5" fmla="*/ 4557 h 4605"/>
                    <a:gd name="T6" fmla="*/ 5299 w 5347"/>
                    <a:gd name="T7" fmla="*/ 48 h 4605"/>
                    <a:gd name="T8" fmla="*/ 48 w 5347"/>
                    <a:gd name="T9" fmla="*/ 48 h 4605"/>
                    <a:gd name="T10" fmla="*/ 0 w 5347"/>
                    <a:gd name="T11" fmla="*/ 0 h 4605"/>
                    <a:gd name="T12" fmla="*/ 5347 w 5347"/>
                    <a:gd name="T13" fmla="*/ 0 h 4605"/>
                    <a:gd name="T14" fmla="*/ 5347 w 5347"/>
                    <a:gd name="T15" fmla="*/ 4605 h 4605"/>
                    <a:gd name="T16" fmla="*/ 0 w 5347"/>
                    <a:gd name="T17" fmla="*/ 4605 h 4605"/>
                    <a:gd name="T18" fmla="*/ 0 w 5347"/>
                    <a:gd name="T19" fmla="*/ 0 h 4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7" h="4605">
                      <a:moveTo>
                        <a:pt x="48" y="48"/>
                      </a:moveTo>
                      <a:lnTo>
                        <a:pt x="48" y="4557"/>
                      </a:lnTo>
                      <a:lnTo>
                        <a:pt x="5299" y="4557"/>
                      </a:lnTo>
                      <a:lnTo>
                        <a:pt x="5299" y="48"/>
                      </a:lnTo>
                      <a:lnTo>
                        <a:pt x="48" y="48"/>
                      </a:lnTo>
                      <a:close/>
                      <a:moveTo>
                        <a:pt x="0" y="0"/>
                      </a:moveTo>
                      <a:lnTo>
                        <a:pt x="5347" y="0"/>
                      </a:lnTo>
                      <a:lnTo>
                        <a:pt x="5347" y="4605"/>
                      </a:lnTo>
                      <a:lnTo>
                        <a:pt x="0" y="4605"/>
                      </a:lnTo>
                      <a:lnTo>
                        <a:pt x="0" y="0"/>
                      </a:lnTo>
                      <a:close/>
                    </a:path>
                  </a:pathLst>
                </a:custGeom>
                <a:solidFill>
                  <a:srgbClr val="2E5D8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cxnSp>
              <p:nvCxnSpPr>
                <p:cNvPr id="450" name="Rechte verbindingslijn 449">
                  <a:extLst>
                    <a:ext uri="{FF2B5EF4-FFF2-40B4-BE49-F238E27FC236}">
                      <a16:creationId xmlns:a16="http://schemas.microsoft.com/office/drawing/2014/main" id="{5E58A60A-419C-4B67-8865-9ACDDD72FC24}"/>
                    </a:ext>
                  </a:extLst>
                </p:cNvPr>
                <p:cNvCxnSpPr/>
                <p:nvPr userDrawn="1"/>
              </p:nvCxnSpPr>
              <p:spPr>
                <a:xfrm flipH="1">
                  <a:off x="14654334" y="6382168"/>
                  <a:ext cx="162"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51" name="Rechte verbindingslijn 450">
                  <a:extLst>
                    <a:ext uri="{FF2B5EF4-FFF2-40B4-BE49-F238E27FC236}">
                      <a16:creationId xmlns:a16="http://schemas.microsoft.com/office/drawing/2014/main" id="{4E4D1F5F-0A9C-4B98-A7B6-B63DE7FD7B94}"/>
                    </a:ext>
                  </a:extLst>
                </p:cNvPr>
                <p:cNvCxnSpPr/>
                <p:nvPr userDrawn="1"/>
              </p:nvCxnSpPr>
              <p:spPr>
                <a:xfrm>
                  <a:off x="14689188" y="6382168"/>
                  <a:ext cx="0"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52" name="Rechte verbindingslijn 451">
                  <a:extLst>
                    <a:ext uri="{FF2B5EF4-FFF2-40B4-BE49-F238E27FC236}">
                      <a16:creationId xmlns:a16="http://schemas.microsoft.com/office/drawing/2014/main" id="{E74096A4-388E-48E3-816D-2CE2E2FC3D2C}"/>
                    </a:ext>
                  </a:extLst>
                </p:cNvPr>
                <p:cNvCxnSpPr/>
                <p:nvPr userDrawn="1"/>
              </p:nvCxnSpPr>
              <p:spPr>
                <a:xfrm>
                  <a:off x="14619892" y="6382040"/>
                  <a:ext cx="0" cy="8577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53" name="Rechte verbindingslijn 452">
                  <a:extLst>
                    <a:ext uri="{FF2B5EF4-FFF2-40B4-BE49-F238E27FC236}">
                      <a16:creationId xmlns:a16="http://schemas.microsoft.com/office/drawing/2014/main" id="{60A14ABB-9063-4851-8432-C8E6999A6A07}"/>
                    </a:ext>
                  </a:extLst>
                </p:cNvPr>
                <p:cNvCxnSpPr/>
                <p:nvPr userDrawn="1"/>
              </p:nvCxnSpPr>
              <p:spPr>
                <a:xfrm flipH="1">
                  <a:off x="14593115" y="6400164"/>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54" name="Rechte verbindingslijn 453">
                  <a:extLst>
                    <a:ext uri="{FF2B5EF4-FFF2-40B4-BE49-F238E27FC236}">
                      <a16:creationId xmlns:a16="http://schemas.microsoft.com/office/drawing/2014/main" id="{7EF3F168-0746-492C-A1B8-CA79DEC91498}"/>
                    </a:ext>
                  </a:extLst>
                </p:cNvPr>
                <p:cNvCxnSpPr/>
                <p:nvPr userDrawn="1"/>
              </p:nvCxnSpPr>
              <p:spPr>
                <a:xfrm flipH="1">
                  <a:off x="14593115" y="6423860"/>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55" name="Rechte verbindingslijn 454">
                  <a:extLst>
                    <a:ext uri="{FF2B5EF4-FFF2-40B4-BE49-F238E27FC236}">
                      <a16:creationId xmlns:a16="http://schemas.microsoft.com/office/drawing/2014/main" id="{C536BA8F-9D9B-483A-8484-2F22DDD7F256}"/>
                    </a:ext>
                  </a:extLst>
                </p:cNvPr>
                <p:cNvCxnSpPr/>
                <p:nvPr userDrawn="1"/>
              </p:nvCxnSpPr>
              <p:spPr>
                <a:xfrm flipH="1">
                  <a:off x="14593115" y="6447556"/>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456" name="Rectangle 13">
                  <a:extLst>
                    <a:ext uri="{FF2B5EF4-FFF2-40B4-BE49-F238E27FC236}">
                      <a16:creationId xmlns:a16="http://schemas.microsoft.com/office/drawing/2014/main" id="{4B2AB153-A87F-4867-83CE-636B576544F8}"/>
                    </a:ext>
                  </a:extLst>
                </p:cNvPr>
                <p:cNvSpPr>
                  <a:spLocks noChangeArrowheads="1"/>
                </p:cNvSpPr>
                <p:nvPr userDrawn="1"/>
              </p:nvSpPr>
              <p:spPr bwMode="auto">
                <a:xfrm>
                  <a:off x="14590283" y="6359138"/>
                  <a:ext cx="128657" cy="19347"/>
                </a:xfrm>
                <a:prstGeom prst="rect">
                  <a:avLst/>
                </a:prstGeom>
                <a:gradFill flip="none" rotWithShape="1">
                  <a:gsLst>
                    <a:gs pos="0">
                      <a:srgbClr val="1929FF"/>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grpSp>
          <p:grpSp>
            <p:nvGrpSpPr>
              <p:cNvPr id="442" name="Groep 441">
                <a:extLst>
                  <a:ext uri="{FF2B5EF4-FFF2-40B4-BE49-F238E27FC236}">
                    <a16:creationId xmlns:a16="http://schemas.microsoft.com/office/drawing/2014/main" id="{C070FA77-0AD2-4264-9011-955181CCC88F}"/>
                  </a:ext>
                </a:extLst>
              </p:cNvPr>
              <p:cNvGrpSpPr/>
              <p:nvPr/>
            </p:nvGrpSpPr>
            <p:grpSpPr>
              <a:xfrm>
                <a:off x="12529899" y="6421402"/>
                <a:ext cx="97399" cy="97399"/>
                <a:chOff x="14546483" y="5323041"/>
                <a:chExt cx="242460" cy="242460"/>
              </a:xfrm>
            </p:grpSpPr>
            <p:sp>
              <p:nvSpPr>
                <p:cNvPr id="443" name="Rechthoek 442">
                  <a:extLst>
                    <a:ext uri="{FF2B5EF4-FFF2-40B4-BE49-F238E27FC236}">
                      <a16:creationId xmlns:a16="http://schemas.microsoft.com/office/drawing/2014/main" id="{7D7A31CF-04B3-45BB-90A7-CF101C4ED5AB}"/>
                    </a:ext>
                  </a:extLst>
                </p:cNvPr>
                <p:cNvSpPr/>
                <p:nvPr userDrawn="1"/>
              </p:nvSpPr>
              <p:spPr>
                <a:xfrm>
                  <a:off x="14546483" y="5323041"/>
                  <a:ext cx="242460" cy="242460"/>
                </a:xfrm>
                <a:prstGeom prst="rect">
                  <a:avLst/>
                </a:prstGeom>
                <a:solidFill>
                  <a:schemeClr val="bg1"/>
                </a:solidFill>
                <a:ln w="6350">
                  <a:solidFill>
                    <a:srgbClr val="00A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nvGrpSpPr>
                <p:cNvPr id="444" name="Groep 443">
                  <a:extLst>
                    <a:ext uri="{FF2B5EF4-FFF2-40B4-BE49-F238E27FC236}">
                      <a16:creationId xmlns:a16="http://schemas.microsoft.com/office/drawing/2014/main" id="{3FC23015-09CB-4B29-8FF8-DE1FA7A34CDE}"/>
                    </a:ext>
                  </a:extLst>
                </p:cNvPr>
                <p:cNvGrpSpPr/>
                <p:nvPr/>
              </p:nvGrpSpPr>
              <p:grpSpPr>
                <a:xfrm>
                  <a:off x="14568035" y="5357818"/>
                  <a:ext cx="199836" cy="175226"/>
                  <a:chOff x="14559757" y="5349611"/>
                  <a:chExt cx="216392" cy="191641"/>
                </a:xfrm>
              </p:grpSpPr>
              <p:sp>
                <p:nvSpPr>
                  <p:cNvPr id="445" name="Parallellogram 444">
                    <a:extLst>
                      <a:ext uri="{FF2B5EF4-FFF2-40B4-BE49-F238E27FC236}">
                        <a16:creationId xmlns:a16="http://schemas.microsoft.com/office/drawing/2014/main" id="{2302BFD1-9C87-4B0D-9052-16E83FCDA65D}"/>
                      </a:ext>
                    </a:extLst>
                  </p:cNvPr>
                  <p:cNvSpPr/>
                  <p:nvPr/>
                </p:nvSpPr>
                <p:spPr>
                  <a:xfrm>
                    <a:off x="14559757" y="5369222"/>
                    <a:ext cx="214316" cy="147762"/>
                  </a:xfrm>
                  <a:prstGeom prst="parallelogram">
                    <a:avLst>
                      <a:gd name="adj" fmla="val 93909"/>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446" name="Parallellogram 445">
                    <a:extLst>
                      <a:ext uri="{FF2B5EF4-FFF2-40B4-BE49-F238E27FC236}">
                        <a16:creationId xmlns:a16="http://schemas.microsoft.com/office/drawing/2014/main" id="{2F0E5B0B-3D61-4B93-BBAD-CF197D10FEF8}"/>
                      </a:ext>
                    </a:extLst>
                  </p:cNvPr>
                  <p:cNvSpPr/>
                  <p:nvPr/>
                </p:nvSpPr>
                <p:spPr>
                  <a:xfrm flipH="1">
                    <a:off x="14561833" y="5349611"/>
                    <a:ext cx="214316" cy="191641"/>
                  </a:xfrm>
                  <a:prstGeom prst="parallelogram">
                    <a:avLst>
                      <a:gd name="adj" fmla="val 68946"/>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grpSp>
        </p:grpSp>
        <p:sp>
          <p:nvSpPr>
            <p:cNvPr id="433" name="Tekstvak 33">
              <a:extLst>
                <a:ext uri="{FF2B5EF4-FFF2-40B4-BE49-F238E27FC236}">
                  <a16:creationId xmlns:a16="http://schemas.microsoft.com/office/drawing/2014/main" id="{0A6BB392-9AA0-40BC-955B-A2B276B1AF08}"/>
                </a:ext>
              </a:extLst>
            </p:cNvPr>
            <p:cNvSpPr txBox="1"/>
            <p:nvPr userDrawn="1"/>
          </p:nvSpPr>
          <p:spPr>
            <a:xfrm>
              <a:off x="12537681" y="5123358"/>
              <a:ext cx="2588841" cy="646331"/>
            </a:xfrm>
            <a:prstGeom prst="rect">
              <a:avLst/>
            </a:prstGeom>
            <a:noFill/>
          </p:spPr>
          <p:txBody>
            <a:bodyPr wrap="square" lIns="0" tIns="0" rIns="0" bIns="0" rtlCol="0" anchor="t">
              <a:spAutoFit/>
            </a:bodyPr>
            <a:lstStyle>
              <a:defPPr>
                <a:defRPr lang="nl-NL"/>
              </a:defPPr>
              <a:lvl1pPr marR="0" lvl="0" indent="0" defTabSz="914400" fontAlgn="auto">
                <a:lnSpc>
                  <a:spcPct val="100000"/>
                </a:lnSpc>
                <a:spcBef>
                  <a:spcPts val="0"/>
                </a:spcBef>
                <a:spcAft>
                  <a:spcPts val="0"/>
                </a:spcAft>
                <a:buClrTx/>
                <a:buSzTx/>
                <a:buFontTx/>
                <a:buNone/>
                <a:tabLst/>
                <a:defRPr kumimoji="0" sz="1400" b="0" i="0" u="none" strike="noStrike" kern="0" cap="none" spc="0" normalizeH="0" baseline="0">
                  <a:ln>
                    <a:noFill/>
                  </a:ln>
                  <a:effectLst/>
                  <a:uLnTx/>
                  <a:uFillTx/>
                  <a:latin typeface="Calibri"/>
                  <a:ea typeface="Tahoma" pitchFamily="34" charset="0"/>
                  <a:cs typeface="Arial" pitchFamily="34" charset="0"/>
                </a:defRPr>
              </a:lvl1pPr>
            </a:lstStyle>
            <a:p>
              <a:pPr lvl="0"/>
              <a:r>
                <a:rPr lang="nl-NL" dirty="0">
                  <a:solidFill>
                    <a:schemeClr val="tx2"/>
                  </a:solidFill>
                  <a:latin typeface="+mn-lt"/>
                </a:rPr>
                <a:t>Selecteer de grafiek, klik op de rechter muisknop en kies </a:t>
              </a:r>
              <a:r>
                <a:rPr lang="nl-NL" b="0" dirty="0">
                  <a:solidFill>
                    <a:schemeClr val="tx2"/>
                  </a:solidFill>
                  <a:latin typeface="+mj-lt"/>
                </a:rPr>
                <a:t>‘Gegevens bewerken’</a:t>
              </a:r>
            </a:p>
          </p:txBody>
        </p:sp>
        <p:sp>
          <p:nvSpPr>
            <p:cNvPr id="434" name="Rechthoek 433">
              <a:extLst>
                <a:ext uri="{FF2B5EF4-FFF2-40B4-BE49-F238E27FC236}">
                  <a16:creationId xmlns:a16="http://schemas.microsoft.com/office/drawing/2014/main" id="{6AA6B813-7FF3-411F-9CC6-9DB4C8CF43F8}"/>
                </a:ext>
              </a:extLst>
            </p:cNvPr>
            <p:cNvSpPr/>
            <p:nvPr userDrawn="1"/>
          </p:nvSpPr>
          <p:spPr>
            <a:xfrm>
              <a:off x="12363871" y="4529047"/>
              <a:ext cx="2584447" cy="3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lvl="0"/>
              <a:r>
                <a:rPr lang="nl-NL" sz="1600" b="0" dirty="0">
                  <a:solidFill>
                    <a:schemeClr val="tx2"/>
                  </a:solidFill>
                  <a:latin typeface="+mj-lt"/>
                </a:rPr>
                <a:t>GRAFIEK BEWERKEN</a:t>
              </a:r>
            </a:p>
          </p:txBody>
        </p:sp>
        <p:pic>
          <p:nvPicPr>
            <p:cNvPr id="435" name="Picture 3">
              <a:extLst>
                <a:ext uri="{FF2B5EF4-FFF2-40B4-BE49-F238E27FC236}">
                  <a16:creationId xmlns:a16="http://schemas.microsoft.com/office/drawing/2014/main" id="{2CD52BB4-4B60-4EF5-B494-367A88DD5D29}"/>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4262557" y="6394752"/>
              <a:ext cx="158644" cy="256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160723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kst Links + Object (L)">
    <p:spTree>
      <p:nvGrpSpPr>
        <p:cNvPr id="1" name=""/>
        <p:cNvGrpSpPr/>
        <p:nvPr/>
      </p:nvGrpSpPr>
      <p:grpSpPr>
        <a:xfrm>
          <a:off x="0" y="0"/>
          <a:ext cx="0" cy="0"/>
          <a:chOff x="0" y="0"/>
          <a:chExt cx="0" cy="0"/>
        </a:xfrm>
      </p:grpSpPr>
      <p:sp>
        <p:nvSpPr>
          <p:cNvPr id="148" name="Rechthoek 147"/>
          <p:cNvSpPr/>
          <p:nvPr userDrawn="1"/>
        </p:nvSpPr>
        <p:spPr>
          <a:xfrm>
            <a:off x="4649638" y="1420100"/>
            <a:ext cx="7545537" cy="455927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tel 1"/>
          <p:cNvSpPr>
            <a:spLocks noGrp="1"/>
          </p:cNvSpPr>
          <p:nvPr>
            <p:ph type="title"/>
          </p:nvPr>
        </p:nvSpPr>
        <p:spPr/>
        <p:txBody>
          <a:bodyPr/>
          <a:lstStyle/>
          <a:p>
            <a:r>
              <a:rPr lang="nl-NL"/>
              <a:t>Klik om stijl te bewerken</a:t>
            </a:r>
            <a:endParaRPr lang="en-GB"/>
          </a:p>
        </p:txBody>
      </p:sp>
      <p:sp>
        <p:nvSpPr>
          <p:cNvPr id="3" name="Tijdelijke aanduiding voor verticale tekst 2"/>
          <p:cNvSpPr>
            <a:spLocks noGrp="1"/>
          </p:cNvSpPr>
          <p:nvPr>
            <p:ph type="body" orient="vert" idx="1"/>
          </p:nvPr>
        </p:nvSpPr>
        <p:spPr>
          <a:xfrm>
            <a:off x="472587" y="1420100"/>
            <a:ext cx="4167585" cy="4554245"/>
          </a:xfrm>
        </p:spPr>
        <p:txBody>
          <a:bodyPr vert="horz"/>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10"/>
          </p:nvPr>
        </p:nvSpPr>
        <p:spPr/>
        <p:txBody>
          <a:bodyPr/>
          <a:lstStyle/>
          <a:p>
            <a:fld id="{7859ECEE-86A3-4C2C-BEB5-B8CB0D34D634}"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9" name="Tijdelijke aanduiding voor inhoud 2"/>
          <p:cNvSpPr>
            <a:spLocks noGrp="1"/>
          </p:cNvSpPr>
          <p:nvPr>
            <p:ph idx="14"/>
          </p:nvPr>
        </p:nvSpPr>
        <p:spPr>
          <a:xfrm>
            <a:off x="5033838" y="1641026"/>
            <a:ext cx="6767671" cy="3599714"/>
          </a:xfrm>
          <a:noFill/>
        </p:spPr>
        <p:txBody>
          <a:bodyPr anchor="ctr"/>
          <a:lstStyle>
            <a:lvl1pPr algn="ctr">
              <a:defRPr sz="1200"/>
            </a:lvl1pPr>
          </a:lstStyle>
          <a:p>
            <a:pPr lvl="0"/>
            <a:r>
              <a:rPr lang="nl-NL"/>
              <a:t>Klikken om de tekststijl van het model te bewerken</a:t>
            </a:r>
          </a:p>
        </p:txBody>
      </p:sp>
      <p:sp>
        <p:nvSpPr>
          <p:cNvPr id="11" name="Tekstvak 10"/>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Tekst Links + Object (L) + onderschrift</a:t>
            </a:r>
          </a:p>
        </p:txBody>
      </p:sp>
      <p:sp>
        <p:nvSpPr>
          <p:cNvPr id="12" name="Tijdelijke aanduiding voor verticale tekst 2"/>
          <p:cNvSpPr>
            <a:spLocks noGrp="1"/>
          </p:cNvSpPr>
          <p:nvPr>
            <p:ph type="body" orient="vert" idx="15" hasCustomPrompt="1"/>
          </p:nvPr>
        </p:nvSpPr>
        <p:spPr>
          <a:xfrm>
            <a:off x="4649638" y="5470354"/>
            <a:ext cx="7545537" cy="504000"/>
          </a:xfrm>
          <a:solidFill>
            <a:schemeClr val="accent2"/>
          </a:solidFill>
        </p:spPr>
        <p:txBody>
          <a:bodyPr vert="horz" lIns="360000" tIns="36000" rIns="216000" bIns="0" anchor="ctr"/>
          <a:lstStyle>
            <a:lvl1pPr algn="l">
              <a:defRPr sz="1800" b="0">
                <a:solidFill>
                  <a:schemeClr val="tx2"/>
                </a:solidFill>
              </a:defRPr>
            </a:lvl1pPr>
          </a:lstStyle>
          <a:p>
            <a:pPr lvl="0"/>
            <a:r>
              <a:rPr lang="nl-NL" dirty="0"/>
              <a:t>Onderschrift</a:t>
            </a:r>
          </a:p>
        </p:txBody>
      </p:sp>
      <p:grpSp>
        <p:nvGrpSpPr>
          <p:cNvPr id="218" name="Groep 217">
            <a:extLst>
              <a:ext uri="{FF2B5EF4-FFF2-40B4-BE49-F238E27FC236}">
                <a16:creationId xmlns:a16="http://schemas.microsoft.com/office/drawing/2014/main" id="{97E11D0D-E9C7-4C4C-A55F-14C18DD7F96D}"/>
              </a:ext>
            </a:extLst>
          </p:cNvPr>
          <p:cNvGrpSpPr/>
          <p:nvPr userDrawn="1"/>
        </p:nvGrpSpPr>
        <p:grpSpPr>
          <a:xfrm>
            <a:off x="12363871" y="-26002"/>
            <a:ext cx="3064812" cy="6864697"/>
            <a:chOff x="12363871" y="-26002"/>
            <a:chExt cx="3064812" cy="6864697"/>
          </a:xfrm>
        </p:grpSpPr>
        <p:sp>
          <p:nvSpPr>
            <p:cNvPr id="219" name="Tekstvak 33">
              <a:extLst>
                <a:ext uri="{FF2B5EF4-FFF2-40B4-BE49-F238E27FC236}">
                  <a16:creationId xmlns:a16="http://schemas.microsoft.com/office/drawing/2014/main" id="{263E9076-506C-454D-99F3-914C80C79958}"/>
                </a:ext>
              </a:extLst>
            </p:cNvPr>
            <p:cNvSpPr txBox="1"/>
            <p:nvPr userDrawn="1"/>
          </p:nvSpPr>
          <p:spPr>
            <a:xfrm>
              <a:off x="12537681" y="1001584"/>
              <a:ext cx="2285302" cy="430887"/>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 om een grafiek in te voegen</a:t>
              </a:r>
            </a:p>
          </p:txBody>
        </p:sp>
        <p:sp>
          <p:nvSpPr>
            <p:cNvPr id="220" name="Tekstvak 33">
              <a:extLst>
                <a:ext uri="{FF2B5EF4-FFF2-40B4-BE49-F238E27FC236}">
                  <a16:creationId xmlns:a16="http://schemas.microsoft.com/office/drawing/2014/main" id="{419A7BE6-C752-4BDE-8B4C-977A5EFB89F3}"/>
                </a:ext>
              </a:extLst>
            </p:cNvPr>
            <p:cNvSpPr txBox="1"/>
            <p:nvPr userDrawn="1"/>
          </p:nvSpPr>
          <p:spPr>
            <a:xfrm>
              <a:off x="12537681"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Selecteer de grafiek die u wilt invoegen en klik op </a:t>
              </a:r>
              <a:r>
                <a:rPr kumimoji="0" lang="nl-NL" sz="1400" b="1"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p>
          </p:txBody>
        </p:sp>
        <p:sp>
          <p:nvSpPr>
            <p:cNvPr id="221" name="Ovaal 220">
              <a:extLst>
                <a:ext uri="{FF2B5EF4-FFF2-40B4-BE49-F238E27FC236}">
                  <a16:creationId xmlns:a16="http://schemas.microsoft.com/office/drawing/2014/main" id="{84E38988-CDBD-484E-A3E5-868937936C37}"/>
                </a:ext>
              </a:extLst>
            </p:cNvPr>
            <p:cNvSpPr/>
            <p:nvPr userDrawn="1"/>
          </p:nvSpPr>
          <p:spPr>
            <a:xfrm>
              <a:off x="12494665"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222" name="Ovaal 221">
              <a:extLst>
                <a:ext uri="{FF2B5EF4-FFF2-40B4-BE49-F238E27FC236}">
                  <a16:creationId xmlns:a16="http://schemas.microsoft.com/office/drawing/2014/main" id="{3387A49E-11FE-4155-BB41-01786191D779}"/>
                </a:ext>
              </a:extLst>
            </p:cNvPr>
            <p:cNvSpPr/>
            <p:nvPr userDrawn="1"/>
          </p:nvSpPr>
          <p:spPr>
            <a:xfrm>
              <a:off x="12494665"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223" name="Picture 3">
              <a:extLst>
                <a:ext uri="{FF2B5EF4-FFF2-40B4-BE49-F238E27FC236}">
                  <a16:creationId xmlns:a16="http://schemas.microsoft.com/office/drawing/2014/main" id="{20AF010D-7203-4F58-A27C-4B939C7A5670}"/>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2535130"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24" name="Picture 3">
              <a:extLst>
                <a:ext uri="{FF2B5EF4-FFF2-40B4-BE49-F238E27FC236}">
                  <a16:creationId xmlns:a16="http://schemas.microsoft.com/office/drawing/2014/main" id="{CE8CCD2C-72B4-4AFF-8B47-06BFE3B77027}"/>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2604588"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25" name="Tekstvak 224">
              <a:extLst>
                <a:ext uri="{FF2B5EF4-FFF2-40B4-BE49-F238E27FC236}">
                  <a16:creationId xmlns:a16="http://schemas.microsoft.com/office/drawing/2014/main" id="{889DED71-F021-4AD8-AB51-ACC1EB48130A}"/>
                </a:ext>
              </a:extLst>
            </p:cNvPr>
            <p:cNvSpPr txBox="1"/>
            <p:nvPr userDrawn="1"/>
          </p:nvSpPr>
          <p:spPr>
            <a:xfrm>
              <a:off x="12560359" y="4020160"/>
              <a:ext cx="88636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outerShdw blurRad="25400" algn="ctr" rotWithShape="0">
                      <a:prstClr val="white"/>
                    </a:outerShdw>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outerShdw blurRad="25400" algn="ctr" rotWithShape="0">
                    <a:prstClr val="white"/>
                  </a:outerShdw>
                </a:effectLst>
                <a:uLnTx/>
                <a:uFillTx/>
                <a:latin typeface="+mj-lt"/>
              </a:endParaRPr>
            </a:p>
          </p:txBody>
        </p:sp>
        <p:sp>
          <p:nvSpPr>
            <p:cNvPr id="226" name="Rechthoek 225">
              <a:extLst>
                <a:ext uri="{FF2B5EF4-FFF2-40B4-BE49-F238E27FC236}">
                  <a16:creationId xmlns:a16="http://schemas.microsoft.com/office/drawing/2014/main" id="{83852F0A-F212-43F4-B3C3-65142055233F}"/>
                </a:ext>
              </a:extLst>
            </p:cNvPr>
            <p:cNvSpPr/>
            <p:nvPr userDrawn="1"/>
          </p:nvSpPr>
          <p:spPr>
            <a:xfrm>
              <a:off x="12363871"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GRAFIEK INVOEGEN</a:t>
              </a:r>
            </a:p>
          </p:txBody>
        </p:sp>
        <p:cxnSp>
          <p:nvCxnSpPr>
            <p:cNvPr id="227" name="Rechte verbindingslijn 226">
              <a:extLst>
                <a:ext uri="{FF2B5EF4-FFF2-40B4-BE49-F238E27FC236}">
                  <a16:creationId xmlns:a16="http://schemas.microsoft.com/office/drawing/2014/main" id="{2472FE77-9539-418F-9023-69F00F891F01}"/>
                </a:ext>
              </a:extLst>
            </p:cNvPr>
            <p:cNvCxnSpPr/>
            <p:nvPr userDrawn="1"/>
          </p:nvCxnSpPr>
          <p:spPr>
            <a:xfrm>
              <a:off x="12507575" y="33168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8" name="Rechte verbindingslijn 227">
              <a:extLst>
                <a:ext uri="{FF2B5EF4-FFF2-40B4-BE49-F238E27FC236}">
                  <a16:creationId xmlns:a16="http://schemas.microsoft.com/office/drawing/2014/main" id="{57DBE7ED-A8BA-4131-922B-080B6D33CF64}"/>
                </a:ext>
              </a:extLst>
            </p:cNvPr>
            <p:cNvCxnSpPr/>
            <p:nvPr userDrawn="1"/>
          </p:nvCxnSpPr>
          <p:spPr>
            <a:xfrm>
              <a:off x="12507211" y="253760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9" name="Rechte verbindingslijn 228">
              <a:extLst>
                <a:ext uri="{FF2B5EF4-FFF2-40B4-BE49-F238E27FC236}">
                  <a16:creationId xmlns:a16="http://schemas.microsoft.com/office/drawing/2014/main" id="{6B1F9243-A268-4366-9E86-C03F45427DD0}"/>
                </a:ext>
              </a:extLst>
            </p:cNvPr>
            <p:cNvCxnSpPr/>
            <p:nvPr userDrawn="1"/>
          </p:nvCxnSpPr>
          <p:spPr>
            <a:xfrm>
              <a:off x="12507575" y="4423040"/>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0" name="Rechte verbindingslijn 229">
              <a:extLst>
                <a:ext uri="{FF2B5EF4-FFF2-40B4-BE49-F238E27FC236}">
                  <a16:creationId xmlns:a16="http://schemas.microsoft.com/office/drawing/2014/main" id="{65ABF3C5-EF10-48CA-83F4-C72FAA5E0072}"/>
                </a:ext>
              </a:extLst>
            </p:cNvPr>
            <p:cNvCxnSpPr/>
            <p:nvPr userDrawn="1"/>
          </p:nvCxnSpPr>
          <p:spPr>
            <a:xfrm>
              <a:off x="12507575" y="6838695"/>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1" name="Rechte verbindingslijn 230">
              <a:extLst>
                <a:ext uri="{FF2B5EF4-FFF2-40B4-BE49-F238E27FC236}">
                  <a16:creationId xmlns:a16="http://schemas.microsoft.com/office/drawing/2014/main" id="{650E6688-92BA-4917-8F35-3DFEAB2FCFBA}"/>
                </a:ext>
              </a:extLst>
            </p:cNvPr>
            <p:cNvCxnSpPr/>
            <p:nvPr userDrawn="1"/>
          </p:nvCxnSpPr>
          <p:spPr>
            <a:xfrm>
              <a:off x="12507211" y="4898666"/>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32" name="Groep 231">
              <a:extLst>
                <a:ext uri="{FF2B5EF4-FFF2-40B4-BE49-F238E27FC236}">
                  <a16:creationId xmlns:a16="http://schemas.microsoft.com/office/drawing/2014/main" id="{724B2CDC-11C7-4A13-A968-711AA024049C}"/>
                </a:ext>
              </a:extLst>
            </p:cNvPr>
            <p:cNvGrpSpPr/>
            <p:nvPr userDrawn="1"/>
          </p:nvGrpSpPr>
          <p:grpSpPr>
            <a:xfrm>
              <a:off x="12436353" y="1728359"/>
              <a:ext cx="689983" cy="573048"/>
              <a:chOff x="15171969" y="1587338"/>
              <a:chExt cx="755407" cy="627385"/>
            </a:xfrm>
          </p:grpSpPr>
          <p:sp>
            <p:nvSpPr>
              <p:cNvPr id="271" name="Rechthoek 962">
                <a:extLst>
                  <a:ext uri="{FF2B5EF4-FFF2-40B4-BE49-F238E27FC236}">
                    <a16:creationId xmlns:a16="http://schemas.microsoft.com/office/drawing/2014/main" id="{71EA64D4-A1BB-4005-9321-5023851C69D5}"/>
                  </a:ext>
                </a:extLst>
              </p:cNvPr>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272" name="Groep 271">
                <a:extLst>
                  <a:ext uri="{FF2B5EF4-FFF2-40B4-BE49-F238E27FC236}">
                    <a16:creationId xmlns:a16="http://schemas.microsoft.com/office/drawing/2014/main" id="{00DAF6DE-E862-4E42-9D5B-87DA9C732FE5}"/>
                  </a:ext>
                </a:extLst>
              </p:cNvPr>
              <p:cNvGrpSpPr/>
              <p:nvPr userDrawn="1"/>
            </p:nvGrpSpPr>
            <p:grpSpPr>
              <a:xfrm>
                <a:off x="15281106" y="1587338"/>
                <a:ext cx="511775" cy="560304"/>
                <a:chOff x="10604642" y="969717"/>
                <a:chExt cx="1290643" cy="1427163"/>
              </a:xfrm>
            </p:grpSpPr>
            <p:grpSp>
              <p:nvGrpSpPr>
                <p:cNvPr id="273" name="Group 879">
                  <a:extLst>
                    <a:ext uri="{FF2B5EF4-FFF2-40B4-BE49-F238E27FC236}">
                      <a16:creationId xmlns:a16="http://schemas.microsoft.com/office/drawing/2014/main" id="{F358F29C-0964-4F04-B3D1-06D5222C988F}"/>
                    </a:ext>
                  </a:extLst>
                </p:cNvPr>
                <p:cNvGrpSpPr>
                  <a:grpSpLocks noChangeAspect="1"/>
                </p:cNvGrpSpPr>
                <p:nvPr userDrawn="1"/>
              </p:nvGrpSpPr>
              <p:grpSpPr bwMode="auto">
                <a:xfrm>
                  <a:off x="10604642" y="969717"/>
                  <a:ext cx="1290643" cy="1427163"/>
                  <a:chOff x="4798" y="1515"/>
                  <a:chExt cx="813" cy="899"/>
                </a:xfrm>
              </p:grpSpPr>
              <p:sp>
                <p:nvSpPr>
                  <p:cNvPr id="275" name="Freeform 886">
                    <a:extLst>
                      <a:ext uri="{FF2B5EF4-FFF2-40B4-BE49-F238E27FC236}">
                        <a16:creationId xmlns:a16="http://schemas.microsoft.com/office/drawing/2014/main" id="{FAC62089-66F0-49E6-BCB2-957389B0F375}"/>
                      </a:ext>
                    </a:extLst>
                  </p:cNvPr>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76" name="Rectangle 880">
                    <a:extLst>
                      <a:ext uri="{FF2B5EF4-FFF2-40B4-BE49-F238E27FC236}">
                        <a16:creationId xmlns:a16="http://schemas.microsoft.com/office/drawing/2014/main" id="{B1302115-9794-4AC7-AC7C-B853E0051407}"/>
                      </a:ext>
                    </a:extLst>
                  </p:cNvPr>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77" name="Rectangle 881">
                    <a:extLst>
                      <a:ext uri="{FF2B5EF4-FFF2-40B4-BE49-F238E27FC236}">
                        <a16:creationId xmlns:a16="http://schemas.microsoft.com/office/drawing/2014/main" id="{E83CA69A-C1DA-4F29-B7E9-4D130907C279}"/>
                      </a:ext>
                    </a:extLst>
                  </p:cNvPr>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78" name="Freeform 882">
                    <a:extLst>
                      <a:ext uri="{FF2B5EF4-FFF2-40B4-BE49-F238E27FC236}">
                        <a16:creationId xmlns:a16="http://schemas.microsoft.com/office/drawing/2014/main" id="{733D4769-422D-45E4-966A-209E93EA7130}"/>
                      </a:ext>
                    </a:extLst>
                  </p:cNvPr>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79" name="Freeform 883">
                    <a:extLst>
                      <a:ext uri="{FF2B5EF4-FFF2-40B4-BE49-F238E27FC236}">
                        <a16:creationId xmlns:a16="http://schemas.microsoft.com/office/drawing/2014/main" id="{D385F4EE-24AE-4131-813B-D34DDA3E7EE9}"/>
                      </a:ext>
                    </a:extLst>
                  </p:cNvPr>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80" name="Freeform 884">
                    <a:extLst>
                      <a:ext uri="{FF2B5EF4-FFF2-40B4-BE49-F238E27FC236}">
                        <a16:creationId xmlns:a16="http://schemas.microsoft.com/office/drawing/2014/main" id="{0F73E760-C386-49B4-A2FF-E60EE35AE69B}"/>
                      </a:ext>
                    </a:extLst>
                  </p:cNvPr>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81" name="Rectangle 885">
                    <a:extLst>
                      <a:ext uri="{FF2B5EF4-FFF2-40B4-BE49-F238E27FC236}">
                        <a16:creationId xmlns:a16="http://schemas.microsoft.com/office/drawing/2014/main" id="{DAA22AB1-F907-4850-A3CE-69B02454E1F2}"/>
                      </a:ext>
                    </a:extLst>
                  </p:cNvPr>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82" name="Rectangle 887">
                    <a:extLst>
                      <a:ext uri="{FF2B5EF4-FFF2-40B4-BE49-F238E27FC236}">
                        <a16:creationId xmlns:a16="http://schemas.microsoft.com/office/drawing/2014/main" id="{AB9C0B4E-4F1A-4E88-9519-9CDD874B7A2B}"/>
                      </a:ext>
                    </a:extLst>
                  </p:cNvPr>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83" name="Freeform 888">
                    <a:extLst>
                      <a:ext uri="{FF2B5EF4-FFF2-40B4-BE49-F238E27FC236}">
                        <a16:creationId xmlns:a16="http://schemas.microsoft.com/office/drawing/2014/main" id="{61C66A99-922C-4621-A101-F9E5E4D53F8A}"/>
                      </a:ext>
                    </a:extLst>
                  </p:cNvPr>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274" name="Vrije vorm 84">
                  <a:extLst>
                    <a:ext uri="{FF2B5EF4-FFF2-40B4-BE49-F238E27FC236}">
                      <a16:creationId xmlns:a16="http://schemas.microsoft.com/office/drawing/2014/main" id="{67521E0C-D5AA-468D-B1C8-F75D0FEC2481}"/>
                    </a:ext>
                  </a:extLst>
                </p:cNvPr>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233" name="Groep 232">
              <a:extLst>
                <a:ext uri="{FF2B5EF4-FFF2-40B4-BE49-F238E27FC236}">
                  <a16:creationId xmlns:a16="http://schemas.microsoft.com/office/drawing/2014/main" id="{6819DB28-9774-4975-910B-872E40FD2DBE}"/>
                </a:ext>
              </a:extLst>
            </p:cNvPr>
            <p:cNvGrpSpPr/>
            <p:nvPr userDrawn="1"/>
          </p:nvGrpSpPr>
          <p:grpSpPr>
            <a:xfrm>
              <a:off x="12548778" y="6003628"/>
              <a:ext cx="1980859" cy="542924"/>
              <a:chOff x="12390702" y="6054428"/>
              <a:chExt cx="1980859" cy="542924"/>
            </a:xfrm>
          </p:grpSpPr>
          <p:sp>
            <p:nvSpPr>
              <p:cNvPr id="237" name="Rechthoek 236">
                <a:extLst>
                  <a:ext uri="{FF2B5EF4-FFF2-40B4-BE49-F238E27FC236}">
                    <a16:creationId xmlns:a16="http://schemas.microsoft.com/office/drawing/2014/main" id="{849F766B-D5ED-4A77-8966-464BF55A55ED}"/>
                  </a:ext>
                </a:extLst>
              </p:cNvPr>
              <p:cNvSpPr/>
              <p:nvPr/>
            </p:nvSpPr>
            <p:spPr>
              <a:xfrm>
                <a:off x="12402284" y="6054428"/>
                <a:ext cx="1969277" cy="542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238" name="Rechthoek 237">
                <a:extLst>
                  <a:ext uri="{FF2B5EF4-FFF2-40B4-BE49-F238E27FC236}">
                    <a16:creationId xmlns:a16="http://schemas.microsoft.com/office/drawing/2014/main" id="{357C5496-0114-43F1-A22C-5C44ABB6C069}"/>
                  </a:ext>
                </a:extLst>
              </p:cNvPr>
              <p:cNvSpPr/>
              <p:nvPr/>
            </p:nvSpPr>
            <p:spPr>
              <a:xfrm>
                <a:off x="12662053" y="6062530"/>
                <a:ext cx="1452642" cy="261610"/>
              </a:xfrm>
              <a:prstGeom prst="rect">
                <a:avLst/>
              </a:prstGeom>
            </p:spPr>
            <p:txBody>
              <a:bodyPr wrap="none">
                <a:spAutoFit/>
              </a:bodyPr>
              <a:lstStyle/>
              <a:p>
                <a:r>
                  <a:rPr lang="en-US" sz="1100" dirty="0">
                    <a:latin typeface="+mn-lt"/>
                    <a:ea typeface="Adobe Heiti Std R" panose="020B0400000000000000" pitchFamily="34" charset="-128"/>
                    <a:cs typeface="Segoe UI Light" panose="020B0502040204020203" pitchFamily="34" charset="0"/>
                  </a:rPr>
                  <a:t>Ander </a:t>
                </a:r>
                <a:r>
                  <a:rPr lang="en-US" sz="1100" dirty="0" err="1">
                    <a:latin typeface="+mn-lt"/>
                    <a:ea typeface="Adobe Heiti Std R" panose="020B0400000000000000" pitchFamily="34" charset="-128"/>
                    <a:cs typeface="Segoe UI Light" panose="020B0502040204020203" pitchFamily="34" charset="0"/>
                  </a:rPr>
                  <a:t>grafiektype</a:t>
                </a:r>
                <a:r>
                  <a:rPr lang="en-US" sz="1100" dirty="0">
                    <a:latin typeface="+mn-lt"/>
                    <a:ea typeface="Adobe Heiti Std R" panose="020B0400000000000000" pitchFamily="34" charset="-128"/>
                    <a:cs typeface="Segoe UI Light" panose="020B0502040204020203" pitchFamily="34" charset="0"/>
                  </a:rPr>
                  <a:t>…</a:t>
                </a:r>
              </a:p>
            </p:txBody>
          </p:sp>
          <p:sp>
            <p:nvSpPr>
              <p:cNvPr id="239" name="Gelijkbenige driehoek 238">
                <a:extLst>
                  <a:ext uri="{FF2B5EF4-FFF2-40B4-BE49-F238E27FC236}">
                    <a16:creationId xmlns:a16="http://schemas.microsoft.com/office/drawing/2014/main" id="{6A805A7B-0E69-46AA-86ED-D46A7CDD3AB4}"/>
                  </a:ext>
                </a:extLst>
              </p:cNvPr>
              <p:cNvSpPr/>
              <p:nvPr/>
            </p:nvSpPr>
            <p:spPr>
              <a:xfrm rot="5400000">
                <a:off x="14210471" y="6150144"/>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n-lt"/>
                  <a:ea typeface="Adobe Heiti Std R" panose="020B0400000000000000" pitchFamily="34" charset="-128"/>
                  <a:cs typeface="Segoe UI Light" panose="020B0502040204020203" pitchFamily="34" charset="0"/>
                </a:endParaRPr>
              </a:p>
            </p:txBody>
          </p:sp>
          <p:sp>
            <p:nvSpPr>
              <p:cNvPr id="240" name="Afgeronde rechthoek 50">
                <a:extLst>
                  <a:ext uri="{FF2B5EF4-FFF2-40B4-BE49-F238E27FC236}">
                    <a16:creationId xmlns:a16="http://schemas.microsoft.com/office/drawing/2014/main" id="{B6552A11-5874-4569-9B18-99C2189306F6}"/>
                  </a:ext>
                </a:extLst>
              </p:cNvPr>
              <p:cNvSpPr/>
              <p:nvPr/>
            </p:nvSpPr>
            <p:spPr>
              <a:xfrm>
                <a:off x="12390702" y="6322741"/>
                <a:ext cx="1973675" cy="268314"/>
              </a:xfrm>
              <a:prstGeom prst="roundRect">
                <a:avLst/>
              </a:prstGeom>
              <a:gradFill>
                <a:gsLst>
                  <a:gs pos="0">
                    <a:srgbClr val="FFF2BD"/>
                  </a:gs>
                  <a:gs pos="34000">
                    <a:srgbClr val="FFE98B"/>
                  </a:gs>
                  <a:gs pos="78000">
                    <a:srgbClr val="FFF5C9"/>
                  </a:gs>
                  <a:gs pos="59000">
                    <a:srgbClr val="FFE98B"/>
                  </a:gs>
                </a:gsLst>
                <a:lin ang="5400000" scaled="0"/>
              </a:gra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1200" dirty="0" err="1">
                    <a:solidFill>
                      <a:schemeClr val="tx1"/>
                    </a:solidFill>
                    <a:latin typeface="+mn-lt"/>
                    <a:ea typeface="Adobe Heiti Std R" panose="020B0400000000000000" pitchFamily="34" charset="-128"/>
                    <a:cs typeface="Segoe UI Light" panose="020B0502040204020203" pitchFamily="34" charset="0"/>
                  </a:rPr>
                  <a:t>Gegevens</a:t>
                </a:r>
                <a:r>
                  <a:rPr lang="en-US" sz="1200" dirty="0">
                    <a:solidFill>
                      <a:schemeClr val="tx1"/>
                    </a:solidFill>
                    <a:latin typeface="+mn-lt"/>
                    <a:ea typeface="Adobe Heiti Std R" panose="020B0400000000000000" pitchFamily="34" charset="-128"/>
                    <a:cs typeface="Segoe UI Light" panose="020B0502040204020203" pitchFamily="34" charset="0"/>
                  </a:rPr>
                  <a:t> </a:t>
                </a:r>
                <a:r>
                  <a:rPr lang="en-US" sz="1200" dirty="0" err="1">
                    <a:solidFill>
                      <a:schemeClr val="tx1"/>
                    </a:solidFill>
                    <a:latin typeface="+mn-lt"/>
                    <a:ea typeface="Adobe Heiti Std R" panose="020B0400000000000000" pitchFamily="34" charset="-128"/>
                    <a:cs typeface="Segoe UI Light" panose="020B0502040204020203" pitchFamily="34" charset="0"/>
                  </a:rPr>
                  <a:t>bewerken</a:t>
                </a:r>
                <a:r>
                  <a:rPr lang="en-US" sz="1200" dirty="0">
                    <a:solidFill>
                      <a:schemeClr val="tx1"/>
                    </a:solidFill>
                    <a:latin typeface="+mn-lt"/>
                    <a:ea typeface="Adobe Heiti Std R" panose="020B0400000000000000" pitchFamily="34" charset="-128"/>
                    <a:cs typeface="Segoe UI Light" panose="020B0502040204020203" pitchFamily="34" charset="0"/>
                  </a:rPr>
                  <a:t>…</a:t>
                </a:r>
              </a:p>
            </p:txBody>
          </p:sp>
          <p:grpSp>
            <p:nvGrpSpPr>
              <p:cNvPr id="241" name="Groep 240">
                <a:extLst>
                  <a:ext uri="{FF2B5EF4-FFF2-40B4-BE49-F238E27FC236}">
                    <a16:creationId xmlns:a16="http://schemas.microsoft.com/office/drawing/2014/main" id="{81C22999-E0C9-42B6-807A-AE74EAA6857A}"/>
                  </a:ext>
                </a:extLst>
              </p:cNvPr>
              <p:cNvGrpSpPr/>
              <p:nvPr/>
            </p:nvGrpSpPr>
            <p:grpSpPr>
              <a:xfrm>
                <a:off x="12461788" y="6100223"/>
                <a:ext cx="204691" cy="170000"/>
                <a:chOff x="15171969" y="1587338"/>
                <a:chExt cx="755407" cy="627385"/>
              </a:xfrm>
            </p:grpSpPr>
            <p:sp>
              <p:nvSpPr>
                <p:cNvPr id="258" name="Rechthoek 962">
                  <a:extLst>
                    <a:ext uri="{FF2B5EF4-FFF2-40B4-BE49-F238E27FC236}">
                      <a16:creationId xmlns:a16="http://schemas.microsoft.com/office/drawing/2014/main" id="{AF7F79F8-514D-4191-B400-2B123CFE9338}"/>
                    </a:ext>
                  </a:extLst>
                </p:cNvPr>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259" name="Groep 258">
                  <a:extLst>
                    <a:ext uri="{FF2B5EF4-FFF2-40B4-BE49-F238E27FC236}">
                      <a16:creationId xmlns:a16="http://schemas.microsoft.com/office/drawing/2014/main" id="{883B87BF-571A-499B-94FC-03364D0B92B5}"/>
                    </a:ext>
                  </a:extLst>
                </p:cNvPr>
                <p:cNvGrpSpPr/>
                <p:nvPr userDrawn="1"/>
              </p:nvGrpSpPr>
              <p:grpSpPr>
                <a:xfrm>
                  <a:off x="15281106" y="1587338"/>
                  <a:ext cx="511775" cy="560304"/>
                  <a:chOff x="10604642" y="969717"/>
                  <a:chExt cx="1290643" cy="1427163"/>
                </a:xfrm>
              </p:grpSpPr>
              <p:grpSp>
                <p:nvGrpSpPr>
                  <p:cNvPr id="260" name="Group 879">
                    <a:extLst>
                      <a:ext uri="{FF2B5EF4-FFF2-40B4-BE49-F238E27FC236}">
                        <a16:creationId xmlns:a16="http://schemas.microsoft.com/office/drawing/2014/main" id="{39841F39-2660-4C9B-AECA-51019FA28049}"/>
                      </a:ext>
                    </a:extLst>
                  </p:cNvPr>
                  <p:cNvGrpSpPr>
                    <a:grpSpLocks noChangeAspect="1"/>
                  </p:cNvGrpSpPr>
                  <p:nvPr userDrawn="1"/>
                </p:nvGrpSpPr>
                <p:grpSpPr bwMode="auto">
                  <a:xfrm>
                    <a:off x="10604642" y="969717"/>
                    <a:ext cx="1290643" cy="1427163"/>
                    <a:chOff x="4798" y="1515"/>
                    <a:chExt cx="813" cy="899"/>
                  </a:xfrm>
                </p:grpSpPr>
                <p:sp>
                  <p:nvSpPr>
                    <p:cNvPr id="262" name="Freeform 886">
                      <a:extLst>
                        <a:ext uri="{FF2B5EF4-FFF2-40B4-BE49-F238E27FC236}">
                          <a16:creationId xmlns:a16="http://schemas.microsoft.com/office/drawing/2014/main" id="{F87260E2-415A-4E82-8DDD-A8F1F7315DB7}"/>
                        </a:ext>
                      </a:extLst>
                    </p:cNvPr>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3" name="Rectangle 880">
                      <a:extLst>
                        <a:ext uri="{FF2B5EF4-FFF2-40B4-BE49-F238E27FC236}">
                          <a16:creationId xmlns:a16="http://schemas.microsoft.com/office/drawing/2014/main" id="{27B028E9-B1BC-4269-8753-7BDD94F06A75}"/>
                        </a:ext>
                      </a:extLst>
                    </p:cNvPr>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4" name="Rectangle 881">
                      <a:extLst>
                        <a:ext uri="{FF2B5EF4-FFF2-40B4-BE49-F238E27FC236}">
                          <a16:creationId xmlns:a16="http://schemas.microsoft.com/office/drawing/2014/main" id="{8F2A8AEF-64AA-4BA6-AA47-C6E1D89D3482}"/>
                        </a:ext>
                      </a:extLst>
                    </p:cNvPr>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5" name="Freeform 882">
                      <a:extLst>
                        <a:ext uri="{FF2B5EF4-FFF2-40B4-BE49-F238E27FC236}">
                          <a16:creationId xmlns:a16="http://schemas.microsoft.com/office/drawing/2014/main" id="{A9318B37-C963-4CBD-8513-2C4F6A604D99}"/>
                        </a:ext>
                      </a:extLst>
                    </p:cNvPr>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6" name="Freeform 883">
                      <a:extLst>
                        <a:ext uri="{FF2B5EF4-FFF2-40B4-BE49-F238E27FC236}">
                          <a16:creationId xmlns:a16="http://schemas.microsoft.com/office/drawing/2014/main" id="{BE877316-8DB3-46D8-A50F-C5CD68853527}"/>
                        </a:ext>
                      </a:extLst>
                    </p:cNvPr>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7" name="Freeform 884">
                      <a:extLst>
                        <a:ext uri="{FF2B5EF4-FFF2-40B4-BE49-F238E27FC236}">
                          <a16:creationId xmlns:a16="http://schemas.microsoft.com/office/drawing/2014/main" id="{D624343E-AF62-4EE8-9F63-8D619ADB7167}"/>
                        </a:ext>
                      </a:extLst>
                    </p:cNvPr>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8" name="Rectangle 885">
                      <a:extLst>
                        <a:ext uri="{FF2B5EF4-FFF2-40B4-BE49-F238E27FC236}">
                          <a16:creationId xmlns:a16="http://schemas.microsoft.com/office/drawing/2014/main" id="{F539F4A2-99CB-469C-986D-9F773CF7711D}"/>
                        </a:ext>
                      </a:extLst>
                    </p:cNvPr>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69" name="Rectangle 887">
                      <a:extLst>
                        <a:ext uri="{FF2B5EF4-FFF2-40B4-BE49-F238E27FC236}">
                          <a16:creationId xmlns:a16="http://schemas.microsoft.com/office/drawing/2014/main" id="{BCA569D8-6974-4FC3-A0E6-88CBD8EFFBAC}"/>
                        </a:ext>
                      </a:extLst>
                    </p:cNvPr>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270" name="Freeform 888">
                      <a:extLst>
                        <a:ext uri="{FF2B5EF4-FFF2-40B4-BE49-F238E27FC236}">
                          <a16:creationId xmlns:a16="http://schemas.microsoft.com/office/drawing/2014/main" id="{BFDEFF38-09AB-442F-8E37-9AC73B2858FF}"/>
                        </a:ext>
                      </a:extLst>
                    </p:cNvPr>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261" name="Vrije vorm 71">
                    <a:extLst>
                      <a:ext uri="{FF2B5EF4-FFF2-40B4-BE49-F238E27FC236}">
                        <a16:creationId xmlns:a16="http://schemas.microsoft.com/office/drawing/2014/main" id="{66A0CA1C-398D-4E3D-B43D-093163B3F5FA}"/>
                      </a:ext>
                    </a:extLst>
                  </p:cNvPr>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242" name="Groep 241">
                <a:extLst>
                  <a:ext uri="{FF2B5EF4-FFF2-40B4-BE49-F238E27FC236}">
                    <a16:creationId xmlns:a16="http://schemas.microsoft.com/office/drawing/2014/main" id="{8493ACD2-511B-4770-B930-F5BE4868DB24}"/>
                  </a:ext>
                </a:extLst>
              </p:cNvPr>
              <p:cNvGrpSpPr/>
              <p:nvPr/>
            </p:nvGrpSpPr>
            <p:grpSpPr>
              <a:xfrm>
                <a:off x="12468521" y="6356844"/>
                <a:ext cx="133446" cy="114786"/>
                <a:chOff x="14587469" y="6356844"/>
                <a:chExt cx="133446" cy="114786"/>
              </a:xfrm>
            </p:grpSpPr>
            <p:sp>
              <p:nvSpPr>
                <p:cNvPr id="248" name="Rectangle 6">
                  <a:extLst>
                    <a:ext uri="{FF2B5EF4-FFF2-40B4-BE49-F238E27FC236}">
                      <a16:creationId xmlns:a16="http://schemas.microsoft.com/office/drawing/2014/main" id="{4404ADD4-D834-4232-833D-D99837A9BD36}"/>
                    </a:ext>
                  </a:extLst>
                </p:cNvPr>
                <p:cNvSpPr>
                  <a:spLocks noChangeArrowheads="1"/>
                </p:cNvSpPr>
                <p:nvPr userDrawn="1"/>
              </p:nvSpPr>
              <p:spPr bwMode="auto">
                <a:xfrm>
                  <a:off x="14588703" y="6379233"/>
                  <a:ext cx="130780" cy="91699"/>
                </a:xfrm>
                <a:prstGeom prst="rect">
                  <a:avLst/>
                </a:prstGeom>
                <a:solidFill>
                  <a:srgbClr val="F2FAFF"/>
                </a:solidFill>
                <a:ln w="0">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249" name="Rectangle 15">
                  <a:extLst>
                    <a:ext uri="{FF2B5EF4-FFF2-40B4-BE49-F238E27FC236}">
                      <a16:creationId xmlns:a16="http://schemas.microsoft.com/office/drawing/2014/main" id="{65863C32-8108-41DA-A8F1-0990F4C0FD32}"/>
                    </a:ext>
                  </a:extLst>
                </p:cNvPr>
                <p:cNvSpPr>
                  <a:spLocks noChangeArrowheads="1"/>
                </p:cNvSpPr>
                <p:nvPr userDrawn="1"/>
              </p:nvSpPr>
              <p:spPr bwMode="auto">
                <a:xfrm>
                  <a:off x="14587469" y="6423761"/>
                  <a:ext cx="131076" cy="1446"/>
                </a:xfrm>
                <a:prstGeom prst="rect">
                  <a:avLst/>
                </a:prstGeom>
                <a:gradFill flip="none" rotWithShape="1">
                  <a:gsLst>
                    <a:gs pos="20000">
                      <a:srgbClr val="0039AC"/>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250" name="Freeform 14">
                  <a:extLst>
                    <a:ext uri="{FF2B5EF4-FFF2-40B4-BE49-F238E27FC236}">
                      <a16:creationId xmlns:a16="http://schemas.microsoft.com/office/drawing/2014/main" id="{6C0752F6-610C-44EA-AFBB-51A9DB98E490}"/>
                    </a:ext>
                  </a:extLst>
                </p:cNvPr>
                <p:cNvSpPr>
                  <a:spLocks noEditPoints="1"/>
                </p:cNvSpPr>
                <p:nvPr userDrawn="1"/>
              </p:nvSpPr>
              <p:spPr bwMode="auto">
                <a:xfrm>
                  <a:off x="14588901" y="6356844"/>
                  <a:ext cx="132014" cy="114786"/>
                </a:xfrm>
                <a:custGeom>
                  <a:avLst/>
                  <a:gdLst>
                    <a:gd name="T0" fmla="*/ 48 w 5347"/>
                    <a:gd name="T1" fmla="*/ 48 h 4605"/>
                    <a:gd name="T2" fmla="*/ 48 w 5347"/>
                    <a:gd name="T3" fmla="*/ 4557 h 4605"/>
                    <a:gd name="T4" fmla="*/ 5299 w 5347"/>
                    <a:gd name="T5" fmla="*/ 4557 h 4605"/>
                    <a:gd name="T6" fmla="*/ 5299 w 5347"/>
                    <a:gd name="T7" fmla="*/ 48 h 4605"/>
                    <a:gd name="T8" fmla="*/ 48 w 5347"/>
                    <a:gd name="T9" fmla="*/ 48 h 4605"/>
                    <a:gd name="T10" fmla="*/ 0 w 5347"/>
                    <a:gd name="T11" fmla="*/ 0 h 4605"/>
                    <a:gd name="T12" fmla="*/ 5347 w 5347"/>
                    <a:gd name="T13" fmla="*/ 0 h 4605"/>
                    <a:gd name="T14" fmla="*/ 5347 w 5347"/>
                    <a:gd name="T15" fmla="*/ 4605 h 4605"/>
                    <a:gd name="T16" fmla="*/ 0 w 5347"/>
                    <a:gd name="T17" fmla="*/ 4605 h 4605"/>
                    <a:gd name="T18" fmla="*/ 0 w 5347"/>
                    <a:gd name="T19" fmla="*/ 0 h 4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7" h="4605">
                      <a:moveTo>
                        <a:pt x="48" y="48"/>
                      </a:moveTo>
                      <a:lnTo>
                        <a:pt x="48" y="4557"/>
                      </a:lnTo>
                      <a:lnTo>
                        <a:pt x="5299" y="4557"/>
                      </a:lnTo>
                      <a:lnTo>
                        <a:pt x="5299" y="48"/>
                      </a:lnTo>
                      <a:lnTo>
                        <a:pt x="48" y="48"/>
                      </a:lnTo>
                      <a:close/>
                      <a:moveTo>
                        <a:pt x="0" y="0"/>
                      </a:moveTo>
                      <a:lnTo>
                        <a:pt x="5347" y="0"/>
                      </a:lnTo>
                      <a:lnTo>
                        <a:pt x="5347" y="4605"/>
                      </a:lnTo>
                      <a:lnTo>
                        <a:pt x="0" y="4605"/>
                      </a:lnTo>
                      <a:lnTo>
                        <a:pt x="0" y="0"/>
                      </a:lnTo>
                      <a:close/>
                    </a:path>
                  </a:pathLst>
                </a:custGeom>
                <a:solidFill>
                  <a:srgbClr val="2E5D8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cxnSp>
              <p:nvCxnSpPr>
                <p:cNvPr id="251" name="Rechte verbindingslijn 250">
                  <a:extLst>
                    <a:ext uri="{FF2B5EF4-FFF2-40B4-BE49-F238E27FC236}">
                      <a16:creationId xmlns:a16="http://schemas.microsoft.com/office/drawing/2014/main" id="{0AD4A78F-F319-4C74-B6EA-C59B4FAD6781}"/>
                    </a:ext>
                  </a:extLst>
                </p:cNvPr>
                <p:cNvCxnSpPr/>
                <p:nvPr userDrawn="1"/>
              </p:nvCxnSpPr>
              <p:spPr>
                <a:xfrm flipH="1">
                  <a:off x="14654334" y="6382168"/>
                  <a:ext cx="162"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2" name="Rechte verbindingslijn 251">
                  <a:extLst>
                    <a:ext uri="{FF2B5EF4-FFF2-40B4-BE49-F238E27FC236}">
                      <a16:creationId xmlns:a16="http://schemas.microsoft.com/office/drawing/2014/main" id="{8515D2EE-CC38-4A5B-976B-A975463C4378}"/>
                    </a:ext>
                  </a:extLst>
                </p:cNvPr>
                <p:cNvCxnSpPr/>
                <p:nvPr userDrawn="1"/>
              </p:nvCxnSpPr>
              <p:spPr>
                <a:xfrm>
                  <a:off x="14689188" y="6382168"/>
                  <a:ext cx="0"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3" name="Rechte verbindingslijn 252">
                  <a:extLst>
                    <a:ext uri="{FF2B5EF4-FFF2-40B4-BE49-F238E27FC236}">
                      <a16:creationId xmlns:a16="http://schemas.microsoft.com/office/drawing/2014/main" id="{2529B67A-BAD6-46C2-A587-FA13DB44C22D}"/>
                    </a:ext>
                  </a:extLst>
                </p:cNvPr>
                <p:cNvCxnSpPr/>
                <p:nvPr userDrawn="1"/>
              </p:nvCxnSpPr>
              <p:spPr>
                <a:xfrm>
                  <a:off x="14619892" y="6382040"/>
                  <a:ext cx="0" cy="8577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4" name="Rechte verbindingslijn 253">
                  <a:extLst>
                    <a:ext uri="{FF2B5EF4-FFF2-40B4-BE49-F238E27FC236}">
                      <a16:creationId xmlns:a16="http://schemas.microsoft.com/office/drawing/2014/main" id="{1413967A-86C5-46B4-BADC-2671CAF79C15}"/>
                    </a:ext>
                  </a:extLst>
                </p:cNvPr>
                <p:cNvCxnSpPr/>
                <p:nvPr userDrawn="1"/>
              </p:nvCxnSpPr>
              <p:spPr>
                <a:xfrm flipH="1">
                  <a:off x="14593115" y="6400164"/>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5" name="Rechte verbindingslijn 254">
                  <a:extLst>
                    <a:ext uri="{FF2B5EF4-FFF2-40B4-BE49-F238E27FC236}">
                      <a16:creationId xmlns:a16="http://schemas.microsoft.com/office/drawing/2014/main" id="{C4E4373B-E324-40EF-9683-A62A7168432F}"/>
                    </a:ext>
                  </a:extLst>
                </p:cNvPr>
                <p:cNvCxnSpPr/>
                <p:nvPr userDrawn="1"/>
              </p:nvCxnSpPr>
              <p:spPr>
                <a:xfrm flipH="1">
                  <a:off x="14593115" y="6423860"/>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6" name="Rechte verbindingslijn 255">
                  <a:extLst>
                    <a:ext uri="{FF2B5EF4-FFF2-40B4-BE49-F238E27FC236}">
                      <a16:creationId xmlns:a16="http://schemas.microsoft.com/office/drawing/2014/main" id="{C5F955D2-8CDA-4786-97EC-BBCD1D2CE944}"/>
                    </a:ext>
                  </a:extLst>
                </p:cNvPr>
                <p:cNvCxnSpPr/>
                <p:nvPr userDrawn="1"/>
              </p:nvCxnSpPr>
              <p:spPr>
                <a:xfrm flipH="1">
                  <a:off x="14593115" y="6447556"/>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57" name="Rectangle 13">
                  <a:extLst>
                    <a:ext uri="{FF2B5EF4-FFF2-40B4-BE49-F238E27FC236}">
                      <a16:creationId xmlns:a16="http://schemas.microsoft.com/office/drawing/2014/main" id="{5A06D9EF-B1EA-41AB-ACC1-CC40EF09A31F}"/>
                    </a:ext>
                  </a:extLst>
                </p:cNvPr>
                <p:cNvSpPr>
                  <a:spLocks noChangeArrowheads="1"/>
                </p:cNvSpPr>
                <p:nvPr userDrawn="1"/>
              </p:nvSpPr>
              <p:spPr bwMode="auto">
                <a:xfrm>
                  <a:off x="14590283" y="6359138"/>
                  <a:ext cx="128657" cy="19347"/>
                </a:xfrm>
                <a:prstGeom prst="rect">
                  <a:avLst/>
                </a:prstGeom>
                <a:gradFill flip="none" rotWithShape="1">
                  <a:gsLst>
                    <a:gs pos="0">
                      <a:srgbClr val="1929FF"/>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grpSp>
          <p:grpSp>
            <p:nvGrpSpPr>
              <p:cNvPr id="243" name="Groep 242">
                <a:extLst>
                  <a:ext uri="{FF2B5EF4-FFF2-40B4-BE49-F238E27FC236}">
                    <a16:creationId xmlns:a16="http://schemas.microsoft.com/office/drawing/2014/main" id="{B3A19BEE-2381-423F-8242-40F3CE321AF3}"/>
                  </a:ext>
                </a:extLst>
              </p:cNvPr>
              <p:cNvGrpSpPr/>
              <p:nvPr/>
            </p:nvGrpSpPr>
            <p:grpSpPr>
              <a:xfrm>
                <a:off x="12529899" y="6421402"/>
                <a:ext cx="97399" cy="97399"/>
                <a:chOff x="14546483" y="5323041"/>
                <a:chExt cx="242460" cy="242460"/>
              </a:xfrm>
            </p:grpSpPr>
            <p:sp>
              <p:nvSpPr>
                <p:cNvPr id="244" name="Rechthoek 243">
                  <a:extLst>
                    <a:ext uri="{FF2B5EF4-FFF2-40B4-BE49-F238E27FC236}">
                      <a16:creationId xmlns:a16="http://schemas.microsoft.com/office/drawing/2014/main" id="{8F746931-53A6-4205-97E4-AF5256C9DC0C}"/>
                    </a:ext>
                  </a:extLst>
                </p:cNvPr>
                <p:cNvSpPr/>
                <p:nvPr userDrawn="1"/>
              </p:nvSpPr>
              <p:spPr>
                <a:xfrm>
                  <a:off x="14546483" y="5323041"/>
                  <a:ext cx="242460" cy="242460"/>
                </a:xfrm>
                <a:prstGeom prst="rect">
                  <a:avLst/>
                </a:prstGeom>
                <a:solidFill>
                  <a:schemeClr val="bg1"/>
                </a:solidFill>
                <a:ln w="6350">
                  <a:solidFill>
                    <a:srgbClr val="00A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nvGrpSpPr>
                <p:cNvPr id="245" name="Groep 244">
                  <a:extLst>
                    <a:ext uri="{FF2B5EF4-FFF2-40B4-BE49-F238E27FC236}">
                      <a16:creationId xmlns:a16="http://schemas.microsoft.com/office/drawing/2014/main" id="{41BAD178-BEBC-4B18-B2E7-ED972EFF85C4}"/>
                    </a:ext>
                  </a:extLst>
                </p:cNvPr>
                <p:cNvGrpSpPr/>
                <p:nvPr/>
              </p:nvGrpSpPr>
              <p:grpSpPr>
                <a:xfrm>
                  <a:off x="14568035" y="5357818"/>
                  <a:ext cx="199836" cy="175226"/>
                  <a:chOff x="14559757" y="5349611"/>
                  <a:chExt cx="216392" cy="191641"/>
                </a:xfrm>
              </p:grpSpPr>
              <p:sp>
                <p:nvSpPr>
                  <p:cNvPr id="246" name="Parallellogram 245">
                    <a:extLst>
                      <a:ext uri="{FF2B5EF4-FFF2-40B4-BE49-F238E27FC236}">
                        <a16:creationId xmlns:a16="http://schemas.microsoft.com/office/drawing/2014/main" id="{57D56FDE-84AA-4363-9771-EC200749B227}"/>
                      </a:ext>
                    </a:extLst>
                  </p:cNvPr>
                  <p:cNvSpPr/>
                  <p:nvPr/>
                </p:nvSpPr>
                <p:spPr>
                  <a:xfrm>
                    <a:off x="14559757" y="5369222"/>
                    <a:ext cx="214316" cy="147762"/>
                  </a:xfrm>
                  <a:prstGeom prst="parallelogram">
                    <a:avLst>
                      <a:gd name="adj" fmla="val 93909"/>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247" name="Parallellogram 246">
                    <a:extLst>
                      <a:ext uri="{FF2B5EF4-FFF2-40B4-BE49-F238E27FC236}">
                        <a16:creationId xmlns:a16="http://schemas.microsoft.com/office/drawing/2014/main" id="{9118CEDC-46D1-45EC-81C9-ED4693A67650}"/>
                      </a:ext>
                    </a:extLst>
                  </p:cNvPr>
                  <p:cNvSpPr/>
                  <p:nvPr/>
                </p:nvSpPr>
                <p:spPr>
                  <a:xfrm flipH="1">
                    <a:off x="14561833" y="5349611"/>
                    <a:ext cx="214316" cy="191641"/>
                  </a:xfrm>
                  <a:prstGeom prst="parallelogram">
                    <a:avLst>
                      <a:gd name="adj" fmla="val 68946"/>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grpSp>
        </p:grpSp>
        <p:sp>
          <p:nvSpPr>
            <p:cNvPr id="234" name="Tekstvak 33">
              <a:extLst>
                <a:ext uri="{FF2B5EF4-FFF2-40B4-BE49-F238E27FC236}">
                  <a16:creationId xmlns:a16="http://schemas.microsoft.com/office/drawing/2014/main" id="{60937FC8-50C8-47EB-A47F-42A598854EBA}"/>
                </a:ext>
              </a:extLst>
            </p:cNvPr>
            <p:cNvSpPr txBox="1"/>
            <p:nvPr userDrawn="1"/>
          </p:nvSpPr>
          <p:spPr>
            <a:xfrm>
              <a:off x="12537681" y="5123358"/>
              <a:ext cx="2588841" cy="646331"/>
            </a:xfrm>
            <a:prstGeom prst="rect">
              <a:avLst/>
            </a:prstGeom>
            <a:noFill/>
          </p:spPr>
          <p:txBody>
            <a:bodyPr wrap="square" lIns="0" tIns="0" rIns="0" bIns="0" rtlCol="0" anchor="t">
              <a:spAutoFit/>
            </a:bodyPr>
            <a:lstStyle>
              <a:defPPr>
                <a:defRPr lang="nl-NL"/>
              </a:defPPr>
              <a:lvl1pPr marR="0" lvl="0" indent="0" defTabSz="914400" fontAlgn="auto">
                <a:lnSpc>
                  <a:spcPct val="100000"/>
                </a:lnSpc>
                <a:spcBef>
                  <a:spcPts val="0"/>
                </a:spcBef>
                <a:spcAft>
                  <a:spcPts val="0"/>
                </a:spcAft>
                <a:buClrTx/>
                <a:buSzTx/>
                <a:buFontTx/>
                <a:buNone/>
                <a:tabLst/>
                <a:defRPr kumimoji="0" sz="1400" b="0" i="0" u="none" strike="noStrike" kern="0" cap="none" spc="0" normalizeH="0" baseline="0">
                  <a:ln>
                    <a:noFill/>
                  </a:ln>
                  <a:effectLst/>
                  <a:uLnTx/>
                  <a:uFillTx/>
                  <a:latin typeface="Calibri"/>
                  <a:ea typeface="Tahoma" pitchFamily="34" charset="0"/>
                  <a:cs typeface="Arial" pitchFamily="34" charset="0"/>
                </a:defRPr>
              </a:lvl1pPr>
            </a:lstStyle>
            <a:p>
              <a:pPr lvl="0"/>
              <a:r>
                <a:rPr lang="nl-NL" dirty="0">
                  <a:solidFill>
                    <a:schemeClr val="tx2"/>
                  </a:solidFill>
                  <a:latin typeface="+mn-lt"/>
                </a:rPr>
                <a:t>Selecteer de grafiek, klik op de rechter muisknop en kies </a:t>
              </a:r>
              <a:r>
                <a:rPr lang="nl-NL" b="0" dirty="0">
                  <a:solidFill>
                    <a:schemeClr val="tx2"/>
                  </a:solidFill>
                  <a:latin typeface="+mj-lt"/>
                </a:rPr>
                <a:t>‘Gegevens bewerken’</a:t>
              </a:r>
            </a:p>
          </p:txBody>
        </p:sp>
        <p:sp>
          <p:nvSpPr>
            <p:cNvPr id="235" name="Rechthoek 234">
              <a:extLst>
                <a:ext uri="{FF2B5EF4-FFF2-40B4-BE49-F238E27FC236}">
                  <a16:creationId xmlns:a16="http://schemas.microsoft.com/office/drawing/2014/main" id="{C9379AD7-BC64-4A2A-AE40-BEA76535A169}"/>
                </a:ext>
              </a:extLst>
            </p:cNvPr>
            <p:cNvSpPr/>
            <p:nvPr userDrawn="1"/>
          </p:nvSpPr>
          <p:spPr>
            <a:xfrm>
              <a:off x="12363871" y="4529047"/>
              <a:ext cx="2584447" cy="3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lvl="0"/>
              <a:r>
                <a:rPr lang="nl-NL" sz="1600" b="0" dirty="0">
                  <a:solidFill>
                    <a:schemeClr val="tx2"/>
                  </a:solidFill>
                  <a:latin typeface="+mj-lt"/>
                </a:rPr>
                <a:t>GRAFIEK BEWERKEN</a:t>
              </a:r>
            </a:p>
          </p:txBody>
        </p:sp>
        <p:pic>
          <p:nvPicPr>
            <p:cNvPr id="236" name="Picture 3">
              <a:extLst>
                <a:ext uri="{FF2B5EF4-FFF2-40B4-BE49-F238E27FC236}">
                  <a16:creationId xmlns:a16="http://schemas.microsoft.com/office/drawing/2014/main" id="{9A1DE6E1-00F8-4E8F-8B8F-098C6E0635E5}"/>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4262557" y="6394752"/>
              <a:ext cx="158644" cy="256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53" name="Groep 352">
            <a:extLst>
              <a:ext uri="{FF2B5EF4-FFF2-40B4-BE49-F238E27FC236}">
                <a16:creationId xmlns:a16="http://schemas.microsoft.com/office/drawing/2014/main" id="{EA8E4455-A23B-4953-B009-3BF97297453E}"/>
              </a:ext>
            </a:extLst>
          </p:cNvPr>
          <p:cNvGrpSpPr/>
          <p:nvPr userDrawn="1"/>
        </p:nvGrpSpPr>
        <p:grpSpPr>
          <a:xfrm>
            <a:off x="-2973833" y="0"/>
            <a:ext cx="2808312" cy="5805264"/>
            <a:chOff x="-2973833" y="0"/>
            <a:chExt cx="2808312" cy="5805264"/>
          </a:xfrm>
        </p:grpSpPr>
        <p:sp>
          <p:nvSpPr>
            <p:cNvPr id="354" name="Rechthoek 353">
              <a:extLst>
                <a:ext uri="{FF2B5EF4-FFF2-40B4-BE49-F238E27FC236}">
                  <a16:creationId xmlns:a16="http://schemas.microsoft.com/office/drawing/2014/main" id="{9CBDF756-EE5E-47B4-9597-77DD04743365}"/>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355" name="Textfield placeholder">
              <a:extLst>
                <a:ext uri="{FF2B5EF4-FFF2-40B4-BE49-F238E27FC236}">
                  <a16:creationId xmlns:a16="http://schemas.microsoft.com/office/drawing/2014/main" id="{F7A6FF74-49B4-47B7-87BB-750003B98FFD}"/>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356" name="Ovaal 355">
              <a:extLst>
                <a:ext uri="{FF2B5EF4-FFF2-40B4-BE49-F238E27FC236}">
                  <a16:creationId xmlns:a16="http://schemas.microsoft.com/office/drawing/2014/main" id="{88CDCE2C-A6C9-42C8-8F9A-0F9DA5692BF4}"/>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357" name="Ovaal 356">
              <a:extLst>
                <a:ext uri="{FF2B5EF4-FFF2-40B4-BE49-F238E27FC236}">
                  <a16:creationId xmlns:a16="http://schemas.microsoft.com/office/drawing/2014/main" id="{80CEEE5F-C420-46BC-9DAC-29810ACADE4B}"/>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358" name="Ovaal 357">
              <a:extLst>
                <a:ext uri="{FF2B5EF4-FFF2-40B4-BE49-F238E27FC236}">
                  <a16:creationId xmlns:a16="http://schemas.microsoft.com/office/drawing/2014/main" id="{909683DC-F541-484D-88A6-B891902003E7}"/>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359" name="Ovaal 358">
              <a:extLst>
                <a:ext uri="{FF2B5EF4-FFF2-40B4-BE49-F238E27FC236}">
                  <a16:creationId xmlns:a16="http://schemas.microsoft.com/office/drawing/2014/main" id="{284C1ABF-2CB5-4098-AE5E-34A3D209A489}"/>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360" name="Textfield placeholder">
              <a:extLst>
                <a:ext uri="{FF2B5EF4-FFF2-40B4-BE49-F238E27FC236}">
                  <a16:creationId xmlns:a16="http://schemas.microsoft.com/office/drawing/2014/main" id="{41E81EA0-932C-400B-A815-55C6AA2EB833}"/>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361" name="Textfield placeholder">
              <a:extLst>
                <a:ext uri="{FF2B5EF4-FFF2-40B4-BE49-F238E27FC236}">
                  <a16:creationId xmlns:a16="http://schemas.microsoft.com/office/drawing/2014/main" id="{BC33423E-2DB6-40B6-A813-DBE8BB5FCD0A}"/>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362" name="Textfield placeholder">
              <a:extLst>
                <a:ext uri="{FF2B5EF4-FFF2-40B4-BE49-F238E27FC236}">
                  <a16:creationId xmlns:a16="http://schemas.microsoft.com/office/drawing/2014/main" id="{2E0DB3BE-6BAC-4BF0-9E6E-26679A859D60}"/>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363" name="Rechte verbindingslijn 362">
              <a:extLst>
                <a:ext uri="{FF2B5EF4-FFF2-40B4-BE49-F238E27FC236}">
                  <a16:creationId xmlns:a16="http://schemas.microsoft.com/office/drawing/2014/main" id="{0841A44D-A83A-45EB-8023-B5F646E60760}"/>
                </a:ext>
              </a:extLst>
            </p:cNvPr>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4" name="Rechte verbindingslijn 363">
              <a:extLst>
                <a:ext uri="{FF2B5EF4-FFF2-40B4-BE49-F238E27FC236}">
                  <a16:creationId xmlns:a16="http://schemas.microsoft.com/office/drawing/2014/main" id="{5BDCFBFA-2555-48A0-825D-680716DF2705}"/>
                </a:ext>
              </a:extLst>
            </p:cNvPr>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5" name="Rechte verbindingslijn 364">
              <a:extLst>
                <a:ext uri="{FF2B5EF4-FFF2-40B4-BE49-F238E27FC236}">
                  <a16:creationId xmlns:a16="http://schemas.microsoft.com/office/drawing/2014/main" id="{FB1CD350-F3E1-4E8B-A216-ECF888DFCCFE}"/>
                </a:ext>
              </a:extLst>
            </p:cNvPr>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366" name="Picture 3">
              <a:extLst>
                <a:ext uri="{FF2B5EF4-FFF2-40B4-BE49-F238E27FC236}">
                  <a16:creationId xmlns:a16="http://schemas.microsoft.com/office/drawing/2014/main" id="{229ED008-BF40-4A36-9B45-4B5E1AACC04C}"/>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7" name="Picture 4">
              <a:extLst>
                <a:ext uri="{FF2B5EF4-FFF2-40B4-BE49-F238E27FC236}">
                  <a16:creationId xmlns:a16="http://schemas.microsoft.com/office/drawing/2014/main" id="{299F0989-F6B7-471F-B2F4-A711843F5EA0}"/>
                </a:ext>
              </a:extLst>
            </p:cNvPr>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68" name="Groep 367">
              <a:extLst>
                <a:ext uri="{FF2B5EF4-FFF2-40B4-BE49-F238E27FC236}">
                  <a16:creationId xmlns:a16="http://schemas.microsoft.com/office/drawing/2014/main" id="{773ACE66-ABC0-49A1-8901-2CC76D46318E}"/>
                </a:ext>
              </a:extLst>
            </p:cNvPr>
            <p:cNvGrpSpPr/>
            <p:nvPr userDrawn="1"/>
          </p:nvGrpSpPr>
          <p:grpSpPr>
            <a:xfrm>
              <a:off x="-2098870" y="523279"/>
              <a:ext cx="435437" cy="427699"/>
              <a:chOff x="-1085063" y="758027"/>
              <a:chExt cx="633800" cy="622540"/>
            </a:xfrm>
          </p:grpSpPr>
          <p:sp>
            <p:nvSpPr>
              <p:cNvPr id="409" name="Afgeronde rechthoek 133">
                <a:extLst>
                  <a:ext uri="{FF2B5EF4-FFF2-40B4-BE49-F238E27FC236}">
                    <a16:creationId xmlns:a16="http://schemas.microsoft.com/office/drawing/2014/main" id="{EDA0B930-B85C-40E1-94FF-1982DC4722F5}"/>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410" name="Groep 409">
                <a:extLst>
                  <a:ext uri="{FF2B5EF4-FFF2-40B4-BE49-F238E27FC236}">
                    <a16:creationId xmlns:a16="http://schemas.microsoft.com/office/drawing/2014/main" id="{0FFFB783-A9A9-498E-87E8-2E636D046982}"/>
                  </a:ext>
                </a:extLst>
              </p:cNvPr>
              <p:cNvGrpSpPr/>
              <p:nvPr userDrawn="1"/>
            </p:nvGrpSpPr>
            <p:grpSpPr>
              <a:xfrm>
                <a:off x="-977746" y="864082"/>
                <a:ext cx="419166" cy="410430"/>
                <a:chOff x="6366933" y="309013"/>
                <a:chExt cx="1901295" cy="1861668"/>
              </a:xfrm>
              <a:solidFill>
                <a:schemeClr val="tx1"/>
              </a:solidFill>
            </p:grpSpPr>
            <p:sp>
              <p:nvSpPr>
                <p:cNvPr id="411" name="Rechthoek 410">
                  <a:extLst>
                    <a:ext uri="{FF2B5EF4-FFF2-40B4-BE49-F238E27FC236}">
                      <a16:creationId xmlns:a16="http://schemas.microsoft.com/office/drawing/2014/main" id="{44CEC08D-CF26-4121-A0BE-B50D5AEFC113}"/>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2" name="Rechthoek 411">
                  <a:extLst>
                    <a:ext uri="{FF2B5EF4-FFF2-40B4-BE49-F238E27FC236}">
                      <a16:creationId xmlns:a16="http://schemas.microsoft.com/office/drawing/2014/main" id="{F57160A0-531D-478D-BC13-619F90A9EAF2}"/>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3" name="Rechthoek 412">
                  <a:extLst>
                    <a:ext uri="{FF2B5EF4-FFF2-40B4-BE49-F238E27FC236}">
                      <a16:creationId xmlns:a16="http://schemas.microsoft.com/office/drawing/2014/main" id="{5E287355-2F07-476A-A993-79472D96FA60}"/>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4" name="Rechthoek 413">
                  <a:extLst>
                    <a:ext uri="{FF2B5EF4-FFF2-40B4-BE49-F238E27FC236}">
                      <a16:creationId xmlns:a16="http://schemas.microsoft.com/office/drawing/2014/main" id="{0F2F2B2C-423A-4734-88F7-8A943B2E4996}"/>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5" name="Rechthoek 414">
                  <a:extLst>
                    <a:ext uri="{FF2B5EF4-FFF2-40B4-BE49-F238E27FC236}">
                      <a16:creationId xmlns:a16="http://schemas.microsoft.com/office/drawing/2014/main" id="{9C7C1DB1-C6C2-4C91-BBD9-D8BDF9ADF0DC}"/>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6" name="Rechthoek 415">
                  <a:extLst>
                    <a:ext uri="{FF2B5EF4-FFF2-40B4-BE49-F238E27FC236}">
                      <a16:creationId xmlns:a16="http://schemas.microsoft.com/office/drawing/2014/main" id="{9A9E1565-3D15-484E-B51E-6DA45CF19C49}"/>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7" name="Rechthoek 416">
                  <a:extLst>
                    <a:ext uri="{FF2B5EF4-FFF2-40B4-BE49-F238E27FC236}">
                      <a16:creationId xmlns:a16="http://schemas.microsoft.com/office/drawing/2014/main" id="{89A4C2F3-B20C-428D-BFF9-31B8C54D4CE6}"/>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8" name="Rechthoek 417">
                  <a:extLst>
                    <a:ext uri="{FF2B5EF4-FFF2-40B4-BE49-F238E27FC236}">
                      <a16:creationId xmlns:a16="http://schemas.microsoft.com/office/drawing/2014/main" id="{B73E23D3-EC1E-402A-A307-85E4CA2229DB}"/>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19" name="Rechthoek 418">
                  <a:extLst>
                    <a:ext uri="{FF2B5EF4-FFF2-40B4-BE49-F238E27FC236}">
                      <a16:creationId xmlns:a16="http://schemas.microsoft.com/office/drawing/2014/main" id="{83CA2BAC-E26D-4AC2-ABF1-56049FF3FBD3}"/>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20" name="Rechthoek 419">
                  <a:extLst>
                    <a:ext uri="{FF2B5EF4-FFF2-40B4-BE49-F238E27FC236}">
                      <a16:creationId xmlns:a16="http://schemas.microsoft.com/office/drawing/2014/main" id="{4D7195BD-ED2C-4C15-A105-346EFF2C0D47}"/>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21" name="Vrije vorm 145">
                  <a:extLst>
                    <a:ext uri="{FF2B5EF4-FFF2-40B4-BE49-F238E27FC236}">
                      <a16:creationId xmlns:a16="http://schemas.microsoft.com/office/drawing/2014/main" id="{7FC1152C-39C0-4D33-966E-04FEC0EC523B}"/>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369" name="Groep 368">
              <a:extLst>
                <a:ext uri="{FF2B5EF4-FFF2-40B4-BE49-F238E27FC236}">
                  <a16:creationId xmlns:a16="http://schemas.microsoft.com/office/drawing/2014/main" id="{045B0847-52E7-4876-B11C-93E9240F324B}"/>
                </a:ext>
              </a:extLst>
            </p:cNvPr>
            <p:cNvGrpSpPr/>
            <p:nvPr userDrawn="1"/>
          </p:nvGrpSpPr>
          <p:grpSpPr>
            <a:xfrm>
              <a:off x="-2095303" y="1071657"/>
              <a:ext cx="435437" cy="427699"/>
              <a:chOff x="-1845083" y="758027"/>
              <a:chExt cx="633800" cy="622540"/>
            </a:xfrm>
          </p:grpSpPr>
          <p:sp>
            <p:nvSpPr>
              <p:cNvPr id="396" name="Afgeronde rechthoek 120">
                <a:extLst>
                  <a:ext uri="{FF2B5EF4-FFF2-40B4-BE49-F238E27FC236}">
                    <a16:creationId xmlns:a16="http://schemas.microsoft.com/office/drawing/2014/main" id="{F11BA919-37E7-4220-9A3E-086EDB06281E}"/>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397" name="Groep 396">
                <a:extLst>
                  <a:ext uri="{FF2B5EF4-FFF2-40B4-BE49-F238E27FC236}">
                    <a16:creationId xmlns:a16="http://schemas.microsoft.com/office/drawing/2014/main" id="{32A7B9A8-750A-4A37-813A-CBF0B97B6360}"/>
                  </a:ext>
                </a:extLst>
              </p:cNvPr>
              <p:cNvGrpSpPr/>
              <p:nvPr userDrawn="1"/>
            </p:nvGrpSpPr>
            <p:grpSpPr>
              <a:xfrm>
                <a:off x="-1737766" y="864082"/>
                <a:ext cx="419166" cy="410430"/>
                <a:chOff x="3708400" y="309013"/>
                <a:chExt cx="1901295" cy="1861668"/>
              </a:xfrm>
              <a:solidFill>
                <a:schemeClr val="tx1"/>
              </a:solidFill>
            </p:grpSpPr>
            <p:sp>
              <p:nvSpPr>
                <p:cNvPr id="398" name="Rechthoek 397">
                  <a:extLst>
                    <a:ext uri="{FF2B5EF4-FFF2-40B4-BE49-F238E27FC236}">
                      <a16:creationId xmlns:a16="http://schemas.microsoft.com/office/drawing/2014/main" id="{8A60E5BF-32FB-434F-B815-AF6FA6A3CFA0}"/>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99" name="Rechthoek 398">
                  <a:extLst>
                    <a:ext uri="{FF2B5EF4-FFF2-40B4-BE49-F238E27FC236}">
                      <a16:creationId xmlns:a16="http://schemas.microsoft.com/office/drawing/2014/main" id="{AC5ABE15-B31B-40D3-9035-034C453750B9}"/>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0" name="Rechthoek 399">
                  <a:extLst>
                    <a:ext uri="{FF2B5EF4-FFF2-40B4-BE49-F238E27FC236}">
                      <a16:creationId xmlns:a16="http://schemas.microsoft.com/office/drawing/2014/main" id="{6D39C1A4-CEE8-4FF7-8520-0303AFF7F7AE}"/>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1" name="Rechthoek 400">
                  <a:extLst>
                    <a:ext uri="{FF2B5EF4-FFF2-40B4-BE49-F238E27FC236}">
                      <a16:creationId xmlns:a16="http://schemas.microsoft.com/office/drawing/2014/main" id="{9FE59CCB-A8F0-488F-8F23-A8CB81452A49}"/>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2" name="Rechthoek 401">
                  <a:extLst>
                    <a:ext uri="{FF2B5EF4-FFF2-40B4-BE49-F238E27FC236}">
                      <a16:creationId xmlns:a16="http://schemas.microsoft.com/office/drawing/2014/main" id="{20CD5965-0AB7-46BA-8E1B-8ACA8C95D687}"/>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3" name="Rechthoek 402">
                  <a:extLst>
                    <a:ext uri="{FF2B5EF4-FFF2-40B4-BE49-F238E27FC236}">
                      <a16:creationId xmlns:a16="http://schemas.microsoft.com/office/drawing/2014/main" id="{7C2ABD1B-5BE6-4DA5-8AFF-96CF724A693C}"/>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4" name="Rechthoek 403">
                  <a:extLst>
                    <a:ext uri="{FF2B5EF4-FFF2-40B4-BE49-F238E27FC236}">
                      <a16:creationId xmlns:a16="http://schemas.microsoft.com/office/drawing/2014/main" id="{C97022AA-EC86-4A7E-91D0-2F6F8B3C08D0}"/>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5" name="Rechthoek 404">
                  <a:extLst>
                    <a:ext uri="{FF2B5EF4-FFF2-40B4-BE49-F238E27FC236}">
                      <a16:creationId xmlns:a16="http://schemas.microsoft.com/office/drawing/2014/main" id="{66E0F211-DD38-403A-A244-2B979F6151B7}"/>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6" name="Rechthoek 405">
                  <a:extLst>
                    <a:ext uri="{FF2B5EF4-FFF2-40B4-BE49-F238E27FC236}">
                      <a16:creationId xmlns:a16="http://schemas.microsoft.com/office/drawing/2014/main" id="{D6A8D191-08DC-4AB9-AD31-AEC4D1D7A3D7}"/>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7" name="Rechthoek 406">
                  <a:extLst>
                    <a:ext uri="{FF2B5EF4-FFF2-40B4-BE49-F238E27FC236}">
                      <a16:creationId xmlns:a16="http://schemas.microsoft.com/office/drawing/2014/main" id="{AEF4EAAA-A3C9-4711-B5F8-DAE83A80DE3A}"/>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408" name="Vrije vorm 132">
                  <a:extLst>
                    <a:ext uri="{FF2B5EF4-FFF2-40B4-BE49-F238E27FC236}">
                      <a16:creationId xmlns:a16="http://schemas.microsoft.com/office/drawing/2014/main" id="{B8B015CA-32BF-4D48-A59D-7CE63FFD77A4}"/>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370" name="Rechte verbindingslijn 369">
              <a:extLst>
                <a:ext uri="{FF2B5EF4-FFF2-40B4-BE49-F238E27FC236}">
                  <a16:creationId xmlns:a16="http://schemas.microsoft.com/office/drawing/2014/main" id="{45A9DB1D-9874-4475-9691-4EA2EFB1E8FF}"/>
                </a:ext>
              </a:extLst>
            </p:cNvPr>
            <p:cNvCxnSpPr>
              <a:stCxn id="372" idx="2"/>
              <a:endCxn id="396"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371" name="Rechte verbindingslijn 370">
              <a:extLst>
                <a:ext uri="{FF2B5EF4-FFF2-40B4-BE49-F238E27FC236}">
                  <a16:creationId xmlns:a16="http://schemas.microsoft.com/office/drawing/2014/main" id="{5E3B643D-4DB9-482B-AC89-ABC131F9DFFA}"/>
                </a:ext>
              </a:extLst>
            </p:cNvPr>
            <p:cNvCxnSpPr>
              <a:stCxn id="373" idx="3"/>
              <a:endCxn id="409"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372" name="Ovaal 371">
              <a:extLst>
                <a:ext uri="{FF2B5EF4-FFF2-40B4-BE49-F238E27FC236}">
                  <a16:creationId xmlns:a16="http://schemas.microsoft.com/office/drawing/2014/main" id="{4680229C-98FC-4A8F-9CDF-6540C276FB6E}"/>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73" name="Ovaal 372">
              <a:extLst>
                <a:ext uri="{FF2B5EF4-FFF2-40B4-BE49-F238E27FC236}">
                  <a16:creationId xmlns:a16="http://schemas.microsoft.com/office/drawing/2014/main" id="{80A4C1E9-F53A-4C8D-8AD6-AB6704B95113}"/>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74" name="Textfield placeholder">
              <a:extLst>
                <a:ext uri="{FF2B5EF4-FFF2-40B4-BE49-F238E27FC236}">
                  <a16:creationId xmlns:a16="http://schemas.microsoft.com/office/drawing/2014/main" id="{E2527995-D1EE-48C3-8C5F-6FFAC9D6FB25}"/>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375" name="Textfield placeholder">
              <a:extLst>
                <a:ext uri="{FF2B5EF4-FFF2-40B4-BE49-F238E27FC236}">
                  <a16:creationId xmlns:a16="http://schemas.microsoft.com/office/drawing/2014/main" id="{D251BBE3-2CD3-4B44-B066-5B6AC3262A78}"/>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376" name="Ovaal 375">
              <a:extLst>
                <a:ext uri="{FF2B5EF4-FFF2-40B4-BE49-F238E27FC236}">
                  <a16:creationId xmlns:a16="http://schemas.microsoft.com/office/drawing/2014/main" id="{49F8C75B-67A8-4EC6-A313-5E7971845167}"/>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377" name="Ovaal 376">
              <a:extLst>
                <a:ext uri="{FF2B5EF4-FFF2-40B4-BE49-F238E27FC236}">
                  <a16:creationId xmlns:a16="http://schemas.microsoft.com/office/drawing/2014/main" id="{97396152-5FEB-4E08-A431-343DCE668427}"/>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378" name="Ovaal 377">
              <a:extLst>
                <a:ext uri="{FF2B5EF4-FFF2-40B4-BE49-F238E27FC236}">
                  <a16:creationId xmlns:a16="http://schemas.microsoft.com/office/drawing/2014/main" id="{46B22CFC-A15A-4892-BE79-AB9E236F340E}"/>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379" name="Ovaal 378">
              <a:extLst>
                <a:ext uri="{FF2B5EF4-FFF2-40B4-BE49-F238E27FC236}">
                  <a16:creationId xmlns:a16="http://schemas.microsoft.com/office/drawing/2014/main" id="{FE49D267-9FE1-4A55-ABC2-186E1749FDD6}"/>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380" name="Ovaal 379">
              <a:extLst>
                <a:ext uri="{FF2B5EF4-FFF2-40B4-BE49-F238E27FC236}">
                  <a16:creationId xmlns:a16="http://schemas.microsoft.com/office/drawing/2014/main" id="{9314C4FE-919B-4F84-9F78-3157CE761488}"/>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381" name="Textfield placeholder">
              <a:extLst>
                <a:ext uri="{FF2B5EF4-FFF2-40B4-BE49-F238E27FC236}">
                  <a16:creationId xmlns:a16="http://schemas.microsoft.com/office/drawing/2014/main" id="{F8DBDFD8-725D-4416-8E2B-6B79A90387C3}"/>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382" name="Textfield placeholder">
              <a:extLst>
                <a:ext uri="{FF2B5EF4-FFF2-40B4-BE49-F238E27FC236}">
                  <a16:creationId xmlns:a16="http://schemas.microsoft.com/office/drawing/2014/main" id="{1D75C245-4B77-4A70-9CBA-C90F26AA1CB4}"/>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383" name="Textfield placeholder">
              <a:extLst>
                <a:ext uri="{FF2B5EF4-FFF2-40B4-BE49-F238E27FC236}">
                  <a16:creationId xmlns:a16="http://schemas.microsoft.com/office/drawing/2014/main" id="{AB9D58C6-88A9-4BF7-B5BB-2DF8A226DF0B}"/>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384" name="Textfield placeholder">
              <a:extLst>
                <a:ext uri="{FF2B5EF4-FFF2-40B4-BE49-F238E27FC236}">
                  <a16:creationId xmlns:a16="http://schemas.microsoft.com/office/drawing/2014/main" id="{184BFB5C-0218-4176-9795-74817D6749D4}"/>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385" name="Textfield placeholder">
              <a:extLst>
                <a:ext uri="{FF2B5EF4-FFF2-40B4-BE49-F238E27FC236}">
                  <a16:creationId xmlns:a16="http://schemas.microsoft.com/office/drawing/2014/main" id="{65ADFC2D-B2FC-46A4-BA2A-5F29D92B01CD}"/>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386" name="Groep 385">
              <a:extLst>
                <a:ext uri="{FF2B5EF4-FFF2-40B4-BE49-F238E27FC236}">
                  <a16:creationId xmlns:a16="http://schemas.microsoft.com/office/drawing/2014/main" id="{BC07B0F0-C182-41E9-A31A-99C5C0B4580D}"/>
                </a:ext>
              </a:extLst>
            </p:cNvPr>
            <p:cNvGrpSpPr/>
            <p:nvPr userDrawn="1"/>
          </p:nvGrpSpPr>
          <p:grpSpPr>
            <a:xfrm>
              <a:off x="-950342" y="1837957"/>
              <a:ext cx="687412" cy="3758146"/>
              <a:chOff x="-740196" y="1837957"/>
              <a:chExt cx="1374825" cy="3758146"/>
            </a:xfrm>
          </p:grpSpPr>
          <p:sp>
            <p:nvSpPr>
              <p:cNvPr id="387" name="Textfield placeholder">
                <a:extLst>
                  <a:ext uri="{FF2B5EF4-FFF2-40B4-BE49-F238E27FC236}">
                    <a16:creationId xmlns:a16="http://schemas.microsoft.com/office/drawing/2014/main" id="{ACE43FBF-507F-495C-B86E-8B35DBD55150}"/>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388" name="Textfield placeholder">
                <a:extLst>
                  <a:ext uri="{FF2B5EF4-FFF2-40B4-BE49-F238E27FC236}">
                    <a16:creationId xmlns:a16="http://schemas.microsoft.com/office/drawing/2014/main" id="{1FE0A49F-D26F-4135-97FC-205CCEC1111E}"/>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389" name="Textfield placeholder">
                <a:extLst>
                  <a:ext uri="{FF2B5EF4-FFF2-40B4-BE49-F238E27FC236}">
                    <a16:creationId xmlns:a16="http://schemas.microsoft.com/office/drawing/2014/main" id="{C915F2D5-FCD8-4D1B-96DD-F9E54AB95799}"/>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90" name="Textfield placeholder">
                <a:extLst>
                  <a:ext uri="{FF2B5EF4-FFF2-40B4-BE49-F238E27FC236}">
                    <a16:creationId xmlns:a16="http://schemas.microsoft.com/office/drawing/2014/main" id="{656A2990-2D55-40E6-86C1-CD4F235A659A}"/>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391" name="Textfield placeholder">
                <a:extLst>
                  <a:ext uri="{FF2B5EF4-FFF2-40B4-BE49-F238E27FC236}">
                    <a16:creationId xmlns:a16="http://schemas.microsoft.com/office/drawing/2014/main" id="{FBCC6B77-E452-4B3A-94EE-708759E8A799}"/>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392" name="Textfield placeholder">
                <a:extLst>
                  <a:ext uri="{FF2B5EF4-FFF2-40B4-BE49-F238E27FC236}">
                    <a16:creationId xmlns:a16="http://schemas.microsoft.com/office/drawing/2014/main" id="{62387158-D078-4381-8CC4-DAC1A1B07367}"/>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93" name="Textfield placeholder">
                <a:extLst>
                  <a:ext uri="{FF2B5EF4-FFF2-40B4-BE49-F238E27FC236}">
                    <a16:creationId xmlns:a16="http://schemas.microsoft.com/office/drawing/2014/main" id="{EEBA86C9-1B9D-420F-9A6D-6B82A8FCD7E5}"/>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94" name="Textfield placeholder">
                <a:extLst>
                  <a:ext uri="{FF2B5EF4-FFF2-40B4-BE49-F238E27FC236}">
                    <a16:creationId xmlns:a16="http://schemas.microsoft.com/office/drawing/2014/main" id="{C6B9F15B-04CF-4E48-92A3-B8900407880C}"/>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395" name="Textfield placeholder">
                <a:extLst>
                  <a:ext uri="{FF2B5EF4-FFF2-40B4-BE49-F238E27FC236}">
                    <a16:creationId xmlns:a16="http://schemas.microsoft.com/office/drawing/2014/main" id="{057E2103-E345-4130-84DA-A284F64635BD}"/>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spTree>
    <p:extLst>
      <p:ext uri="{BB962C8B-B14F-4D97-AF65-F5344CB8AC3E}">
        <p14:creationId xmlns:p14="http://schemas.microsoft.com/office/powerpoint/2010/main" val="367048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kst Rechts + Object (L)">
    <p:spTree>
      <p:nvGrpSpPr>
        <p:cNvPr id="1" name=""/>
        <p:cNvGrpSpPr/>
        <p:nvPr/>
      </p:nvGrpSpPr>
      <p:grpSpPr>
        <a:xfrm>
          <a:off x="0" y="0"/>
          <a:ext cx="0" cy="0"/>
          <a:chOff x="0" y="0"/>
          <a:chExt cx="0" cy="0"/>
        </a:xfrm>
      </p:grpSpPr>
      <p:sp>
        <p:nvSpPr>
          <p:cNvPr id="148" name="Rechthoek 147"/>
          <p:cNvSpPr/>
          <p:nvPr userDrawn="1"/>
        </p:nvSpPr>
        <p:spPr>
          <a:xfrm>
            <a:off x="0" y="1420101"/>
            <a:ext cx="7545537" cy="455854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tel 1"/>
          <p:cNvSpPr>
            <a:spLocks noGrp="1"/>
          </p:cNvSpPr>
          <p:nvPr>
            <p:ph type="title"/>
          </p:nvPr>
        </p:nvSpPr>
        <p:spPr/>
        <p:txBody>
          <a:bodyPr/>
          <a:lstStyle/>
          <a:p>
            <a:r>
              <a:rPr lang="nl-NL"/>
              <a:t>Klik om stijl te bewerken</a:t>
            </a:r>
            <a:endParaRPr lang="en-GB"/>
          </a:p>
        </p:txBody>
      </p:sp>
      <p:sp>
        <p:nvSpPr>
          <p:cNvPr id="3" name="Tijdelijke aanduiding voor verticale tekst 2"/>
          <p:cNvSpPr>
            <a:spLocks noGrp="1"/>
          </p:cNvSpPr>
          <p:nvPr>
            <p:ph type="body" orient="vert" idx="1"/>
          </p:nvPr>
        </p:nvSpPr>
        <p:spPr>
          <a:xfrm>
            <a:off x="8035604" y="1420099"/>
            <a:ext cx="4159571" cy="4558535"/>
          </a:xfrm>
        </p:spPr>
        <p:txBody>
          <a:bodyPr vert="horz"/>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dirty="0"/>
          </a:p>
        </p:txBody>
      </p:sp>
      <p:sp>
        <p:nvSpPr>
          <p:cNvPr id="4" name="Tijdelijke aanduiding voor datum 3"/>
          <p:cNvSpPr>
            <a:spLocks noGrp="1"/>
          </p:cNvSpPr>
          <p:nvPr>
            <p:ph type="dt" sz="half" idx="10"/>
          </p:nvPr>
        </p:nvSpPr>
        <p:spPr/>
        <p:txBody>
          <a:bodyPr/>
          <a:lstStyle/>
          <a:p>
            <a:fld id="{95BB25A1-A50A-49DB-8093-74A9BEF26DCA}"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9" name="Tijdelijke aanduiding voor inhoud 2"/>
          <p:cNvSpPr>
            <a:spLocks noGrp="1"/>
          </p:cNvSpPr>
          <p:nvPr>
            <p:ph idx="14"/>
          </p:nvPr>
        </p:nvSpPr>
        <p:spPr>
          <a:xfrm>
            <a:off x="384200" y="1641026"/>
            <a:ext cx="6767671" cy="3599714"/>
          </a:xfrm>
          <a:noFill/>
        </p:spPr>
        <p:txBody>
          <a:bodyPr anchor="ctr"/>
          <a:lstStyle>
            <a:lvl1pPr algn="ctr">
              <a:defRPr sz="1200"/>
            </a:lvl1pPr>
          </a:lstStyle>
          <a:p>
            <a:pPr lvl="0"/>
            <a:r>
              <a:rPr lang="nl-NL"/>
              <a:t>Klikken om de tekststijl van het model te bewerken</a:t>
            </a:r>
          </a:p>
        </p:txBody>
      </p:sp>
      <p:sp>
        <p:nvSpPr>
          <p:cNvPr id="11" name="Tekstvak 10"/>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Tekst Rechts + Object (L) + onderschrift</a:t>
            </a:r>
          </a:p>
        </p:txBody>
      </p:sp>
      <p:sp>
        <p:nvSpPr>
          <p:cNvPr id="12" name="Tijdelijke aanduiding voor verticale tekst 2"/>
          <p:cNvSpPr>
            <a:spLocks noGrp="1"/>
          </p:cNvSpPr>
          <p:nvPr>
            <p:ph type="body" orient="vert" idx="15" hasCustomPrompt="1"/>
          </p:nvPr>
        </p:nvSpPr>
        <p:spPr>
          <a:xfrm>
            <a:off x="-9525" y="5476812"/>
            <a:ext cx="7555062" cy="504000"/>
          </a:xfrm>
          <a:solidFill>
            <a:schemeClr val="accent2"/>
          </a:solidFill>
        </p:spPr>
        <p:txBody>
          <a:bodyPr vert="horz" lIns="360000" tIns="36000" rIns="216000" bIns="0" anchor="ctr"/>
          <a:lstStyle>
            <a:lvl1pPr algn="r">
              <a:defRPr sz="1800" b="0">
                <a:solidFill>
                  <a:schemeClr val="tx2"/>
                </a:solidFill>
              </a:defRPr>
            </a:lvl1pPr>
          </a:lstStyle>
          <a:p>
            <a:pPr lvl="0"/>
            <a:r>
              <a:rPr lang="nl-NL" dirty="0"/>
              <a:t>Onderschrift</a:t>
            </a:r>
          </a:p>
        </p:txBody>
      </p:sp>
      <p:grpSp>
        <p:nvGrpSpPr>
          <p:cNvPr id="146" name="Groep 145">
            <a:extLst>
              <a:ext uri="{FF2B5EF4-FFF2-40B4-BE49-F238E27FC236}">
                <a16:creationId xmlns:a16="http://schemas.microsoft.com/office/drawing/2014/main" id="{74BD7321-02B8-4820-BF3F-43F44FEE8DE7}"/>
              </a:ext>
            </a:extLst>
          </p:cNvPr>
          <p:cNvGrpSpPr/>
          <p:nvPr userDrawn="1"/>
        </p:nvGrpSpPr>
        <p:grpSpPr>
          <a:xfrm>
            <a:off x="12353686" y="0"/>
            <a:ext cx="2808312" cy="5805264"/>
            <a:chOff x="-2973833" y="0"/>
            <a:chExt cx="2808312" cy="5805264"/>
          </a:xfrm>
        </p:grpSpPr>
        <p:sp>
          <p:nvSpPr>
            <p:cNvPr id="147" name="Rechthoek 146">
              <a:extLst>
                <a:ext uri="{FF2B5EF4-FFF2-40B4-BE49-F238E27FC236}">
                  <a16:creationId xmlns:a16="http://schemas.microsoft.com/office/drawing/2014/main" id="{4AC18FD9-AB8A-4401-9007-B7924456CA8E}"/>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284" name="Textfield placeholder">
              <a:extLst>
                <a:ext uri="{FF2B5EF4-FFF2-40B4-BE49-F238E27FC236}">
                  <a16:creationId xmlns:a16="http://schemas.microsoft.com/office/drawing/2014/main" id="{C7D287A0-3F2E-46C7-A7EF-ECDAB92DB654}"/>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285" name="Ovaal 284">
              <a:extLst>
                <a:ext uri="{FF2B5EF4-FFF2-40B4-BE49-F238E27FC236}">
                  <a16:creationId xmlns:a16="http://schemas.microsoft.com/office/drawing/2014/main" id="{64CDBB9C-2E20-4F7B-9C21-B0B7BFB62619}"/>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286" name="Ovaal 285">
              <a:extLst>
                <a:ext uri="{FF2B5EF4-FFF2-40B4-BE49-F238E27FC236}">
                  <a16:creationId xmlns:a16="http://schemas.microsoft.com/office/drawing/2014/main" id="{DB40971B-FF79-41E9-8825-3F40731CB9AB}"/>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287" name="Ovaal 286">
              <a:extLst>
                <a:ext uri="{FF2B5EF4-FFF2-40B4-BE49-F238E27FC236}">
                  <a16:creationId xmlns:a16="http://schemas.microsoft.com/office/drawing/2014/main" id="{97712D61-8437-40DC-BA7D-604247B56A88}"/>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288" name="Ovaal 287">
              <a:extLst>
                <a:ext uri="{FF2B5EF4-FFF2-40B4-BE49-F238E27FC236}">
                  <a16:creationId xmlns:a16="http://schemas.microsoft.com/office/drawing/2014/main" id="{EEA5C191-0DAA-45BC-A7BC-28501753D371}"/>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289" name="Textfield placeholder">
              <a:extLst>
                <a:ext uri="{FF2B5EF4-FFF2-40B4-BE49-F238E27FC236}">
                  <a16:creationId xmlns:a16="http://schemas.microsoft.com/office/drawing/2014/main" id="{6BEB7D8B-DCCD-4379-A1E6-7BFF80A5C406}"/>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290" name="Textfield placeholder">
              <a:extLst>
                <a:ext uri="{FF2B5EF4-FFF2-40B4-BE49-F238E27FC236}">
                  <a16:creationId xmlns:a16="http://schemas.microsoft.com/office/drawing/2014/main" id="{C9FDB087-CE61-45C9-8302-74F7B2BFA40F}"/>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291" name="Textfield placeholder">
              <a:extLst>
                <a:ext uri="{FF2B5EF4-FFF2-40B4-BE49-F238E27FC236}">
                  <a16:creationId xmlns:a16="http://schemas.microsoft.com/office/drawing/2014/main" id="{6EC76274-5E53-4C69-A5FC-CB6B26A3A5E2}"/>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292" name="Rechte verbindingslijn 291">
              <a:extLst>
                <a:ext uri="{FF2B5EF4-FFF2-40B4-BE49-F238E27FC236}">
                  <a16:creationId xmlns:a16="http://schemas.microsoft.com/office/drawing/2014/main" id="{F3D94FA6-1B3F-430A-9E6E-2D897F604EBC}"/>
                </a:ext>
              </a:extLst>
            </p:cNvPr>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3" name="Rechte verbindingslijn 292">
              <a:extLst>
                <a:ext uri="{FF2B5EF4-FFF2-40B4-BE49-F238E27FC236}">
                  <a16:creationId xmlns:a16="http://schemas.microsoft.com/office/drawing/2014/main" id="{09BF2EB5-806D-44CA-80ED-9A6154827555}"/>
                </a:ext>
              </a:extLst>
            </p:cNvPr>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4" name="Rechte verbindingslijn 293">
              <a:extLst>
                <a:ext uri="{FF2B5EF4-FFF2-40B4-BE49-F238E27FC236}">
                  <a16:creationId xmlns:a16="http://schemas.microsoft.com/office/drawing/2014/main" id="{F911262C-1F0D-4EE5-9CED-B50ED9921DF7}"/>
                </a:ext>
              </a:extLst>
            </p:cNvPr>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295" name="Picture 3">
              <a:extLst>
                <a:ext uri="{FF2B5EF4-FFF2-40B4-BE49-F238E27FC236}">
                  <a16:creationId xmlns:a16="http://schemas.microsoft.com/office/drawing/2014/main" id="{242B1C8E-6DAD-4D67-A4F7-0BBC795607E7}"/>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6" name="Picture 4">
              <a:extLst>
                <a:ext uri="{FF2B5EF4-FFF2-40B4-BE49-F238E27FC236}">
                  <a16:creationId xmlns:a16="http://schemas.microsoft.com/office/drawing/2014/main" id="{3D0803BF-8184-4214-B26D-C04CFD6D8E59}"/>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97" name="Groep 296">
              <a:extLst>
                <a:ext uri="{FF2B5EF4-FFF2-40B4-BE49-F238E27FC236}">
                  <a16:creationId xmlns:a16="http://schemas.microsoft.com/office/drawing/2014/main" id="{DD23F163-8810-4C8C-86D0-811DD86AB820}"/>
                </a:ext>
              </a:extLst>
            </p:cNvPr>
            <p:cNvGrpSpPr/>
            <p:nvPr userDrawn="1"/>
          </p:nvGrpSpPr>
          <p:grpSpPr>
            <a:xfrm>
              <a:off x="-2098870" y="523279"/>
              <a:ext cx="435437" cy="427699"/>
              <a:chOff x="-1085063" y="758027"/>
              <a:chExt cx="633800" cy="622540"/>
            </a:xfrm>
          </p:grpSpPr>
          <p:sp>
            <p:nvSpPr>
              <p:cNvPr id="338" name="Afgeronde rechthoek 133">
                <a:extLst>
                  <a:ext uri="{FF2B5EF4-FFF2-40B4-BE49-F238E27FC236}">
                    <a16:creationId xmlns:a16="http://schemas.microsoft.com/office/drawing/2014/main" id="{D9E150C9-963E-49CF-9AC0-77C64EF720F9}"/>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339" name="Groep 338">
                <a:extLst>
                  <a:ext uri="{FF2B5EF4-FFF2-40B4-BE49-F238E27FC236}">
                    <a16:creationId xmlns:a16="http://schemas.microsoft.com/office/drawing/2014/main" id="{B1FA6005-1C83-41E7-90AE-E2A5798F49D5}"/>
                  </a:ext>
                </a:extLst>
              </p:cNvPr>
              <p:cNvGrpSpPr/>
              <p:nvPr userDrawn="1"/>
            </p:nvGrpSpPr>
            <p:grpSpPr>
              <a:xfrm>
                <a:off x="-977746" y="864082"/>
                <a:ext cx="419166" cy="410430"/>
                <a:chOff x="6366933" y="309013"/>
                <a:chExt cx="1901295" cy="1861668"/>
              </a:xfrm>
              <a:solidFill>
                <a:schemeClr val="tx1"/>
              </a:solidFill>
            </p:grpSpPr>
            <p:sp>
              <p:nvSpPr>
                <p:cNvPr id="340" name="Rechthoek 339">
                  <a:extLst>
                    <a:ext uri="{FF2B5EF4-FFF2-40B4-BE49-F238E27FC236}">
                      <a16:creationId xmlns:a16="http://schemas.microsoft.com/office/drawing/2014/main" id="{792A823A-6520-4A7F-80C2-306E85429D47}"/>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1" name="Rechthoek 340">
                  <a:extLst>
                    <a:ext uri="{FF2B5EF4-FFF2-40B4-BE49-F238E27FC236}">
                      <a16:creationId xmlns:a16="http://schemas.microsoft.com/office/drawing/2014/main" id="{9E2C425E-B1EB-436E-8D9D-E0536CD60256}"/>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2" name="Rechthoek 341">
                  <a:extLst>
                    <a:ext uri="{FF2B5EF4-FFF2-40B4-BE49-F238E27FC236}">
                      <a16:creationId xmlns:a16="http://schemas.microsoft.com/office/drawing/2014/main" id="{C36B43D2-356A-4858-84D3-34673B01F269}"/>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3" name="Rechthoek 342">
                  <a:extLst>
                    <a:ext uri="{FF2B5EF4-FFF2-40B4-BE49-F238E27FC236}">
                      <a16:creationId xmlns:a16="http://schemas.microsoft.com/office/drawing/2014/main" id="{7C09D5C6-F02A-4980-A953-FF2B33E32992}"/>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4" name="Rechthoek 343">
                  <a:extLst>
                    <a:ext uri="{FF2B5EF4-FFF2-40B4-BE49-F238E27FC236}">
                      <a16:creationId xmlns:a16="http://schemas.microsoft.com/office/drawing/2014/main" id="{6ACD4D3D-3BE2-42A9-A823-E46538C05927}"/>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5" name="Rechthoek 344">
                  <a:extLst>
                    <a:ext uri="{FF2B5EF4-FFF2-40B4-BE49-F238E27FC236}">
                      <a16:creationId xmlns:a16="http://schemas.microsoft.com/office/drawing/2014/main" id="{D65C7DED-A67C-4284-8D02-8F88A601A2CF}"/>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6" name="Rechthoek 345">
                  <a:extLst>
                    <a:ext uri="{FF2B5EF4-FFF2-40B4-BE49-F238E27FC236}">
                      <a16:creationId xmlns:a16="http://schemas.microsoft.com/office/drawing/2014/main" id="{23112437-EBAD-49E4-85FF-E2EEBEE56E2F}"/>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7" name="Rechthoek 346">
                  <a:extLst>
                    <a:ext uri="{FF2B5EF4-FFF2-40B4-BE49-F238E27FC236}">
                      <a16:creationId xmlns:a16="http://schemas.microsoft.com/office/drawing/2014/main" id="{0B2D5A55-7713-4A0A-84C1-8A2CD3CD187D}"/>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8" name="Rechthoek 347">
                  <a:extLst>
                    <a:ext uri="{FF2B5EF4-FFF2-40B4-BE49-F238E27FC236}">
                      <a16:creationId xmlns:a16="http://schemas.microsoft.com/office/drawing/2014/main" id="{8BCCDF4E-9091-4401-8E17-F96200A4861C}"/>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49" name="Rechthoek 348">
                  <a:extLst>
                    <a:ext uri="{FF2B5EF4-FFF2-40B4-BE49-F238E27FC236}">
                      <a16:creationId xmlns:a16="http://schemas.microsoft.com/office/drawing/2014/main" id="{2563BCE7-3F4A-4A29-839D-AACFAF60BBD5}"/>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50" name="Vrije vorm 145">
                  <a:extLst>
                    <a:ext uri="{FF2B5EF4-FFF2-40B4-BE49-F238E27FC236}">
                      <a16:creationId xmlns:a16="http://schemas.microsoft.com/office/drawing/2014/main" id="{809EAFC8-4824-413C-9864-1BCD6F68B309}"/>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298" name="Groep 297">
              <a:extLst>
                <a:ext uri="{FF2B5EF4-FFF2-40B4-BE49-F238E27FC236}">
                  <a16:creationId xmlns:a16="http://schemas.microsoft.com/office/drawing/2014/main" id="{B82FB579-C765-47C5-94E8-982CB7F0F47A}"/>
                </a:ext>
              </a:extLst>
            </p:cNvPr>
            <p:cNvGrpSpPr/>
            <p:nvPr userDrawn="1"/>
          </p:nvGrpSpPr>
          <p:grpSpPr>
            <a:xfrm>
              <a:off x="-2095303" y="1071657"/>
              <a:ext cx="435437" cy="427699"/>
              <a:chOff x="-1845083" y="758027"/>
              <a:chExt cx="633800" cy="622540"/>
            </a:xfrm>
          </p:grpSpPr>
          <p:sp>
            <p:nvSpPr>
              <p:cNvPr id="325" name="Afgeronde rechthoek 120">
                <a:extLst>
                  <a:ext uri="{FF2B5EF4-FFF2-40B4-BE49-F238E27FC236}">
                    <a16:creationId xmlns:a16="http://schemas.microsoft.com/office/drawing/2014/main" id="{C67B8A04-6A58-4818-9895-72EDAC320EAB}"/>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326" name="Groep 325">
                <a:extLst>
                  <a:ext uri="{FF2B5EF4-FFF2-40B4-BE49-F238E27FC236}">
                    <a16:creationId xmlns:a16="http://schemas.microsoft.com/office/drawing/2014/main" id="{3B4D6C8C-22B1-49B7-8B09-0657CBD4138C}"/>
                  </a:ext>
                </a:extLst>
              </p:cNvPr>
              <p:cNvGrpSpPr/>
              <p:nvPr userDrawn="1"/>
            </p:nvGrpSpPr>
            <p:grpSpPr>
              <a:xfrm>
                <a:off x="-1737766" y="864082"/>
                <a:ext cx="419166" cy="410430"/>
                <a:chOff x="3708400" y="309013"/>
                <a:chExt cx="1901295" cy="1861668"/>
              </a:xfrm>
              <a:solidFill>
                <a:schemeClr val="tx1"/>
              </a:solidFill>
            </p:grpSpPr>
            <p:sp>
              <p:nvSpPr>
                <p:cNvPr id="327" name="Rechthoek 326">
                  <a:extLst>
                    <a:ext uri="{FF2B5EF4-FFF2-40B4-BE49-F238E27FC236}">
                      <a16:creationId xmlns:a16="http://schemas.microsoft.com/office/drawing/2014/main" id="{205B63B5-3303-4B22-9627-F647C5284380}"/>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28" name="Rechthoek 327">
                  <a:extLst>
                    <a:ext uri="{FF2B5EF4-FFF2-40B4-BE49-F238E27FC236}">
                      <a16:creationId xmlns:a16="http://schemas.microsoft.com/office/drawing/2014/main" id="{3320FC98-17E0-4806-810D-46D35A0FC3A9}"/>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29" name="Rechthoek 328">
                  <a:extLst>
                    <a:ext uri="{FF2B5EF4-FFF2-40B4-BE49-F238E27FC236}">
                      <a16:creationId xmlns:a16="http://schemas.microsoft.com/office/drawing/2014/main" id="{4DE26CC4-3DAD-4AA5-9567-26FCA5AB4BF3}"/>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0" name="Rechthoek 329">
                  <a:extLst>
                    <a:ext uri="{FF2B5EF4-FFF2-40B4-BE49-F238E27FC236}">
                      <a16:creationId xmlns:a16="http://schemas.microsoft.com/office/drawing/2014/main" id="{F42666AF-AE72-479C-A65B-F54236CD74CD}"/>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1" name="Rechthoek 330">
                  <a:extLst>
                    <a:ext uri="{FF2B5EF4-FFF2-40B4-BE49-F238E27FC236}">
                      <a16:creationId xmlns:a16="http://schemas.microsoft.com/office/drawing/2014/main" id="{BAF3D8CE-3247-47DA-8772-632A1281C3E5}"/>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2" name="Rechthoek 331">
                  <a:extLst>
                    <a:ext uri="{FF2B5EF4-FFF2-40B4-BE49-F238E27FC236}">
                      <a16:creationId xmlns:a16="http://schemas.microsoft.com/office/drawing/2014/main" id="{72F21263-E214-44FD-821E-DA3ACAC44902}"/>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3" name="Rechthoek 332">
                  <a:extLst>
                    <a:ext uri="{FF2B5EF4-FFF2-40B4-BE49-F238E27FC236}">
                      <a16:creationId xmlns:a16="http://schemas.microsoft.com/office/drawing/2014/main" id="{45877AF4-B75D-40A6-9223-455294B5D256}"/>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4" name="Rechthoek 333">
                  <a:extLst>
                    <a:ext uri="{FF2B5EF4-FFF2-40B4-BE49-F238E27FC236}">
                      <a16:creationId xmlns:a16="http://schemas.microsoft.com/office/drawing/2014/main" id="{88B77477-9370-4E9B-830A-B192618696BB}"/>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5" name="Rechthoek 334">
                  <a:extLst>
                    <a:ext uri="{FF2B5EF4-FFF2-40B4-BE49-F238E27FC236}">
                      <a16:creationId xmlns:a16="http://schemas.microsoft.com/office/drawing/2014/main" id="{197B7046-3AFC-459A-8191-1D603C6AD609}"/>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6" name="Rechthoek 335">
                  <a:extLst>
                    <a:ext uri="{FF2B5EF4-FFF2-40B4-BE49-F238E27FC236}">
                      <a16:creationId xmlns:a16="http://schemas.microsoft.com/office/drawing/2014/main" id="{B8AD3400-FF87-480E-903D-B63628E684EC}"/>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337" name="Vrije vorm 132">
                  <a:extLst>
                    <a:ext uri="{FF2B5EF4-FFF2-40B4-BE49-F238E27FC236}">
                      <a16:creationId xmlns:a16="http://schemas.microsoft.com/office/drawing/2014/main" id="{036566B8-A9F4-4D0D-9FF8-1AC80645FF22}"/>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299" name="Rechte verbindingslijn 298">
              <a:extLst>
                <a:ext uri="{FF2B5EF4-FFF2-40B4-BE49-F238E27FC236}">
                  <a16:creationId xmlns:a16="http://schemas.microsoft.com/office/drawing/2014/main" id="{185BE3E9-88FE-4C5B-B5B1-6894F0E30577}"/>
                </a:ext>
              </a:extLst>
            </p:cNvPr>
            <p:cNvCxnSpPr>
              <a:stCxn id="301" idx="2"/>
              <a:endCxn id="325"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300" name="Rechte verbindingslijn 299">
              <a:extLst>
                <a:ext uri="{FF2B5EF4-FFF2-40B4-BE49-F238E27FC236}">
                  <a16:creationId xmlns:a16="http://schemas.microsoft.com/office/drawing/2014/main" id="{D5421474-7359-43B3-A7AF-D0FF419CEFFF}"/>
                </a:ext>
              </a:extLst>
            </p:cNvPr>
            <p:cNvCxnSpPr>
              <a:stCxn id="302" idx="3"/>
              <a:endCxn id="338"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301" name="Ovaal 300">
              <a:extLst>
                <a:ext uri="{FF2B5EF4-FFF2-40B4-BE49-F238E27FC236}">
                  <a16:creationId xmlns:a16="http://schemas.microsoft.com/office/drawing/2014/main" id="{669EE226-3B74-4DFD-8E69-C5AA670773F5}"/>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02" name="Ovaal 301">
              <a:extLst>
                <a:ext uri="{FF2B5EF4-FFF2-40B4-BE49-F238E27FC236}">
                  <a16:creationId xmlns:a16="http://schemas.microsoft.com/office/drawing/2014/main" id="{D3D72392-9563-43C8-A9FB-87A3C37D1837}"/>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03" name="Textfield placeholder">
              <a:extLst>
                <a:ext uri="{FF2B5EF4-FFF2-40B4-BE49-F238E27FC236}">
                  <a16:creationId xmlns:a16="http://schemas.microsoft.com/office/drawing/2014/main" id="{DAC84667-D5C5-4F24-B502-BA0A47A277F6}"/>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latin typeface="+mn-lt"/>
                </a:rPr>
                <a:t>Niveau</a:t>
              </a:r>
              <a:r>
                <a:rPr lang="en-GB" sz="1200" b="0" dirty="0">
                  <a:solidFill>
                    <a:schemeClr val="tx1"/>
                  </a:solidFill>
                  <a:latin typeface="+mn-lt"/>
                </a:rPr>
                <a:t> vooruit</a:t>
              </a:r>
            </a:p>
          </p:txBody>
        </p:sp>
        <p:sp>
          <p:nvSpPr>
            <p:cNvPr id="304" name="Textfield placeholder">
              <a:extLst>
                <a:ext uri="{FF2B5EF4-FFF2-40B4-BE49-F238E27FC236}">
                  <a16:creationId xmlns:a16="http://schemas.microsoft.com/office/drawing/2014/main" id="{8D411E67-CE66-4EB8-B7A8-A941546FB0B3}"/>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latin typeface="+mn-lt"/>
                </a:rPr>
                <a:t>Niveau</a:t>
              </a:r>
              <a:r>
                <a:rPr lang="en-GB" sz="1200" b="0" dirty="0">
                  <a:solidFill>
                    <a:schemeClr val="tx1"/>
                  </a:solidFill>
                  <a:latin typeface="+mn-lt"/>
                </a:rPr>
                <a:t> terug</a:t>
              </a:r>
            </a:p>
          </p:txBody>
        </p:sp>
        <p:sp>
          <p:nvSpPr>
            <p:cNvPr id="305" name="Ovaal 304">
              <a:extLst>
                <a:ext uri="{FF2B5EF4-FFF2-40B4-BE49-F238E27FC236}">
                  <a16:creationId xmlns:a16="http://schemas.microsoft.com/office/drawing/2014/main" id="{F38CF7C1-A1B4-4199-A982-57D7560BA7C7}"/>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306" name="Ovaal 305">
              <a:extLst>
                <a:ext uri="{FF2B5EF4-FFF2-40B4-BE49-F238E27FC236}">
                  <a16:creationId xmlns:a16="http://schemas.microsoft.com/office/drawing/2014/main" id="{755754C4-D7F4-45EF-B16A-F39B280E5CF6}"/>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307" name="Ovaal 306">
              <a:extLst>
                <a:ext uri="{FF2B5EF4-FFF2-40B4-BE49-F238E27FC236}">
                  <a16:creationId xmlns:a16="http://schemas.microsoft.com/office/drawing/2014/main" id="{0FBFAF95-3363-4CFF-8FED-A27ED56025BA}"/>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308" name="Ovaal 307">
              <a:extLst>
                <a:ext uri="{FF2B5EF4-FFF2-40B4-BE49-F238E27FC236}">
                  <a16:creationId xmlns:a16="http://schemas.microsoft.com/office/drawing/2014/main" id="{CA1060D4-4D6E-4C9C-8D47-9F58CBF1E6CE}"/>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309" name="Ovaal 308">
              <a:extLst>
                <a:ext uri="{FF2B5EF4-FFF2-40B4-BE49-F238E27FC236}">
                  <a16:creationId xmlns:a16="http://schemas.microsoft.com/office/drawing/2014/main" id="{926AFA1C-CD2F-4060-8DF6-A3400FB0533D}"/>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310" name="Textfield placeholder">
              <a:extLst>
                <a:ext uri="{FF2B5EF4-FFF2-40B4-BE49-F238E27FC236}">
                  <a16:creationId xmlns:a16="http://schemas.microsoft.com/office/drawing/2014/main" id="{1A42585A-4D43-4D08-8D85-2D9963487216}"/>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311" name="Textfield placeholder">
              <a:extLst>
                <a:ext uri="{FF2B5EF4-FFF2-40B4-BE49-F238E27FC236}">
                  <a16:creationId xmlns:a16="http://schemas.microsoft.com/office/drawing/2014/main" id="{CAB88798-6140-4C10-93D5-35C06387AFA5}"/>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312" name="Textfield placeholder">
              <a:extLst>
                <a:ext uri="{FF2B5EF4-FFF2-40B4-BE49-F238E27FC236}">
                  <a16:creationId xmlns:a16="http://schemas.microsoft.com/office/drawing/2014/main" id="{8EBC99CE-FBE5-4222-94F9-D73E4A1AEF0E}"/>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313" name="Textfield placeholder">
              <a:extLst>
                <a:ext uri="{FF2B5EF4-FFF2-40B4-BE49-F238E27FC236}">
                  <a16:creationId xmlns:a16="http://schemas.microsoft.com/office/drawing/2014/main" id="{481656E1-3105-488E-8A55-430676D1EF0B}"/>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314" name="Textfield placeholder">
              <a:extLst>
                <a:ext uri="{FF2B5EF4-FFF2-40B4-BE49-F238E27FC236}">
                  <a16:creationId xmlns:a16="http://schemas.microsoft.com/office/drawing/2014/main" id="{ABBA9358-4FA3-46D4-B927-389D6C349F8C}"/>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315" name="Groep 314">
              <a:extLst>
                <a:ext uri="{FF2B5EF4-FFF2-40B4-BE49-F238E27FC236}">
                  <a16:creationId xmlns:a16="http://schemas.microsoft.com/office/drawing/2014/main" id="{F6F4F0D2-D79B-445E-834D-A38102D68227}"/>
                </a:ext>
              </a:extLst>
            </p:cNvPr>
            <p:cNvGrpSpPr/>
            <p:nvPr userDrawn="1"/>
          </p:nvGrpSpPr>
          <p:grpSpPr>
            <a:xfrm>
              <a:off x="-950342" y="1837957"/>
              <a:ext cx="687412" cy="3758146"/>
              <a:chOff x="-740196" y="1837957"/>
              <a:chExt cx="1374825" cy="3758146"/>
            </a:xfrm>
          </p:grpSpPr>
          <p:sp>
            <p:nvSpPr>
              <p:cNvPr id="316" name="Textfield placeholder">
                <a:extLst>
                  <a:ext uri="{FF2B5EF4-FFF2-40B4-BE49-F238E27FC236}">
                    <a16:creationId xmlns:a16="http://schemas.microsoft.com/office/drawing/2014/main" id="{6656A5AF-7792-4FC9-B907-6FF8CBA38041}"/>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317" name="Textfield placeholder">
                <a:extLst>
                  <a:ext uri="{FF2B5EF4-FFF2-40B4-BE49-F238E27FC236}">
                    <a16:creationId xmlns:a16="http://schemas.microsoft.com/office/drawing/2014/main" id="{B7B37DB5-4723-4C7B-A182-D3BEF5326351}"/>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318" name="Textfield placeholder">
                <a:extLst>
                  <a:ext uri="{FF2B5EF4-FFF2-40B4-BE49-F238E27FC236}">
                    <a16:creationId xmlns:a16="http://schemas.microsoft.com/office/drawing/2014/main" id="{208B722E-2FF2-40FF-A1F0-872E948B1F7F}"/>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19" name="Textfield placeholder">
                <a:extLst>
                  <a:ext uri="{FF2B5EF4-FFF2-40B4-BE49-F238E27FC236}">
                    <a16:creationId xmlns:a16="http://schemas.microsoft.com/office/drawing/2014/main" id="{E2520ECF-07B9-400A-BDF2-5036AFCC9013}"/>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320" name="Textfield placeholder">
                <a:extLst>
                  <a:ext uri="{FF2B5EF4-FFF2-40B4-BE49-F238E27FC236}">
                    <a16:creationId xmlns:a16="http://schemas.microsoft.com/office/drawing/2014/main" id="{5DE9B19A-3E12-4EEA-B43F-AD51D8620998}"/>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321" name="Textfield placeholder">
                <a:extLst>
                  <a:ext uri="{FF2B5EF4-FFF2-40B4-BE49-F238E27FC236}">
                    <a16:creationId xmlns:a16="http://schemas.microsoft.com/office/drawing/2014/main" id="{4C3835D2-C2A1-405B-A02D-9206734E7570}"/>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22" name="Textfield placeholder">
                <a:extLst>
                  <a:ext uri="{FF2B5EF4-FFF2-40B4-BE49-F238E27FC236}">
                    <a16:creationId xmlns:a16="http://schemas.microsoft.com/office/drawing/2014/main" id="{62816B50-E322-4518-9B86-716534554C7F}"/>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323" name="Textfield placeholder">
                <a:extLst>
                  <a:ext uri="{FF2B5EF4-FFF2-40B4-BE49-F238E27FC236}">
                    <a16:creationId xmlns:a16="http://schemas.microsoft.com/office/drawing/2014/main" id="{670D1E58-6741-4BDF-8E61-F5C7F164D60B}"/>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324" name="Textfield placeholder">
                <a:extLst>
                  <a:ext uri="{FF2B5EF4-FFF2-40B4-BE49-F238E27FC236}">
                    <a16:creationId xmlns:a16="http://schemas.microsoft.com/office/drawing/2014/main" id="{9769BE5A-F10D-4EBC-A4C9-429A528F6DEE}"/>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grpSp>
        <p:nvGrpSpPr>
          <p:cNvPr id="351" name="Groep 350">
            <a:extLst>
              <a:ext uri="{FF2B5EF4-FFF2-40B4-BE49-F238E27FC236}">
                <a16:creationId xmlns:a16="http://schemas.microsoft.com/office/drawing/2014/main" id="{2B6CA9C1-74DA-44E7-A606-CE6255B73A85}"/>
              </a:ext>
            </a:extLst>
          </p:cNvPr>
          <p:cNvGrpSpPr/>
          <p:nvPr userDrawn="1"/>
        </p:nvGrpSpPr>
        <p:grpSpPr>
          <a:xfrm>
            <a:off x="-3216859" y="-26002"/>
            <a:ext cx="3064812" cy="6864697"/>
            <a:chOff x="12363871" y="-26002"/>
            <a:chExt cx="3064812" cy="6864697"/>
          </a:xfrm>
        </p:grpSpPr>
        <p:sp>
          <p:nvSpPr>
            <p:cNvPr id="352" name="Tekstvak 33">
              <a:extLst>
                <a:ext uri="{FF2B5EF4-FFF2-40B4-BE49-F238E27FC236}">
                  <a16:creationId xmlns:a16="http://schemas.microsoft.com/office/drawing/2014/main" id="{5960B6C1-197F-48E9-B54B-B388C12CB8CD}"/>
                </a:ext>
              </a:extLst>
            </p:cNvPr>
            <p:cNvSpPr txBox="1"/>
            <p:nvPr userDrawn="1"/>
          </p:nvSpPr>
          <p:spPr>
            <a:xfrm>
              <a:off x="12537681" y="1001584"/>
              <a:ext cx="2285302" cy="430887"/>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 om een grafiek in te voegen</a:t>
              </a:r>
            </a:p>
          </p:txBody>
        </p:sp>
        <p:sp>
          <p:nvSpPr>
            <p:cNvPr id="353" name="Tekstvak 33">
              <a:extLst>
                <a:ext uri="{FF2B5EF4-FFF2-40B4-BE49-F238E27FC236}">
                  <a16:creationId xmlns:a16="http://schemas.microsoft.com/office/drawing/2014/main" id="{61C8BB9E-D76A-462A-8D57-E7C1DA3E98C4}"/>
                </a:ext>
              </a:extLst>
            </p:cNvPr>
            <p:cNvSpPr txBox="1"/>
            <p:nvPr userDrawn="1"/>
          </p:nvSpPr>
          <p:spPr>
            <a:xfrm>
              <a:off x="12537681"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Selecteer de grafiek die u wilt invoegen en klik op </a:t>
              </a:r>
              <a:r>
                <a:rPr kumimoji="0" lang="nl-NL" sz="1400" b="1"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p>
          </p:txBody>
        </p:sp>
        <p:sp>
          <p:nvSpPr>
            <p:cNvPr id="354" name="Ovaal 353">
              <a:extLst>
                <a:ext uri="{FF2B5EF4-FFF2-40B4-BE49-F238E27FC236}">
                  <a16:creationId xmlns:a16="http://schemas.microsoft.com/office/drawing/2014/main" id="{36CE209A-ADC1-47DE-85AA-34339FA87AF4}"/>
                </a:ext>
              </a:extLst>
            </p:cNvPr>
            <p:cNvSpPr/>
            <p:nvPr userDrawn="1"/>
          </p:nvSpPr>
          <p:spPr>
            <a:xfrm>
              <a:off x="12494665"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355" name="Ovaal 354">
              <a:extLst>
                <a:ext uri="{FF2B5EF4-FFF2-40B4-BE49-F238E27FC236}">
                  <a16:creationId xmlns:a16="http://schemas.microsoft.com/office/drawing/2014/main" id="{26C6DB34-6DA7-4A82-A5B8-BB785D4EF0A5}"/>
                </a:ext>
              </a:extLst>
            </p:cNvPr>
            <p:cNvSpPr/>
            <p:nvPr userDrawn="1"/>
          </p:nvSpPr>
          <p:spPr>
            <a:xfrm>
              <a:off x="12494665"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356" name="Picture 3">
              <a:extLst>
                <a:ext uri="{FF2B5EF4-FFF2-40B4-BE49-F238E27FC236}">
                  <a16:creationId xmlns:a16="http://schemas.microsoft.com/office/drawing/2014/main" id="{BD4DB066-1AD9-41A4-AA8E-6703C408CB2B}"/>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l="4630" t="13535" r="3470" b="13927"/>
            <a:stretch/>
          </p:blipFill>
          <p:spPr bwMode="auto">
            <a:xfrm>
              <a:off x="12535130"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357" name="Picture 3">
              <a:extLst>
                <a:ext uri="{FF2B5EF4-FFF2-40B4-BE49-F238E27FC236}">
                  <a16:creationId xmlns:a16="http://schemas.microsoft.com/office/drawing/2014/main" id="{86F3376F-5F06-4DCD-88AB-8B7017489774}"/>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2604588"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358" name="Tekstvak 357">
              <a:extLst>
                <a:ext uri="{FF2B5EF4-FFF2-40B4-BE49-F238E27FC236}">
                  <a16:creationId xmlns:a16="http://schemas.microsoft.com/office/drawing/2014/main" id="{871B993C-742B-4AB2-B4F3-FEE387A6713A}"/>
                </a:ext>
              </a:extLst>
            </p:cNvPr>
            <p:cNvSpPr txBox="1"/>
            <p:nvPr userDrawn="1"/>
          </p:nvSpPr>
          <p:spPr>
            <a:xfrm>
              <a:off x="12560359" y="4020160"/>
              <a:ext cx="88636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outerShdw blurRad="25400" algn="ctr" rotWithShape="0">
                      <a:prstClr val="white"/>
                    </a:outerShdw>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outerShdw blurRad="25400" algn="ctr" rotWithShape="0">
                    <a:prstClr val="white"/>
                  </a:outerShdw>
                </a:effectLst>
                <a:uLnTx/>
                <a:uFillTx/>
                <a:latin typeface="+mj-lt"/>
              </a:endParaRPr>
            </a:p>
          </p:txBody>
        </p:sp>
        <p:sp>
          <p:nvSpPr>
            <p:cNvPr id="359" name="Rechthoek 358">
              <a:extLst>
                <a:ext uri="{FF2B5EF4-FFF2-40B4-BE49-F238E27FC236}">
                  <a16:creationId xmlns:a16="http://schemas.microsoft.com/office/drawing/2014/main" id="{BD312DA5-7019-4355-8A6F-1D757DEEF370}"/>
                </a:ext>
              </a:extLst>
            </p:cNvPr>
            <p:cNvSpPr/>
            <p:nvPr userDrawn="1"/>
          </p:nvSpPr>
          <p:spPr>
            <a:xfrm>
              <a:off x="12363871"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GRAFIEK INVOEGEN</a:t>
              </a:r>
            </a:p>
          </p:txBody>
        </p:sp>
        <p:cxnSp>
          <p:nvCxnSpPr>
            <p:cNvPr id="360" name="Rechte verbindingslijn 359">
              <a:extLst>
                <a:ext uri="{FF2B5EF4-FFF2-40B4-BE49-F238E27FC236}">
                  <a16:creationId xmlns:a16="http://schemas.microsoft.com/office/drawing/2014/main" id="{F1B152B8-2610-472E-96E9-5D2531BE8967}"/>
                </a:ext>
              </a:extLst>
            </p:cNvPr>
            <p:cNvCxnSpPr/>
            <p:nvPr userDrawn="1"/>
          </p:nvCxnSpPr>
          <p:spPr>
            <a:xfrm>
              <a:off x="12507575" y="33168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1" name="Rechte verbindingslijn 360">
              <a:extLst>
                <a:ext uri="{FF2B5EF4-FFF2-40B4-BE49-F238E27FC236}">
                  <a16:creationId xmlns:a16="http://schemas.microsoft.com/office/drawing/2014/main" id="{DA24FD4C-8616-4968-B03C-6D69DB69D1DC}"/>
                </a:ext>
              </a:extLst>
            </p:cNvPr>
            <p:cNvCxnSpPr/>
            <p:nvPr userDrawn="1"/>
          </p:nvCxnSpPr>
          <p:spPr>
            <a:xfrm>
              <a:off x="12507211" y="2537608"/>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2" name="Rechte verbindingslijn 361">
              <a:extLst>
                <a:ext uri="{FF2B5EF4-FFF2-40B4-BE49-F238E27FC236}">
                  <a16:creationId xmlns:a16="http://schemas.microsoft.com/office/drawing/2014/main" id="{62403BB3-6E39-4F01-BA6E-4A448AA9292C}"/>
                </a:ext>
              </a:extLst>
            </p:cNvPr>
            <p:cNvCxnSpPr/>
            <p:nvPr userDrawn="1"/>
          </p:nvCxnSpPr>
          <p:spPr>
            <a:xfrm>
              <a:off x="12507575" y="4423040"/>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3" name="Rechte verbindingslijn 362">
              <a:extLst>
                <a:ext uri="{FF2B5EF4-FFF2-40B4-BE49-F238E27FC236}">
                  <a16:creationId xmlns:a16="http://schemas.microsoft.com/office/drawing/2014/main" id="{CB966BB1-9FCE-45F4-B90B-BD0E44CF8A47}"/>
                </a:ext>
              </a:extLst>
            </p:cNvPr>
            <p:cNvCxnSpPr/>
            <p:nvPr userDrawn="1"/>
          </p:nvCxnSpPr>
          <p:spPr>
            <a:xfrm>
              <a:off x="12507575" y="6838695"/>
              <a:ext cx="248906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4" name="Rechte verbindingslijn 363">
              <a:extLst>
                <a:ext uri="{FF2B5EF4-FFF2-40B4-BE49-F238E27FC236}">
                  <a16:creationId xmlns:a16="http://schemas.microsoft.com/office/drawing/2014/main" id="{53ECDC71-845C-4B9B-BA89-867142EC5489}"/>
                </a:ext>
              </a:extLst>
            </p:cNvPr>
            <p:cNvCxnSpPr/>
            <p:nvPr userDrawn="1"/>
          </p:nvCxnSpPr>
          <p:spPr>
            <a:xfrm>
              <a:off x="12507211" y="4898666"/>
              <a:ext cx="248906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65" name="Groep 364">
              <a:extLst>
                <a:ext uri="{FF2B5EF4-FFF2-40B4-BE49-F238E27FC236}">
                  <a16:creationId xmlns:a16="http://schemas.microsoft.com/office/drawing/2014/main" id="{E941C7E5-3FF2-4A9F-B6B0-F5A6F2D3592A}"/>
                </a:ext>
              </a:extLst>
            </p:cNvPr>
            <p:cNvGrpSpPr/>
            <p:nvPr userDrawn="1"/>
          </p:nvGrpSpPr>
          <p:grpSpPr>
            <a:xfrm>
              <a:off x="12436353" y="1728359"/>
              <a:ext cx="689983" cy="573048"/>
              <a:chOff x="15171969" y="1587338"/>
              <a:chExt cx="755407" cy="627385"/>
            </a:xfrm>
          </p:grpSpPr>
          <p:sp>
            <p:nvSpPr>
              <p:cNvPr id="404" name="Rechthoek 962">
                <a:extLst>
                  <a:ext uri="{FF2B5EF4-FFF2-40B4-BE49-F238E27FC236}">
                    <a16:creationId xmlns:a16="http://schemas.microsoft.com/office/drawing/2014/main" id="{DA7DC16C-DDDA-47E4-B084-9BA45AA34793}"/>
                  </a:ext>
                </a:extLst>
              </p:cNvPr>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405" name="Groep 404">
                <a:extLst>
                  <a:ext uri="{FF2B5EF4-FFF2-40B4-BE49-F238E27FC236}">
                    <a16:creationId xmlns:a16="http://schemas.microsoft.com/office/drawing/2014/main" id="{AAA9713B-622B-464B-898F-200D99E4257F}"/>
                  </a:ext>
                </a:extLst>
              </p:cNvPr>
              <p:cNvGrpSpPr/>
              <p:nvPr userDrawn="1"/>
            </p:nvGrpSpPr>
            <p:grpSpPr>
              <a:xfrm>
                <a:off x="15281106" y="1587338"/>
                <a:ext cx="511775" cy="560304"/>
                <a:chOff x="10604642" y="969717"/>
                <a:chExt cx="1290643" cy="1427163"/>
              </a:xfrm>
            </p:grpSpPr>
            <p:grpSp>
              <p:nvGrpSpPr>
                <p:cNvPr id="406" name="Group 879">
                  <a:extLst>
                    <a:ext uri="{FF2B5EF4-FFF2-40B4-BE49-F238E27FC236}">
                      <a16:creationId xmlns:a16="http://schemas.microsoft.com/office/drawing/2014/main" id="{E97F02D1-06F5-43CC-B568-43261958C068}"/>
                    </a:ext>
                  </a:extLst>
                </p:cNvPr>
                <p:cNvGrpSpPr>
                  <a:grpSpLocks noChangeAspect="1"/>
                </p:cNvGrpSpPr>
                <p:nvPr userDrawn="1"/>
              </p:nvGrpSpPr>
              <p:grpSpPr bwMode="auto">
                <a:xfrm>
                  <a:off x="10604642" y="969717"/>
                  <a:ext cx="1290643" cy="1427163"/>
                  <a:chOff x="4798" y="1515"/>
                  <a:chExt cx="813" cy="899"/>
                </a:xfrm>
              </p:grpSpPr>
              <p:sp>
                <p:nvSpPr>
                  <p:cNvPr id="408" name="Freeform 886">
                    <a:extLst>
                      <a:ext uri="{FF2B5EF4-FFF2-40B4-BE49-F238E27FC236}">
                        <a16:creationId xmlns:a16="http://schemas.microsoft.com/office/drawing/2014/main" id="{61997601-963A-4B48-89B4-C125F8466344}"/>
                      </a:ext>
                    </a:extLst>
                  </p:cNvPr>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09" name="Rectangle 880">
                    <a:extLst>
                      <a:ext uri="{FF2B5EF4-FFF2-40B4-BE49-F238E27FC236}">
                        <a16:creationId xmlns:a16="http://schemas.microsoft.com/office/drawing/2014/main" id="{880D458C-937A-40D4-B8CF-DFEACB86EFA3}"/>
                      </a:ext>
                    </a:extLst>
                  </p:cNvPr>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10" name="Rectangle 881">
                    <a:extLst>
                      <a:ext uri="{FF2B5EF4-FFF2-40B4-BE49-F238E27FC236}">
                        <a16:creationId xmlns:a16="http://schemas.microsoft.com/office/drawing/2014/main" id="{19CAB519-A782-4775-9988-5BE144210D33}"/>
                      </a:ext>
                    </a:extLst>
                  </p:cNvPr>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11" name="Freeform 882">
                    <a:extLst>
                      <a:ext uri="{FF2B5EF4-FFF2-40B4-BE49-F238E27FC236}">
                        <a16:creationId xmlns:a16="http://schemas.microsoft.com/office/drawing/2014/main" id="{671D9CFA-7694-44A2-9830-4D77919C7398}"/>
                      </a:ext>
                    </a:extLst>
                  </p:cNvPr>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12" name="Freeform 883">
                    <a:extLst>
                      <a:ext uri="{FF2B5EF4-FFF2-40B4-BE49-F238E27FC236}">
                        <a16:creationId xmlns:a16="http://schemas.microsoft.com/office/drawing/2014/main" id="{EA9566B5-4C87-4D60-9F6E-BC18C708A0FC}"/>
                      </a:ext>
                    </a:extLst>
                  </p:cNvPr>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13" name="Freeform 884">
                    <a:extLst>
                      <a:ext uri="{FF2B5EF4-FFF2-40B4-BE49-F238E27FC236}">
                        <a16:creationId xmlns:a16="http://schemas.microsoft.com/office/drawing/2014/main" id="{137F4D72-BCC0-42B5-AA05-CBC01DBA4AB9}"/>
                      </a:ext>
                    </a:extLst>
                  </p:cNvPr>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14" name="Rectangle 885">
                    <a:extLst>
                      <a:ext uri="{FF2B5EF4-FFF2-40B4-BE49-F238E27FC236}">
                        <a16:creationId xmlns:a16="http://schemas.microsoft.com/office/drawing/2014/main" id="{70C4340B-DD24-45FE-AD88-8423979C098D}"/>
                      </a:ext>
                    </a:extLst>
                  </p:cNvPr>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15" name="Rectangle 887">
                    <a:extLst>
                      <a:ext uri="{FF2B5EF4-FFF2-40B4-BE49-F238E27FC236}">
                        <a16:creationId xmlns:a16="http://schemas.microsoft.com/office/drawing/2014/main" id="{2BB778B9-2888-4D59-B90C-F780647E5C6F}"/>
                      </a:ext>
                    </a:extLst>
                  </p:cNvPr>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16" name="Freeform 888">
                    <a:extLst>
                      <a:ext uri="{FF2B5EF4-FFF2-40B4-BE49-F238E27FC236}">
                        <a16:creationId xmlns:a16="http://schemas.microsoft.com/office/drawing/2014/main" id="{C557E622-8AE3-45E8-99A2-638B68875DBE}"/>
                      </a:ext>
                    </a:extLst>
                  </p:cNvPr>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407" name="Vrije vorm 84">
                  <a:extLst>
                    <a:ext uri="{FF2B5EF4-FFF2-40B4-BE49-F238E27FC236}">
                      <a16:creationId xmlns:a16="http://schemas.microsoft.com/office/drawing/2014/main" id="{00D9A10A-00A5-41E0-885A-E5B802EED83E}"/>
                    </a:ext>
                  </a:extLst>
                </p:cNvPr>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366" name="Groep 365">
              <a:extLst>
                <a:ext uri="{FF2B5EF4-FFF2-40B4-BE49-F238E27FC236}">
                  <a16:creationId xmlns:a16="http://schemas.microsoft.com/office/drawing/2014/main" id="{CE03B5FA-EAC1-4114-8259-F96F1E2DFB87}"/>
                </a:ext>
              </a:extLst>
            </p:cNvPr>
            <p:cNvGrpSpPr/>
            <p:nvPr userDrawn="1"/>
          </p:nvGrpSpPr>
          <p:grpSpPr>
            <a:xfrm>
              <a:off x="12548778" y="6003628"/>
              <a:ext cx="1980859" cy="542924"/>
              <a:chOff x="12390702" y="6054428"/>
              <a:chExt cx="1980859" cy="542924"/>
            </a:xfrm>
          </p:grpSpPr>
          <p:sp>
            <p:nvSpPr>
              <p:cNvPr id="370" name="Rechthoek 369">
                <a:extLst>
                  <a:ext uri="{FF2B5EF4-FFF2-40B4-BE49-F238E27FC236}">
                    <a16:creationId xmlns:a16="http://schemas.microsoft.com/office/drawing/2014/main" id="{1F3A0596-688C-44A9-A16B-C4391FA1B186}"/>
                  </a:ext>
                </a:extLst>
              </p:cNvPr>
              <p:cNvSpPr/>
              <p:nvPr/>
            </p:nvSpPr>
            <p:spPr>
              <a:xfrm>
                <a:off x="12402284" y="6054428"/>
                <a:ext cx="1969277" cy="542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371" name="Rechthoek 370">
                <a:extLst>
                  <a:ext uri="{FF2B5EF4-FFF2-40B4-BE49-F238E27FC236}">
                    <a16:creationId xmlns:a16="http://schemas.microsoft.com/office/drawing/2014/main" id="{4831484B-2F9D-4FEF-9B5D-4F0852B13970}"/>
                  </a:ext>
                </a:extLst>
              </p:cNvPr>
              <p:cNvSpPr/>
              <p:nvPr/>
            </p:nvSpPr>
            <p:spPr>
              <a:xfrm>
                <a:off x="12662053" y="6062530"/>
                <a:ext cx="1452642" cy="261610"/>
              </a:xfrm>
              <a:prstGeom prst="rect">
                <a:avLst/>
              </a:prstGeom>
            </p:spPr>
            <p:txBody>
              <a:bodyPr wrap="none">
                <a:spAutoFit/>
              </a:bodyPr>
              <a:lstStyle/>
              <a:p>
                <a:r>
                  <a:rPr lang="en-US" sz="1100" dirty="0">
                    <a:latin typeface="+mn-lt"/>
                    <a:ea typeface="Adobe Heiti Std R" panose="020B0400000000000000" pitchFamily="34" charset="-128"/>
                    <a:cs typeface="Segoe UI Light" panose="020B0502040204020203" pitchFamily="34" charset="0"/>
                  </a:rPr>
                  <a:t>Ander </a:t>
                </a:r>
                <a:r>
                  <a:rPr lang="en-US" sz="1100" dirty="0" err="1">
                    <a:latin typeface="+mn-lt"/>
                    <a:ea typeface="Adobe Heiti Std R" panose="020B0400000000000000" pitchFamily="34" charset="-128"/>
                    <a:cs typeface="Segoe UI Light" panose="020B0502040204020203" pitchFamily="34" charset="0"/>
                  </a:rPr>
                  <a:t>grafiektype</a:t>
                </a:r>
                <a:r>
                  <a:rPr lang="en-US" sz="1100" dirty="0">
                    <a:latin typeface="+mn-lt"/>
                    <a:ea typeface="Adobe Heiti Std R" panose="020B0400000000000000" pitchFamily="34" charset="-128"/>
                    <a:cs typeface="Segoe UI Light" panose="020B0502040204020203" pitchFamily="34" charset="0"/>
                  </a:rPr>
                  <a:t>…</a:t>
                </a:r>
              </a:p>
            </p:txBody>
          </p:sp>
          <p:sp>
            <p:nvSpPr>
              <p:cNvPr id="372" name="Gelijkbenige driehoek 371">
                <a:extLst>
                  <a:ext uri="{FF2B5EF4-FFF2-40B4-BE49-F238E27FC236}">
                    <a16:creationId xmlns:a16="http://schemas.microsoft.com/office/drawing/2014/main" id="{EF1A090E-C39E-4560-B176-18001811CD58}"/>
                  </a:ext>
                </a:extLst>
              </p:cNvPr>
              <p:cNvSpPr/>
              <p:nvPr/>
            </p:nvSpPr>
            <p:spPr>
              <a:xfrm rot="5400000">
                <a:off x="14210471" y="6150144"/>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n-lt"/>
                  <a:ea typeface="Adobe Heiti Std R" panose="020B0400000000000000" pitchFamily="34" charset="-128"/>
                  <a:cs typeface="Segoe UI Light" panose="020B0502040204020203" pitchFamily="34" charset="0"/>
                </a:endParaRPr>
              </a:p>
            </p:txBody>
          </p:sp>
          <p:sp>
            <p:nvSpPr>
              <p:cNvPr id="373" name="Afgeronde rechthoek 50">
                <a:extLst>
                  <a:ext uri="{FF2B5EF4-FFF2-40B4-BE49-F238E27FC236}">
                    <a16:creationId xmlns:a16="http://schemas.microsoft.com/office/drawing/2014/main" id="{F96263B8-3B20-48E6-89CA-8A123AD6F8F3}"/>
                  </a:ext>
                </a:extLst>
              </p:cNvPr>
              <p:cNvSpPr/>
              <p:nvPr/>
            </p:nvSpPr>
            <p:spPr>
              <a:xfrm>
                <a:off x="12390702" y="6322741"/>
                <a:ext cx="1973675" cy="268314"/>
              </a:xfrm>
              <a:prstGeom prst="roundRect">
                <a:avLst/>
              </a:prstGeom>
              <a:gradFill>
                <a:gsLst>
                  <a:gs pos="0">
                    <a:srgbClr val="FFF2BD"/>
                  </a:gs>
                  <a:gs pos="34000">
                    <a:srgbClr val="FFE98B"/>
                  </a:gs>
                  <a:gs pos="78000">
                    <a:srgbClr val="FFF5C9"/>
                  </a:gs>
                  <a:gs pos="59000">
                    <a:srgbClr val="FFE98B"/>
                  </a:gs>
                </a:gsLst>
                <a:lin ang="5400000" scaled="0"/>
              </a:gra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1200" dirty="0" err="1">
                    <a:solidFill>
                      <a:schemeClr val="tx1"/>
                    </a:solidFill>
                    <a:latin typeface="+mn-lt"/>
                    <a:ea typeface="Adobe Heiti Std R" panose="020B0400000000000000" pitchFamily="34" charset="-128"/>
                    <a:cs typeface="Segoe UI Light" panose="020B0502040204020203" pitchFamily="34" charset="0"/>
                  </a:rPr>
                  <a:t>Gegevens</a:t>
                </a:r>
                <a:r>
                  <a:rPr lang="en-US" sz="1200" dirty="0">
                    <a:solidFill>
                      <a:schemeClr val="tx1"/>
                    </a:solidFill>
                    <a:latin typeface="+mn-lt"/>
                    <a:ea typeface="Adobe Heiti Std R" panose="020B0400000000000000" pitchFamily="34" charset="-128"/>
                    <a:cs typeface="Segoe UI Light" panose="020B0502040204020203" pitchFamily="34" charset="0"/>
                  </a:rPr>
                  <a:t> </a:t>
                </a:r>
                <a:r>
                  <a:rPr lang="en-US" sz="1200" dirty="0" err="1">
                    <a:solidFill>
                      <a:schemeClr val="tx1"/>
                    </a:solidFill>
                    <a:latin typeface="+mn-lt"/>
                    <a:ea typeface="Adobe Heiti Std R" panose="020B0400000000000000" pitchFamily="34" charset="-128"/>
                    <a:cs typeface="Segoe UI Light" panose="020B0502040204020203" pitchFamily="34" charset="0"/>
                  </a:rPr>
                  <a:t>bewerken</a:t>
                </a:r>
                <a:r>
                  <a:rPr lang="en-US" sz="1200" dirty="0">
                    <a:solidFill>
                      <a:schemeClr val="tx1"/>
                    </a:solidFill>
                    <a:latin typeface="+mn-lt"/>
                    <a:ea typeface="Adobe Heiti Std R" panose="020B0400000000000000" pitchFamily="34" charset="-128"/>
                    <a:cs typeface="Segoe UI Light" panose="020B0502040204020203" pitchFamily="34" charset="0"/>
                  </a:rPr>
                  <a:t>…</a:t>
                </a:r>
              </a:p>
            </p:txBody>
          </p:sp>
          <p:grpSp>
            <p:nvGrpSpPr>
              <p:cNvPr id="374" name="Groep 373">
                <a:extLst>
                  <a:ext uri="{FF2B5EF4-FFF2-40B4-BE49-F238E27FC236}">
                    <a16:creationId xmlns:a16="http://schemas.microsoft.com/office/drawing/2014/main" id="{A3AC4EF3-61E6-44D7-8256-8603FC8065EC}"/>
                  </a:ext>
                </a:extLst>
              </p:cNvPr>
              <p:cNvGrpSpPr/>
              <p:nvPr/>
            </p:nvGrpSpPr>
            <p:grpSpPr>
              <a:xfrm>
                <a:off x="12461788" y="6100223"/>
                <a:ext cx="204691" cy="170000"/>
                <a:chOff x="15171969" y="1587338"/>
                <a:chExt cx="755407" cy="627385"/>
              </a:xfrm>
            </p:grpSpPr>
            <p:sp>
              <p:nvSpPr>
                <p:cNvPr id="391" name="Rechthoek 962">
                  <a:extLst>
                    <a:ext uri="{FF2B5EF4-FFF2-40B4-BE49-F238E27FC236}">
                      <a16:creationId xmlns:a16="http://schemas.microsoft.com/office/drawing/2014/main" id="{0F8E5E6B-EC9A-43F0-AE92-04ADB4A11F7B}"/>
                    </a:ext>
                  </a:extLst>
                </p:cNvPr>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nvGrpSpPr>
                <p:cNvPr id="392" name="Groep 391">
                  <a:extLst>
                    <a:ext uri="{FF2B5EF4-FFF2-40B4-BE49-F238E27FC236}">
                      <a16:creationId xmlns:a16="http://schemas.microsoft.com/office/drawing/2014/main" id="{DF33A2AA-0CB2-4616-9FA2-07BFC31AB81B}"/>
                    </a:ext>
                  </a:extLst>
                </p:cNvPr>
                <p:cNvGrpSpPr/>
                <p:nvPr userDrawn="1"/>
              </p:nvGrpSpPr>
              <p:grpSpPr>
                <a:xfrm>
                  <a:off x="15281106" y="1587338"/>
                  <a:ext cx="511775" cy="560304"/>
                  <a:chOff x="10604642" y="969717"/>
                  <a:chExt cx="1290643" cy="1427163"/>
                </a:xfrm>
              </p:grpSpPr>
              <p:grpSp>
                <p:nvGrpSpPr>
                  <p:cNvPr id="393" name="Group 879">
                    <a:extLst>
                      <a:ext uri="{FF2B5EF4-FFF2-40B4-BE49-F238E27FC236}">
                        <a16:creationId xmlns:a16="http://schemas.microsoft.com/office/drawing/2014/main" id="{C1AC1269-25B6-4D7E-92A5-030E7D40D774}"/>
                      </a:ext>
                    </a:extLst>
                  </p:cNvPr>
                  <p:cNvGrpSpPr>
                    <a:grpSpLocks noChangeAspect="1"/>
                  </p:cNvGrpSpPr>
                  <p:nvPr userDrawn="1"/>
                </p:nvGrpSpPr>
                <p:grpSpPr bwMode="auto">
                  <a:xfrm>
                    <a:off x="10604642" y="969717"/>
                    <a:ext cx="1290643" cy="1427163"/>
                    <a:chOff x="4798" y="1515"/>
                    <a:chExt cx="813" cy="899"/>
                  </a:xfrm>
                </p:grpSpPr>
                <p:sp>
                  <p:nvSpPr>
                    <p:cNvPr id="395" name="Freeform 886">
                      <a:extLst>
                        <a:ext uri="{FF2B5EF4-FFF2-40B4-BE49-F238E27FC236}">
                          <a16:creationId xmlns:a16="http://schemas.microsoft.com/office/drawing/2014/main" id="{9D7B5040-2BC4-44C8-BAF1-29AF4D7F68DB}"/>
                        </a:ext>
                      </a:extLst>
                    </p:cNvPr>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96" name="Rectangle 880">
                      <a:extLst>
                        <a:ext uri="{FF2B5EF4-FFF2-40B4-BE49-F238E27FC236}">
                          <a16:creationId xmlns:a16="http://schemas.microsoft.com/office/drawing/2014/main" id="{E86533B9-2A92-404F-9441-86549CFF1DAE}"/>
                        </a:ext>
                      </a:extLst>
                    </p:cNvPr>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97" name="Rectangle 881">
                      <a:extLst>
                        <a:ext uri="{FF2B5EF4-FFF2-40B4-BE49-F238E27FC236}">
                          <a16:creationId xmlns:a16="http://schemas.microsoft.com/office/drawing/2014/main" id="{C7DE02F0-7181-4D8E-BB7A-8393928D2ECD}"/>
                        </a:ext>
                      </a:extLst>
                    </p:cNvPr>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98" name="Freeform 882">
                      <a:extLst>
                        <a:ext uri="{FF2B5EF4-FFF2-40B4-BE49-F238E27FC236}">
                          <a16:creationId xmlns:a16="http://schemas.microsoft.com/office/drawing/2014/main" id="{0A40929A-850B-401B-B3C8-CCE914D526A7}"/>
                        </a:ext>
                      </a:extLst>
                    </p:cNvPr>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399" name="Freeform 883">
                      <a:extLst>
                        <a:ext uri="{FF2B5EF4-FFF2-40B4-BE49-F238E27FC236}">
                          <a16:creationId xmlns:a16="http://schemas.microsoft.com/office/drawing/2014/main" id="{8B0BAA1D-04F7-4168-9D3E-53599030386D}"/>
                        </a:ext>
                      </a:extLst>
                    </p:cNvPr>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00" name="Freeform 884">
                      <a:extLst>
                        <a:ext uri="{FF2B5EF4-FFF2-40B4-BE49-F238E27FC236}">
                          <a16:creationId xmlns:a16="http://schemas.microsoft.com/office/drawing/2014/main" id="{CDF81E6E-4977-42B6-8658-B231B01562B5}"/>
                        </a:ext>
                      </a:extLst>
                    </p:cNvPr>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01" name="Rectangle 885">
                      <a:extLst>
                        <a:ext uri="{FF2B5EF4-FFF2-40B4-BE49-F238E27FC236}">
                          <a16:creationId xmlns:a16="http://schemas.microsoft.com/office/drawing/2014/main" id="{BEDA0770-FE14-4363-BE61-D371E8D9366F}"/>
                        </a:ext>
                      </a:extLst>
                    </p:cNvPr>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02" name="Rectangle 887">
                      <a:extLst>
                        <a:ext uri="{FF2B5EF4-FFF2-40B4-BE49-F238E27FC236}">
                          <a16:creationId xmlns:a16="http://schemas.microsoft.com/office/drawing/2014/main" id="{9BE87B69-B969-4FC2-96F7-6204D40FE970}"/>
                        </a:ext>
                      </a:extLst>
                    </p:cNvPr>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sp>
                  <p:nvSpPr>
                    <p:cNvPr id="403" name="Freeform 888">
                      <a:extLst>
                        <a:ext uri="{FF2B5EF4-FFF2-40B4-BE49-F238E27FC236}">
                          <a16:creationId xmlns:a16="http://schemas.microsoft.com/office/drawing/2014/main" id="{137CD917-C000-4945-91FC-8FB4024B1B2A}"/>
                        </a:ext>
                      </a:extLst>
                    </p:cNvPr>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mn-lt"/>
                        <a:ea typeface="Adobe Heiti Std R" panose="020B0400000000000000" pitchFamily="34" charset="-128"/>
                        <a:cs typeface="Segoe UI Light" panose="020B0502040204020203" pitchFamily="34" charset="0"/>
                      </a:endParaRPr>
                    </a:p>
                  </p:txBody>
                </p:sp>
              </p:grpSp>
              <p:sp>
                <p:nvSpPr>
                  <p:cNvPr id="394" name="Vrije vorm 71">
                    <a:extLst>
                      <a:ext uri="{FF2B5EF4-FFF2-40B4-BE49-F238E27FC236}">
                        <a16:creationId xmlns:a16="http://schemas.microsoft.com/office/drawing/2014/main" id="{1D172460-A00A-48B8-BA4C-48BEE249C22A}"/>
                      </a:ext>
                    </a:extLst>
                  </p:cNvPr>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mn-lt"/>
                      <a:ea typeface="Adobe Heiti Std R" panose="020B0400000000000000" pitchFamily="34" charset="-128"/>
                      <a:cs typeface="Segoe UI Light" panose="020B0502040204020203" pitchFamily="34" charset="0"/>
                    </a:endParaRPr>
                  </a:p>
                </p:txBody>
              </p:sp>
            </p:grpSp>
          </p:grpSp>
          <p:grpSp>
            <p:nvGrpSpPr>
              <p:cNvPr id="375" name="Groep 374">
                <a:extLst>
                  <a:ext uri="{FF2B5EF4-FFF2-40B4-BE49-F238E27FC236}">
                    <a16:creationId xmlns:a16="http://schemas.microsoft.com/office/drawing/2014/main" id="{B0A0972E-4D5D-4606-AF39-2A513B82CFB0}"/>
                  </a:ext>
                </a:extLst>
              </p:cNvPr>
              <p:cNvGrpSpPr/>
              <p:nvPr/>
            </p:nvGrpSpPr>
            <p:grpSpPr>
              <a:xfrm>
                <a:off x="12468521" y="6356844"/>
                <a:ext cx="133446" cy="114786"/>
                <a:chOff x="14587469" y="6356844"/>
                <a:chExt cx="133446" cy="114786"/>
              </a:xfrm>
            </p:grpSpPr>
            <p:sp>
              <p:nvSpPr>
                <p:cNvPr id="381" name="Rectangle 6">
                  <a:extLst>
                    <a:ext uri="{FF2B5EF4-FFF2-40B4-BE49-F238E27FC236}">
                      <a16:creationId xmlns:a16="http://schemas.microsoft.com/office/drawing/2014/main" id="{513DD0BD-42CD-4375-A363-53813A396C7A}"/>
                    </a:ext>
                  </a:extLst>
                </p:cNvPr>
                <p:cNvSpPr>
                  <a:spLocks noChangeArrowheads="1"/>
                </p:cNvSpPr>
                <p:nvPr userDrawn="1"/>
              </p:nvSpPr>
              <p:spPr bwMode="auto">
                <a:xfrm>
                  <a:off x="14588703" y="6379233"/>
                  <a:ext cx="130780" cy="91699"/>
                </a:xfrm>
                <a:prstGeom prst="rect">
                  <a:avLst/>
                </a:prstGeom>
                <a:solidFill>
                  <a:srgbClr val="F2FAFF"/>
                </a:solidFill>
                <a:ln w="0">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382" name="Rectangle 15">
                  <a:extLst>
                    <a:ext uri="{FF2B5EF4-FFF2-40B4-BE49-F238E27FC236}">
                      <a16:creationId xmlns:a16="http://schemas.microsoft.com/office/drawing/2014/main" id="{3D977FCC-066F-404C-9AEB-99C58ABDF53F}"/>
                    </a:ext>
                  </a:extLst>
                </p:cNvPr>
                <p:cNvSpPr>
                  <a:spLocks noChangeArrowheads="1"/>
                </p:cNvSpPr>
                <p:nvPr userDrawn="1"/>
              </p:nvSpPr>
              <p:spPr bwMode="auto">
                <a:xfrm>
                  <a:off x="14587469" y="6423761"/>
                  <a:ext cx="131076" cy="1446"/>
                </a:xfrm>
                <a:prstGeom prst="rect">
                  <a:avLst/>
                </a:prstGeom>
                <a:gradFill flip="none" rotWithShape="1">
                  <a:gsLst>
                    <a:gs pos="20000">
                      <a:srgbClr val="0039AC"/>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sp>
              <p:nvSpPr>
                <p:cNvPr id="383" name="Freeform 14">
                  <a:extLst>
                    <a:ext uri="{FF2B5EF4-FFF2-40B4-BE49-F238E27FC236}">
                      <a16:creationId xmlns:a16="http://schemas.microsoft.com/office/drawing/2014/main" id="{DA1A72B4-75C9-4929-9255-452E21D8F457}"/>
                    </a:ext>
                  </a:extLst>
                </p:cNvPr>
                <p:cNvSpPr>
                  <a:spLocks noEditPoints="1"/>
                </p:cNvSpPr>
                <p:nvPr userDrawn="1"/>
              </p:nvSpPr>
              <p:spPr bwMode="auto">
                <a:xfrm>
                  <a:off x="14588901" y="6356844"/>
                  <a:ext cx="132014" cy="114786"/>
                </a:xfrm>
                <a:custGeom>
                  <a:avLst/>
                  <a:gdLst>
                    <a:gd name="T0" fmla="*/ 48 w 5347"/>
                    <a:gd name="T1" fmla="*/ 48 h 4605"/>
                    <a:gd name="T2" fmla="*/ 48 w 5347"/>
                    <a:gd name="T3" fmla="*/ 4557 h 4605"/>
                    <a:gd name="T4" fmla="*/ 5299 w 5347"/>
                    <a:gd name="T5" fmla="*/ 4557 h 4605"/>
                    <a:gd name="T6" fmla="*/ 5299 w 5347"/>
                    <a:gd name="T7" fmla="*/ 48 h 4605"/>
                    <a:gd name="T8" fmla="*/ 48 w 5347"/>
                    <a:gd name="T9" fmla="*/ 48 h 4605"/>
                    <a:gd name="T10" fmla="*/ 0 w 5347"/>
                    <a:gd name="T11" fmla="*/ 0 h 4605"/>
                    <a:gd name="T12" fmla="*/ 5347 w 5347"/>
                    <a:gd name="T13" fmla="*/ 0 h 4605"/>
                    <a:gd name="T14" fmla="*/ 5347 w 5347"/>
                    <a:gd name="T15" fmla="*/ 4605 h 4605"/>
                    <a:gd name="T16" fmla="*/ 0 w 5347"/>
                    <a:gd name="T17" fmla="*/ 4605 h 4605"/>
                    <a:gd name="T18" fmla="*/ 0 w 5347"/>
                    <a:gd name="T19" fmla="*/ 0 h 4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7" h="4605">
                      <a:moveTo>
                        <a:pt x="48" y="48"/>
                      </a:moveTo>
                      <a:lnTo>
                        <a:pt x="48" y="4557"/>
                      </a:lnTo>
                      <a:lnTo>
                        <a:pt x="5299" y="4557"/>
                      </a:lnTo>
                      <a:lnTo>
                        <a:pt x="5299" y="48"/>
                      </a:lnTo>
                      <a:lnTo>
                        <a:pt x="48" y="48"/>
                      </a:lnTo>
                      <a:close/>
                      <a:moveTo>
                        <a:pt x="0" y="0"/>
                      </a:moveTo>
                      <a:lnTo>
                        <a:pt x="5347" y="0"/>
                      </a:lnTo>
                      <a:lnTo>
                        <a:pt x="5347" y="4605"/>
                      </a:lnTo>
                      <a:lnTo>
                        <a:pt x="0" y="4605"/>
                      </a:lnTo>
                      <a:lnTo>
                        <a:pt x="0" y="0"/>
                      </a:lnTo>
                      <a:close/>
                    </a:path>
                  </a:pathLst>
                </a:custGeom>
                <a:solidFill>
                  <a:srgbClr val="2E5D8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cxnSp>
              <p:nvCxnSpPr>
                <p:cNvPr id="384" name="Rechte verbindingslijn 383">
                  <a:extLst>
                    <a:ext uri="{FF2B5EF4-FFF2-40B4-BE49-F238E27FC236}">
                      <a16:creationId xmlns:a16="http://schemas.microsoft.com/office/drawing/2014/main" id="{AC0D50BB-2B5F-41E4-A06E-09F275018D4E}"/>
                    </a:ext>
                  </a:extLst>
                </p:cNvPr>
                <p:cNvCxnSpPr/>
                <p:nvPr userDrawn="1"/>
              </p:nvCxnSpPr>
              <p:spPr>
                <a:xfrm flipH="1">
                  <a:off x="14654334" y="6382168"/>
                  <a:ext cx="162"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85" name="Rechte verbindingslijn 384">
                  <a:extLst>
                    <a:ext uri="{FF2B5EF4-FFF2-40B4-BE49-F238E27FC236}">
                      <a16:creationId xmlns:a16="http://schemas.microsoft.com/office/drawing/2014/main" id="{55C07ED0-7E27-4A6D-B74F-E6DDDF68A3B5}"/>
                    </a:ext>
                  </a:extLst>
                </p:cNvPr>
                <p:cNvCxnSpPr/>
                <p:nvPr userDrawn="1"/>
              </p:nvCxnSpPr>
              <p:spPr>
                <a:xfrm>
                  <a:off x="14689188" y="6382168"/>
                  <a:ext cx="0"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86" name="Rechte verbindingslijn 385">
                  <a:extLst>
                    <a:ext uri="{FF2B5EF4-FFF2-40B4-BE49-F238E27FC236}">
                      <a16:creationId xmlns:a16="http://schemas.microsoft.com/office/drawing/2014/main" id="{2E0D9B71-55CA-46F0-975D-112EEB2A5411}"/>
                    </a:ext>
                  </a:extLst>
                </p:cNvPr>
                <p:cNvCxnSpPr/>
                <p:nvPr userDrawn="1"/>
              </p:nvCxnSpPr>
              <p:spPr>
                <a:xfrm>
                  <a:off x="14619892" y="6382040"/>
                  <a:ext cx="0" cy="8577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87" name="Rechte verbindingslijn 386">
                  <a:extLst>
                    <a:ext uri="{FF2B5EF4-FFF2-40B4-BE49-F238E27FC236}">
                      <a16:creationId xmlns:a16="http://schemas.microsoft.com/office/drawing/2014/main" id="{369F3BF6-AAB8-4120-B68D-1676A165BA1A}"/>
                    </a:ext>
                  </a:extLst>
                </p:cNvPr>
                <p:cNvCxnSpPr/>
                <p:nvPr userDrawn="1"/>
              </p:nvCxnSpPr>
              <p:spPr>
                <a:xfrm flipH="1">
                  <a:off x="14593115" y="6400164"/>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88" name="Rechte verbindingslijn 387">
                  <a:extLst>
                    <a:ext uri="{FF2B5EF4-FFF2-40B4-BE49-F238E27FC236}">
                      <a16:creationId xmlns:a16="http://schemas.microsoft.com/office/drawing/2014/main" id="{10ED7469-7F80-4947-A6DB-929E80DEDA05}"/>
                    </a:ext>
                  </a:extLst>
                </p:cNvPr>
                <p:cNvCxnSpPr/>
                <p:nvPr userDrawn="1"/>
              </p:nvCxnSpPr>
              <p:spPr>
                <a:xfrm flipH="1">
                  <a:off x="14593115" y="6423860"/>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89" name="Rechte verbindingslijn 388">
                  <a:extLst>
                    <a:ext uri="{FF2B5EF4-FFF2-40B4-BE49-F238E27FC236}">
                      <a16:creationId xmlns:a16="http://schemas.microsoft.com/office/drawing/2014/main" id="{B45CC02B-954D-432F-A9C7-0044376A02E5}"/>
                    </a:ext>
                  </a:extLst>
                </p:cNvPr>
                <p:cNvCxnSpPr/>
                <p:nvPr userDrawn="1"/>
              </p:nvCxnSpPr>
              <p:spPr>
                <a:xfrm flipH="1">
                  <a:off x="14593115" y="6447556"/>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390" name="Rectangle 13">
                  <a:extLst>
                    <a:ext uri="{FF2B5EF4-FFF2-40B4-BE49-F238E27FC236}">
                      <a16:creationId xmlns:a16="http://schemas.microsoft.com/office/drawing/2014/main" id="{ECD93E7C-5A67-4D62-AEAC-C641EE017DEF}"/>
                    </a:ext>
                  </a:extLst>
                </p:cNvPr>
                <p:cNvSpPr>
                  <a:spLocks noChangeArrowheads="1"/>
                </p:cNvSpPr>
                <p:nvPr userDrawn="1"/>
              </p:nvSpPr>
              <p:spPr bwMode="auto">
                <a:xfrm>
                  <a:off x="14590283" y="6359138"/>
                  <a:ext cx="128657" cy="19347"/>
                </a:xfrm>
                <a:prstGeom prst="rect">
                  <a:avLst/>
                </a:prstGeom>
                <a:gradFill flip="none" rotWithShape="1">
                  <a:gsLst>
                    <a:gs pos="0">
                      <a:srgbClr val="1929FF"/>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800" dirty="0">
                    <a:latin typeface="+mn-lt"/>
                    <a:ea typeface="Adobe Heiti Std R" panose="020B0400000000000000" pitchFamily="34" charset="-128"/>
                    <a:cs typeface="Segoe UI Light" panose="020B0502040204020203" pitchFamily="34" charset="0"/>
                  </a:endParaRPr>
                </a:p>
              </p:txBody>
            </p:sp>
          </p:grpSp>
          <p:grpSp>
            <p:nvGrpSpPr>
              <p:cNvPr id="376" name="Groep 375">
                <a:extLst>
                  <a:ext uri="{FF2B5EF4-FFF2-40B4-BE49-F238E27FC236}">
                    <a16:creationId xmlns:a16="http://schemas.microsoft.com/office/drawing/2014/main" id="{9A4BCC3E-C777-43B4-88E3-9BA220381766}"/>
                  </a:ext>
                </a:extLst>
              </p:cNvPr>
              <p:cNvGrpSpPr/>
              <p:nvPr/>
            </p:nvGrpSpPr>
            <p:grpSpPr>
              <a:xfrm>
                <a:off x="12529899" y="6421402"/>
                <a:ext cx="97399" cy="97399"/>
                <a:chOff x="14546483" y="5323041"/>
                <a:chExt cx="242460" cy="242460"/>
              </a:xfrm>
            </p:grpSpPr>
            <p:sp>
              <p:nvSpPr>
                <p:cNvPr id="377" name="Rechthoek 376">
                  <a:extLst>
                    <a:ext uri="{FF2B5EF4-FFF2-40B4-BE49-F238E27FC236}">
                      <a16:creationId xmlns:a16="http://schemas.microsoft.com/office/drawing/2014/main" id="{1109BE75-D0E2-493C-9C4B-A0B110E13CDA}"/>
                    </a:ext>
                  </a:extLst>
                </p:cNvPr>
                <p:cNvSpPr/>
                <p:nvPr userDrawn="1"/>
              </p:nvSpPr>
              <p:spPr>
                <a:xfrm>
                  <a:off x="14546483" y="5323041"/>
                  <a:ext cx="242460" cy="242460"/>
                </a:xfrm>
                <a:prstGeom prst="rect">
                  <a:avLst/>
                </a:prstGeom>
                <a:solidFill>
                  <a:schemeClr val="bg1"/>
                </a:solidFill>
                <a:ln w="6350">
                  <a:solidFill>
                    <a:srgbClr val="00A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nvGrpSpPr>
                <p:cNvPr id="378" name="Groep 377">
                  <a:extLst>
                    <a:ext uri="{FF2B5EF4-FFF2-40B4-BE49-F238E27FC236}">
                      <a16:creationId xmlns:a16="http://schemas.microsoft.com/office/drawing/2014/main" id="{3F360B7D-C540-43D4-94FF-4A80247C5C6C}"/>
                    </a:ext>
                  </a:extLst>
                </p:cNvPr>
                <p:cNvGrpSpPr/>
                <p:nvPr/>
              </p:nvGrpSpPr>
              <p:grpSpPr>
                <a:xfrm>
                  <a:off x="14568035" y="5357818"/>
                  <a:ext cx="199836" cy="175226"/>
                  <a:chOff x="14559757" y="5349611"/>
                  <a:chExt cx="216392" cy="191641"/>
                </a:xfrm>
              </p:grpSpPr>
              <p:sp>
                <p:nvSpPr>
                  <p:cNvPr id="379" name="Parallellogram 378">
                    <a:extLst>
                      <a:ext uri="{FF2B5EF4-FFF2-40B4-BE49-F238E27FC236}">
                        <a16:creationId xmlns:a16="http://schemas.microsoft.com/office/drawing/2014/main" id="{462C2A28-1D6B-4362-AB50-8F6629A13645}"/>
                      </a:ext>
                    </a:extLst>
                  </p:cNvPr>
                  <p:cNvSpPr/>
                  <p:nvPr/>
                </p:nvSpPr>
                <p:spPr>
                  <a:xfrm>
                    <a:off x="14559757" y="5369222"/>
                    <a:ext cx="214316" cy="147762"/>
                  </a:xfrm>
                  <a:prstGeom prst="parallelogram">
                    <a:avLst>
                      <a:gd name="adj" fmla="val 93909"/>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sp>
                <p:nvSpPr>
                  <p:cNvPr id="380" name="Parallellogram 379">
                    <a:extLst>
                      <a:ext uri="{FF2B5EF4-FFF2-40B4-BE49-F238E27FC236}">
                        <a16:creationId xmlns:a16="http://schemas.microsoft.com/office/drawing/2014/main" id="{DA0AEE7F-DC55-45BD-8F55-58249DA49FF8}"/>
                      </a:ext>
                    </a:extLst>
                  </p:cNvPr>
                  <p:cNvSpPr/>
                  <p:nvPr/>
                </p:nvSpPr>
                <p:spPr>
                  <a:xfrm flipH="1">
                    <a:off x="14561833" y="5349611"/>
                    <a:ext cx="214316" cy="191641"/>
                  </a:xfrm>
                  <a:prstGeom prst="parallelogram">
                    <a:avLst>
                      <a:gd name="adj" fmla="val 68946"/>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a typeface="Adobe Heiti Std R" panose="020B0400000000000000" pitchFamily="34" charset="-128"/>
                      <a:cs typeface="Segoe UI Light" panose="020B0502040204020203" pitchFamily="34" charset="0"/>
                    </a:endParaRPr>
                  </a:p>
                </p:txBody>
              </p:sp>
            </p:grpSp>
          </p:grpSp>
        </p:grpSp>
        <p:sp>
          <p:nvSpPr>
            <p:cNvPr id="367" name="Tekstvak 33">
              <a:extLst>
                <a:ext uri="{FF2B5EF4-FFF2-40B4-BE49-F238E27FC236}">
                  <a16:creationId xmlns:a16="http://schemas.microsoft.com/office/drawing/2014/main" id="{2060F20D-944E-44F9-A715-539863EA4594}"/>
                </a:ext>
              </a:extLst>
            </p:cNvPr>
            <p:cNvSpPr txBox="1"/>
            <p:nvPr userDrawn="1"/>
          </p:nvSpPr>
          <p:spPr>
            <a:xfrm>
              <a:off x="12537681" y="5123358"/>
              <a:ext cx="2588841" cy="646331"/>
            </a:xfrm>
            <a:prstGeom prst="rect">
              <a:avLst/>
            </a:prstGeom>
            <a:noFill/>
          </p:spPr>
          <p:txBody>
            <a:bodyPr wrap="square" lIns="0" tIns="0" rIns="0" bIns="0" rtlCol="0" anchor="t">
              <a:spAutoFit/>
            </a:bodyPr>
            <a:lstStyle>
              <a:defPPr>
                <a:defRPr lang="nl-NL"/>
              </a:defPPr>
              <a:lvl1pPr marR="0" lvl="0" indent="0" defTabSz="914400" fontAlgn="auto">
                <a:lnSpc>
                  <a:spcPct val="100000"/>
                </a:lnSpc>
                <a:spcBef>
                  <a:spcPts val="0"/>
                </a:spcBef>
                <a:spcAft>
                  <a:spcPts val="0"/>
                </a:spcAft>
                <a:buClrTx/>
                <a:buSzTx/>
                <a:buFontTx/>
                <a:buNone/>
                <a:tabLst/>
                <a:defRPr kumimoji="0" sz="1400" b="0" i="0" u="none" strike="noStrike" kern="0" cap="none" spc="0" normalizeH="0" baseline="0">
                  <a:ln>
                    <a:noFill/>
                  </a:ln>
                  <a:effectLst/>
                  <a:uLnTx/>
                  <a:uFillTx/>
                  <a:latin typeface="Calibri"/>
                  <a:ea typeface="Tahoma" pitchFamily="34" charset="0"/>
                  <a:cs typeface="Arial" pitchFamily="34" charset="0"/>
                </a:defRPr>
              </a:lvl1pPr>
            </a:lstStyle>
            <a:p>
              <a:pPr lvl="0"/>
              <a:r>
                <a:rPr lang="nl-NL" dirty="0">
                  <a:solidFill>
                    <a:schemeClr val="tx2"/>
                  </a:solidFill>
                  <a:latin typeface="+mn-lt"/>
                </a:rPr>
                <a:t>Selecteer de grafiek, klik op de rechter muisknop en kies </a:t>
              </a:r>
              <a:r>
                <a:rPr lang="nl-NL" b="0" dirty="0">
                  <a:solidFill>
                    <a:schemeClr val="tx2"/>
                  </a:solidFill>
                  <a:latin typeface="+mj-lt"/>
                </a:rPr>
                <a:t>‘Gegevens bewerken’</a:t>
              </a:r>
            </a:p>
          </p:txBody>
        </p:sp>
        <p:sp>
          <p:nvSpPr>
            <p:cNvPr id="368" name="Rechthoek 367">
              <a:extLst>
                <a:ext uri="{FF2B5EF4-FFF2-40B4-BE49-F238E27FC236}">
                  <a16:creationId xmlns:a16="http://schemas.microsoft.com/office/drawing/2014/main" id="{7F3E7C69-CDF8-4E33-8FB4-5608BB1A33F4}"/>
                </a:ext>
              </a:extLst>
            </p:cNvPr>
            <p:cNvSpPr/>
            <p:nvPr userDrawn="1"/>
          </p:nvSpPr>
          <p:spPr>
            <a:xfrm>
              <a:off x="12363871" y="4529047"/>
              <a:ext cx="2584447" cy="3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lvl="0"/>
              <a:r>
                <a:rPr lang="nl-NL" sz="1600" b="0" dirty="0">
                  <a:solidFill>
                    <a:schemeClr val="tx2"/>
                  </a:solidFill>
                  <a:latin typeface="+mj-lt"/>
                </a:rPr>
                <a:t>GRAFIEK BEWERKEN</a:t>
              </a:r>
            </a:p>
          </p:txBody>
        </p:sp>
        <p:pic>
          <p:nvPicPr>
            <p:cNvPr id="369" name="Picture 3">
              <a:extLst>
                <a:ext uri="{FF2B5EF4-FFF2-40B4-BE49-F238E27FC236}">
                  <a16:creationId xmlns:a16="http://schemas.microsoft.com/office/drawing/2014/main" id="{8F2FB3B1-D1FC-4947-B32F-66B755CA35BF}"/>
                </a:ext>
              </a:extLst>
            </p:cNvPr>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4262557" y="6394752"/>
              <a:ext cx="158644" cy="256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336584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kst slide met 2 kolommen (geel)">
    <p:spTree>
      <p:nvGrpSpPr>
        <p:cNvPr id="1" name=""/>
        <p:cNvGrpSpPr/>
        <p:nvPr/>
      </p:nvGrpSpPr>
      <p:grpSpPr>
        <a:xfrm>
          <a:off x="0" y="0"/>
          <a:ext cx="0" cy="0"/>
          <a:chOff x="0" y="0"/>
          <a:chExt cx="0" cy="0"/>
        </a:xfrm>
      </p:grpSpPr>
      <p:sp>
        <p:nvSpPr>
          <p:cNvPr id="2" name="Titel 1"/>
          <p:cNvSpPr>
            <a:spLocks noGrp="1"/>
          </p:cNvSpPr>
          <p:nvPr>
            <p:ph type="title"/>
          </p:nvPr>
        </p:nvSpPr>
        <p:spPr>
          <a:xfrm>
            <a:off x="471685" y="192001"/>
            <a:ext cx="11250000" cy="648000"/>
          </a:xfrm>
        </p:spPr>
        <p:txBody>
          <a:bodyPr/>
          <a:lstStyle/>
          <a:p>
            <a:r>
              <a:rPr lang="nl-NL"/>
              <a:t>Klik om stijl te bewerken</a:t>
            </a:r>
            <a:endParaRPr lang="en-GB"/>
          </a:p>
        </p:txBody>
      </p:sp>
      <p:sp>
        <p:nvSpPr>
          <p:cNvPr id="4" name="Tijdelijke aanduiding voor datum 3"/>
          <p:cNvSpPr>
            <a:spLocks noGrp="1"/>
          </p:cNvSpPr>
          <p:nvPr>
            <p:ph type="dt" sz="half" idx="10"/>
          </p:nvPr>
        </p:nvSpPr>
        <p:spPr/>
        <p:txBody>
          <a:bodyPr/>
          <a:lstStyle/>
          <a:p>
            <a:fld id="{8C691BA4-382A-4DDE-AF84-975A92CDEC3D}"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Tekst in 2 kolommen</a:t>
            </a:r>
          </a:p>
        </p:txBody>
      </p:sp>
      <p:sp>
        <p:nvSpPr>
          <p:cNvPr id="7" name="Tijdelijke aanduiding voor tekst 6"/>
          <p:cNvSpPr>
            <a:spLocks noGrp="1"/>
          </p:cNvSpPr>
          <p:nvPr>
            <p:ph type="body" sz="quarter" idx="21"/>
          </p:nvPr>
        </p:nvSpPr>
        <p:spPr>
          <a:xfrm>
            <a:off x="471685" y="1420813"/>
            <a:ext cx="5364000" cy="4556446"/>
          </a:xfrm>
        </p:spPr>
        <p:txBody>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3" name="Tijdelijke aanduiding voor tekst 12"/>
          <p:cNvSpPr>
            <a:spLocks noGrp="1"/>
          </p:cNvSpPr>
          <p:nvPr>
            <p:ph type="body" sz="quarter" idx="23"/>
          </p:nvPr>
        </p:nvSpPr>
        <p:spPr>
          <a:xfrm>
            <a:off x="6343998" y="1420813"/>
            <a:ext cx="5364000" cy="4556446"/>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grpSp>
        <p:nvGrpSpPr>
          <p:cNvPr id="179" name="Groep 178">
            <a:extLst>
              <a:ext uri="{FF2B5EF4-FFF2-40B4-BE49-F238E27FC236}">
                <a16:creationId xmlns:a16="http://schemas.microsoft.com/office/drawing/2014/main" id="{B4F83672-4793-4DAC-81CB-A376E0BC883C}"/>
              </a:ext>
            </a:extLst>
          </p:cNvPr>
          <p:cNvGrpSpPr/>
          <p:nvPr userDrawn="1"/>
        </p:nvGrpSpPr>
        <p:grpSpPr>
          <a:xfrm>
            <a:off x="-2973833" y="0"/>
            <a:ext cx="2808312" cy="5805264"/>
            <a:chOff x="-2973833" y="0"/>
            <a:chExt cx="2808312" cy="5805264"/>
          </a:xfrm>
        </p:grpSpPr>
        <p:sp>
          <p:nvSpPr>
            <p:cNvPr id="180" name="Rechthoek 179">
              <a:extLst>
                <a:ext uri="{FF2B5EF4-FFF2-40B4-BE49-F238E27FC236}">
                  <a16:creationId xmlns:a16="http://schemas.microsoft.com/office/drawing/2014/main" id="{56B59DDE-DDB9-49EE-B7E5-CF1DF1A39E25}"/>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181" name="Textfield placeholder">
              <a:extLst>
                <a:ext uri="{FF2B5EF4-FFF2-40B4-BE49-F238E27FC236}">
                  <a16:creationId xmlns:a16="http://schemas.microsoft.com/office/drawing/2014/main" id="{345F001E-ECBA-48BB-B84E-C80182BD4EBB}"/>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182" name="Ovaal 181">
              <a:extLst>
                <a:ext uri="{FF2B5EF4-FFF2-40B4-BE49-F238E27FC236}">
                  <a16:creationId xmlns:a16="http://schemas.microsoft.com/office/drawing/2014/main" id="{61D2C285-D11C-4A48-9D8C-0084DF77AAA5}"/>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183" name="Ovaal 182">
              <a:extLst>
                <a:ext uri="{FF2B5EF4-FFF2-40B4-BE49-F238E27FC236}">
                  <a16:creationId xmlns:a16="http://schemas.microsoft.com/office/drawing/2014/main" id="{6EB2FA6D-E5E9-4826-A92B-5354006E8363}"/>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184" name="Ovaal 183">
              <a:extLst>
                <a:ext uri="{FF2B5EF4-FFF2-40B4-BE49-F238E27FC236}">
                  <a16:creationId xmlns:a16="http://schemas.microsoft.com/office/drawing/2014/main" id="{D7DC24D6-E7BC-4473-9707-E9D54F969619}"/>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185" name="Ovaal 184">
              <a:extLst>
                <a:ext uri="{FF2B5EF4-FFF2-40B4-BE49-F238E27FC236}">
                  <a16:creationId xmlns:a16="http://schemas.microsoft.com/office/drawing/2014/main" id="{30246820-A8FF-42FC-B55C-03F4FD58F137}"/>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186" name="Textfield placeholder">
              <a:extLst>
                <a:ext uri="{FF2B5EF4-FFF2-40B4-BE49-F238E27FC236}">
                  <a16:creationId xmlns:a16="http://schemas.microsoft.com/office/drawing/2014/main" id="{A82FB6F4-B48D-44D5-9E9D-A388F92C2CB7}"/>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187" name="Textfield placeholder">
              <a:extLst>
                <a:ext uri="{FF2B5EF4-FFF2-40B4-BE49-F238E27FC236}">
                  <a16:creationId xmlns:a16="http://schemas.microsoft.com/office/drawing/2014/main" id="{329FDC98-2997-4921-A202-449DC6FF346F}"/>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188" name="Textfield placeholder">
              <a:extLst>
                <a:ext uri="{FF2B5EF4-FFF2-40B4-BE49-F238E27FC236}">
                  <a16:creationId xmlns:a16="http://schemas.microsoft.com/office/drawing/2014/main" id="{B6BE7B91-567D-4D3D-864F-5F97DF28A987}"/>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189" name="Rechte verbindingslijn 188">
              <a:extLst>
                <a:ext uri="{FF2B5EF4-FFF2-40B4-BE49-F238E27FC236}">
                  <a16:creationId xmlns:a16="http://schemas.microsoft.com/office/drawing/2014/main" id="{60805347-3BDE-4172-BD49-A9DCD33E72A8}"/>
                </a:ext>
              </a:extLst>
            </p:cNvPr>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0" name="Rechte verbindingslijn 189">
              <a:extLst>
                <a:ext uri="{FF2B5EF4-FFF2-40B4-BE49-F238E27FC236}">
                  <a16:creationId xmlns:a16="http://schemas.microsoft.com/office/drawing/2014/main" id="{4C629F66-6A91-4E96-A052-6E5115DE21EF}"/>
                </a:ext>
              </a:extLst>
            </p:cNvPr>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1" name="Rechte verbindingslijn 190">
              <a:extLst>
                <a:ext uri="{FF2B5EF4-FFF2-40B4-BE49-F238E27FC236}">
                  <a16:creationId xmlns:a16="http://schemas.microsoft.com/office/drawing/2014/main" id="{6E2374BE-CC26-4A4E-BF82-8A90782BFCA0}"/>
                </a:ext>
              </a:extLst>
            </p:cNvPr>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92" name="Picture 3">
              <a:extLst>
                <a:ext uri="{FF2B5EF4-FFF2-40B4-BE49-F238E27FC236}">
                  <a16:creationId xmlns:a16="http://schemas.microsoft.com/office/drawing/2014/main" id="{43A1A940-516B-42DB-A2DF-B9EA71677304}"/>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3" name="Picture 4">
              <a:extLst>
                <a:ext uri="{FF2B5EF4-FFF2-40B4-BE49-F238E27FC236}">
                  <a16:creationId xmlns:a16="http://schemas.microsoft.com/office/drawing/2014/main" id="{BDDA6164-64B7-4857-98C2-0C31DA2DE828}"/>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94" name="Groep 193">
              <a:extLst>
                <a:ext uri="{FF2B5EF4-FFF2-40B4-BE49-F238E27FC236}">
                  <a16:creationId xmlns:a16="http://schemas.microsoft.com/office/drawing/2014/main" id="{EAC48BF9-4135-46B2-BAAD-94C04418A1F2}"/>
                </a:ext>
              </a:extLst>
            </p:cNvPr>
            <p:cNvGrpSpPr/>
            <p:nvPr userDrawn="1"/>
          </p:nvGrpSpPr>
          <p:grpSpPr>
            <a:xfrm>
              <a:off x="-2098870" y="523279"/>
              <a:ext cx="435437" cy="427699"/>
              <a:chOff x="-1085063" y="758027"/>
              <a:chExt cx="633800" cy="622540"/>
            </a:xfrm>
          </p:grpSpPr>
          <p:sp>
            <p:nvSpPr>
              <p:cNvPr id="235" name="Afgeronde rechthoek 133">
                <a:extLst>
                  <a:ext uri="{FF2B5EF4-FFF2-40B4-BE49-F238E27FC236}">
                    <a16:creationId xmlns:a16="http://schemas.microsoft.com/office/drawing/2014/main" id="{EED846B0-BED3-4E0D-B4B4-C49B7F333530}"/>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236" name="Groep 235">
                <a:extLst>
                  <a:ext uri="{FF2B5EF4-FFF2-40B4-BE49-F238E27FC236}">
                    <a16:creationId xmlns:a16="http://schemas.microsoft.com/office/drawing/2014/main" id="{0D7551FF-C16B-4E92-912E-3BDDDE425DE2}"/>
                  </a:ext>
                </a:extLst>
              </p:cNvPr>
              <p:cNvGrpSpPr/>
              <p:nvPr userDrawn="1"/>
            </p:nvGrpSpPr>
            <p:grpSpPr>
              <a:xfrm>
                <a:off x="-977746" y="864082"/>
                <a:ext cx="419166" cy="410430"/>
                <a:chOff x="6366933" y="309013"/>
                <a:chExt cx="1901295" cy="1861668"/>
              </a:xfrm>
              <a:solidFill>
                <a:schemeClr val="tx1"/>
              </a:solidFill>
            </p:grpSpPr>
            <p:sp>
              <p:nvSpPr>
                <p:cNvPr id="237" name="Rechthoek 236">
                  <a:extLst>
                    <a:ext uri="{FF2B5EF4-FFF2-40B4-BE49-F238E27FC236}">
                      <a16:creationId xmlns:a16="http://schemas.microsoft.com/office/drawing/2014/main" id="{41AABEDF-46F8-4F2F-8E69-FC0E509BCD43}"/>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8" name="Rechthoek 237">
                  <a:extLst>
                    <a:ext uri="{FF2B5EF4-FFF2-40B4-BE49-F238E27FC236}">
                      <a16:creationId xmlns:a16="http://schemas.microsoft.com/office/drawing/2014/main" id="{46C1C53A-57CF-4EBE-B7D5-7AA9BEA7A8A1}"/>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9" name="Rechthoek 238">
                  <a:extLst>
                    <a:ext uri="{FF2B5EF4-FFF2-40B4-BE49-F238E27FC236}">
                      <a16:creationId xmlns:a16="http://schemas.microsoft.com/office/drawing/2014/main" id="{4A788E72-4D8D-41BF-81D8-C01B32B5E63F}"/>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0" name="Rechthoek 239">
                  <a:extLst>
                    <a:ext uri="{FF2B5EF4-FFF2-40B4-BE49-F238E27FC236}">
                      <a16:creationId xmlns:a16="http://schemas.microsoft.com/office/drawing/2014/main" id="{ED9DB13A-2358-4A6F-906D-BE80C87602A5}"/>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1" name="Rechthoek 240">
                  <a:extLst>
                    <a:ext uri="{FF2B5EF4-FFF2-40B4-BE49-F238E27FC236}">
                      <a16:creationId xmlns:a16="http://schemas.microsoft.com/office/drawing/2014/main" id="{0F0B2C3C-C538-40A6-B1F8-A04A5193DE13}"/>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2" name="Rechthoek 241">
                  <a:extLst>
                    <a:ext uri="{FF2B5EF4-FFF2-40B4-BE49-F238E27FC236}">
                      <a16:creationId xmlns:a16="http://schemas.microsoft.com/office/drawing/2014/main" id="{96F8A2E4-21BB-421A-BF71-F70A01335F1A}"/>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3" name="Rechthoek 242">
                  <a:extLst>
                    <a:ext uri="{FF2B5EF4-FFF2-40B4-BE49-F238E27FC236}">
                      <a16:creationId xmlns:a16="http://schemas.microsoft.com/office/drawing/2014/main" id="{B593CAD2-ADDA-48D1-A789-41C14D5F957A}"/>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4" name="Rechthoek 243">
                  <a:extLst>
                    <a:ext uri="{FF2B5EF4-FFF2-40B4-BE49-F238E27FC236}">
                      <a16:creationId xmlns:a16="http://schemas.microsoft.com/office/drawing/2014/main" id="{9E370E81-5F5E-45CC-AAA7-BC36DFCFD931}"/>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5" name="Rechthoek 244">
                  <a:extLst>
                    <a:ext uri="{FF2B5EF4-FFF2-40B4-BE49-F238E27FC236}">
                      <a16:creationId xmlns:a16="http://schemas.microsoft.com/office/drawing/2014/main" id="{8090C6A7-FB9D-4A35-8DF5-A7D562BF5AF1}"/>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6" name="Rechthoek 245">
                  <a:extLst>
                    <a:ext uri="{FF2B5EF4-FFF2-40B4-BE49-F238E27FC236}">
                      <a16:creationId xmlns:a16="http://schemas.microsoft.com/office/drawing/2014/main" id="{480ABEEB-C319-4961-B4A6-DE0FDEE5FB5A}"/>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7" name="Vrije vorm 145">
                  <a:extLst>
                    <a:ext uri="{FF2B5EF4-FFF2-40B4-BE49-F238E27FC236}">
                      <a16:creationId xmlns:a16="http://schemas.microsoft.com/office/drawing/2014/main" id="{D9156611-0CD1-4A9F-B8FF-F43C1D277690}"/>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195" name="Groep 194">
              <a:extLst>
                <a:ext uri="{FF2B5EF4-FFF2-40B4-BE49-F238E27FC236}">
                  <a16:creationId xmlns:a16="http://schemas.microsoft.com/office/drawing/2014/main" id="{1EA8B708-9177-446C-9741-82C7A93291F6}"/>
                </a:ext>
              </a:extLst>
            </p:cNvPr>
            <p:cNvGrpSpPr/>
            <p:nvPr userDrawn="1"/>
          </p:nvGrpSpPr>
          <p:grpSpPr>
            <a:xfrm>
              <a:off x="-2095303" y="1071657"/>
              <a:ext cx="435437" cy="427699"/>
              <a:chOff x="-1845083" y="758027"/>
              <a:chExt cx="633800" cy="622540"/>
            </a:xfrm>
          </p:grpSpPr>
          <p:sp>
            <p:nvSpPr>
              <p:cNvPr id="222" name="Afgeronde rechthoek 120">
                <a:extLst>
                  <a:ext uri="{FF2B5EF4-FFF2-40B4-BE49-F238E27FC236}">
                    <a16:creationId xmlns:a16="http://schemas.microsoft.com/office/drawing/2014/main" id="{B5129AAB-EA98-4F01-AD1C-9E58FC76409F}"/>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223" name="Groep 222">
                <a:extLst>
                  <a:ext uri="{FF2B5EF4-FFF2-40B4-BE49-F238E27FC236}">
                    <a16:creationId xmlns:a16="http://schemas.microsoft.com/office/drawing/2014/main" id="{CB5D7646-5D82-4F60-AE5B-FA7CA7751165}"/>
                  </a:ext>
                </a:extLst>
              </p:cNvPr>
              <p:cNvGrpSpPr/>
              <p:nvPr userDrawn="1"/>
            </p:nvGrpSpPr>
            <p:grpSpPr>
              <a:xfrm>
                <a:off x="-1737766" y="864082"/>
                <a:ext cx="419166" cy="410430"/>
                <a:chOff x="3708400" y="309013"/>
                <a:chExt cx="1901295" cy="1861668"/>
              </a:xfrm>
              <a:solidFill>
                <a:schemeClr val="tx1"/>
              </a:solidFill>
            </p:grpSpPr>
            <p:sp>
              <p:nvSpPr>
                <p:cNvPr id="224" name="Rechthoek 223">
                  <a:extLst>
                    <a:ext uri="{FF2B5EF4-FFF2-40B4-BE49-F238E27FC236}">
                      <a16:creationId xmlns:a16="http://schemas.microsoft.com/office/drawing/2014/main" id="{880C2665-75C7-4BF7-B1C9-E6CB80988222}"/>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5" name="Rechthoek 224">
                  <a:extLst>
                    <a:ext uri="{FF2B5EF4-FFF2-40B4-BE49-F238E27FC236}">
                      <a16:creationId xmlns:a16="http://schemas.microsoft.com/office/drawing/2014/main" id="{BF2AAFEF-2182-463A-9670-B7B1A05C2D28}"/>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6" name="Rechthoek 225">
                  <a:extLst>
                    <a:ext uri="{FF2B5EF4-FFF2-40B4-BE49-F238E27FC236}">
                      <a16:creationId xmlns:a16="http://schemas.microsoft.com/office/drawing/2014/main" id="{1D81E571-C9A5-404B-968E-77BB7840D7A5}"/>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7" name="Rechthoek 226">
                  <a:extLst>
                    <a:ext uri="{FF2B5EF4-FFF2-40B4-BE49-F238E27FC236}">
                      <a16:creationId xmlns:a16="http://schemas.microsoft.com/office/drawing/2014/main" id="{5C54EE29-04AA-4B95-8888-AE88623593B1}"/>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8" name="Rechthoek 227">
                  <a:extLst>
                    <a:ext uri="{FF2B5EF4-FFF2-40B4-BE49-F238E27FC236}">
                      <a16:creationId xmlns:a16="http://schemas.microsoft.com/office/drawing/2014/main" id="{18073981-04E2-449D-912A-862C9ADBFE51}"/>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9" name="Rechthoek 228">
                  <a:extLst>
                    <a:ext uri="{FF2B5EF4-FFF2-40B4-BE49-F238E27FC236}">
                      <a16:creationId xmlns:a16="http://schemas.microsoft.com/office/drawing/2014/main" id="{FC2AB5BE-9F5A-4AFB-83FB-A905FE461F50}"/>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0" name="Rechthoek 229">
                  <a:extLst>
                    <a:ext uri="{FF2B5EF4-FFF2-40B4-BE49-F238E27FC236}">
                      <a16:creationId xmlns:a16="http://schemas.microsoft.com/office/drawing/2014/main" id="{30119F5D-647E-4E1C-9E29-EF27BF141073}"/>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1" name="Rechthoek 230">
                  <a:extLst>
                    <a:ext uri="{FF2B5EF4-FFF2-40B4-BE49-F238E27FC236}">
                      <a16:creationId xmlns:a16="http://schemas.microsoft.com/office/drawing/2014/main" id="{4006D2BF-94B7-4288-8957-5CC9141B842A}"/>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2" name="Rechthoek 231">
                  <a:extLst>
                    <a:ext uri="{FF2B5EF4-FFF2-40B4-BE49-F238E27FC236}">
                      <a16:creationId xmlns:a16="http://schemas.microsoft.com/office/drawing/2014/main" id="{5E8B7B49-0918-42B3-81C0-D96C9F9ECDD5}"/>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3" name="Rechthoek 232">
                  <a:extLst>
                    <a:ext uri="{FF2B5EF4-FFF2-40B4-BE49-F238E27FC236}">
                      <a16:creationId xmlns:a16="http://schemas.microsoft.com/office/drawing/2014/main" id="{3AE367B0-D8C3-4049-B0F5-A77BAC6B7CCB}"/>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4" name="Vrije vorm 132">
                  <a:extLst>
                    <a:ext uri="{FF2B5EF4-FFF2-40B4-BE49-F238E27FC236}">
                      <a16:creationId xmlns:a16="http://schemas.microsoft.com/office/drawing/2014/main" id="{75BA5C6C-2893-4771-BD39-13F2F8F513E1}"/>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196" name="Rechte verbindingslijn 195">
              <a:extLst>
                <a:ext uri="{FF2B5EF4-FFF2-40B4-BE49-F238E27FC236}">
                  <a16:creationId xmlns:a16="http://schemas.microsoft.com/office/drawing/2014/main" id="{2D04F23C-512C-4A50-9261-3F3AB4E53EE1}"/>
                </a:ext>
              </a:extLst>
            </p:cNvPr>
            <p:cNvCxnSpPr>
              <a:stCxn id="198" idx="2"/>
              <a:endCxn id="222"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7" name="Rechte verbindingslijn 196">
              <a:extLst>
                <a:ext uri="{FF2B5EF4-FFF2-40B4-BE49-F238E27FC236}">
                  <a16:creationId xmlns:a16="http://schemas.microsoft.com/office/drawing/2014/main" id="{FA5E6868-5C11-4F8E-BF0F-6EDC9BEF2AAD}"/>
                </a:ext>
              </a:extLst>
            </p:cNvPr>
            <p:cNvCxnSpPr>
              <a:stCxn id="199" idx="3"/>
              <a:endCxn id="235"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98" name="Ovaal 197">
              <a:extLst>
                <a:ext uri="{FF2B5EF4-FFF2-40B4-BE49-F238E27FC236}">
                  <a16:creationId xmlns:a16="http://schemas.microsoft.com/office/drawing/2014/main" id="{2FFAFD10-0127-4617-B88B-3BCD27D8762D}"/>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99" name="Ovaal 198">
              <a:extLst>
                <a:ext uri="{FF2B5EF4-FFF2-40B4-BE49-F238E27FC236}">
                  <a16:creationId xmlns:a16="http://schemas.microsoft.com/office/drawing/2014/main" id="{FB9438F1-A477-44B7-8039-D44D2361FDE9}"/>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00" name="Textfield placeholder">
              <a:extLst>
                <a:ext uri="{FF2B5EF4-FFF2-40B4-BE49-F238E27FC236}">
                  <a16:creationId xmlns:a16="http://schemas.microsoft.com/office/drawing/2014/main" id="{22351F74-2DAA-4423-B809-207B5CB3C49E}"/>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201" name="Textfield placeholder">
              <a:extLst>
                <a:ext uri="{FF2B5EF4-FFF2-40B4-BE49-F238E27FC236}">
                  <a16:creationId xmlns:a16="http://schemas.microsoft.com/office/drawing/2014/main" id="{0062F922-4AF8-4DF8-BA83-239586FDE483}"/>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202" name="Ovaal 201">
              <a:extLst>
                <a:ext uri="{FF2B5EF4-FFF2-40B4-BE49-F238E27FC236}">
                  <a16:creationId xmlns:a16="http://schemas.microsoft.com/office/drawing/2014/main" id="{4357E607-DF33-422A-B42F-29612AA48054}"/>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203" name="Ovaal 202">
              <a:extLst>
                <a:ext uri="{FF2B5EF4-FFF2-40B4-BE49-F238E27FC236}">
                  <a16:creationId xmlns:a16="http://schemas.microsoft.com/office/drawing/2014/main" id="{53F0CC5A-FFC3-4250-9903-9EE4070EA47B}"/>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204" name="Ovaal 203">
              <a:extLst>
                <a:ext uri="{FF2B5EF4-FFF2-40B4-BE49-F238E27FC236}">
                  <a16:creationId xmlns:a16="http://schemas.microsoft.com/office/drawing/2014/main" id="{EE58D107-C1FC-4E11-B871-0112DC08C469}"/>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205" name="Ovaal 204">
              <a:extLst>
                <a:ext uri="{FF2B5EF4-FFF2-40B4-BE49-F238E27FC236}">
                  <a16:creationId xmlns:a16="http://schemas.microsoft.com/office/drawing/2014/main" id="{B1870245-58CB-4BB8-9FD7-13B0443E5879}"/>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206" name="Ovaal 205">
              <a:extLst>
                <a:ext uri="{FF2B5EF4-FFF2-40B4-BE49-F238E27FC236}">
                  <a16:creationId xmlns:a16="http://schemas.microsoft.com/office/drawing/2014/main" id="{6D17D85C-13AB-4431-96F6-E4594CB3D91B}"/>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207" name="Textfield placeholder">
              <a:extLst>
                <a:ext uri="{FF2B5EF4-FFF2-40B4-BE49-F238E27FC236}">
                  <a16:creationId xmlns:a16="http://schemas.microsoft.com/office/drawing/2014/main" id="{8E79CC3E-7262-47BD-B3A3-A063E276197D}"/>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08" name="Textfield placeholder">
              <a:extLst>
                <a:ext uri="{FF2B5EF4-FFF2-40B4-BE49-F238E27FC236}">
                  <a16:creationId xmlns:a16="http://schemas.microsoft.com/office/drawing/2014/main" id="{DC433892-FB78-4863-81C3-251F676FDBF0}"/>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09" name="Textfield placeholder">
              <a:extLst>
                <a:ext uri="{FF2B5EF4-FFF2-40B4-BE49-F238E27FC236}">
                  <a16:creationId xmlns:a16="http://schemas.microsoft.com/office/drawing/2014/main" id="{278EA40F-FB80-47ED-A732-07C2EBD109FD}"/>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10" name="Textfield placeholder">
              <a:extLst>
                <a:ext uri="{FF2B5EF4-FFF2-40B4-BE49-F238E27FC236}">
                  <a16:creationId xmlns:a16="http://schemas.microsoft.com/office/drawing/2014/main" id="{31661A34-8FEC-48CD-9D8C-3E4CFA8246EE}"/>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211" name="Textfield placeholder">
              <a:extLst>
                <a:ext uri="{FF2B5EF4-FFF2-40B4-BE49-F238E27FC236}">
                  <a16:creationId xmlns:a16="http://schemas.microsoft.com/office/drawing/2014/main" id="{799EEDDB-2B20-4D77-8E39-2637EC2B0248}"/>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12" name="Groep 211">
              <a:extLst>
                <a:ext uri="{FF2B5EF4-FFF2-40B4-BE49-F238E27FC236}">
                  <a16:creationId xmlns:a16="http://schemas.microsoft.com/office/drawing/2014/main" id="{167D3B8D-80E1-4ED4-8233-BFB0B5A77F60}"/>
                </a:ext>
              </a:extLst>
            </p:cNvPr>
            <p:cNvGrpSpPr/>
            <p:nvPr userDrawn="1"/>
          </p:nvGrpSpPr>
          <p:grpSpPr>
            <a:xfrm>
              <a:off x="-950342" y="1837957"/>
              <a:ext cx="687412" cy="3758146"/>
              <a:chOff x="-740196" y="1837957"/>
              <a:chExt cx="1374825" cy="3758146"/>
            </a:xfrm>
          </p:grpSpPr>
          <p:sp>
            <p:nvSpPr>
              <p:cNvPr id="213" name="Textfield placeholder">
                <a:extLst>
                  <a:ext uri="{FF2B5EF4-FFF2-40B4-BE49-F238E27FC236}">
                    <a16:creationId xmlns:a16="http://schemas.microsoft.com/office/drawing/2014/main" id="{7E82E73F-59EA-43F4-8C96-F4AAA213B8A4}"/>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14" name="Textfield placeholder">
                <a:extLst>
                  <a:ext uri="{FF2B5EF4-FFF2-40B4-BE49-F238E27FC236}">
                    <a16:creationId xmlns:a16="http://schemas.microsoft.com/office/drawing/2014/main" id="{FE85B239-1762-46F3-AEA5-E6AF7CA1EB10}"/>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15" name="Textfield placeholder">
                <a:extLst>
                  <a:ext uri="{FF2B5EF4-FFF2-40B4-BE49-F238E27FC236}">
                    <a16:creationId xmlns:a16="http://schemas.microsoft.com/office/drawing/2014/main" id="{49ED74E1-4E9C-4110-8787-D8CA1818714E}"/>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6" name="Textfield placeholder">
                <a:extLst>
                  <a:ext uri="{FF2B5EF4-FFF2-40B4-BE49-F238E27FC236}">
                    <a16:creationId xmlns:a16="http://schemas.microsoft.com/office/drawing/2014/main" id="{FCB243E4-7A88-44F9-B968-C5838AE7CAEC}"/>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217" name="Textfield placeholder">
                <a:extLst>
                  <a:ext uri="{FF2B5EF4-FFF2-40B4-BE49-F238E27FC236}">
                    <a16:creationId xmlns:a16="http://schemas.microsoft.com/office/drawing/2014/main" id="{49997D55-2C0B-40AC-ADE0-F40E3D02E6B4}"/>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218" name="Textfield placeholder">
                <a:extLst>
                  <a:ext uri="{FF2B5EF4-FFF2-40B4-BE49-F238E27FC236}">
                    <a16:creationId xmlns:a16="http://schemas.microsoft.com/office/drawing/2014/main" id="{83C7537A-DB69-400B-8BEA-52C4037C18AC}"/>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9" name="Textfield placeholder">
                <a:extLst>
                  <a:ext uri="{FF2B5EF4-FFF2-40B4-BE49-F238E27FC236}">
                    <a16:creationId xmlns:a16="http://schemas.microsoft.com/office/drawing/2014/main" id="{C5114959-B1B5-4AE9-B667-3863C392A195}"/>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20" name="Textfield placeholder">
                <a:extLst>
                  <a:ext uri="{FF2B5EF4-FFF2-40B4-BE49-F238E27FC236}">
                    <a16:creationId xmlns:a16="http://schemas.microsoft.com/office/drawing/2014/main" id="{B5E7F061-2CA3-4866-B127-A14FED8E0901}"/>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221" name="Textfield placeholder">
                <a:extLst>
                  <a:ext uri="{FF2B5EF4-FFF2-40B4-BE49-F238E27FC236}">
                    <a16:creationId xmlns:a16="http://schemas.microsoft.com/office/drawing/2014/main" id="{C565C1E1-D928-482F-B963-BAAD0F41DA60}"/>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spTree>
    <p:extLst>
      <p:ext uri="{BB962C8B-B14F-4D97-AF65-F5344CB8AC3E}">
        <p14:creationId xmlns:p14="http://schemas.microsoft.com/office/powerpoint/2010/main" val="3379913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kst slide met 3 kolommen (geel)">
    <p:spTree>
      <p:nvGrpSpPr>
        <p:cNvPr id="1" name=""/>
        <p:cNvGrpSpPr/>
        <p:nvPr/>
      </p:nvGrpSpPr>
      <p:grpSpPr>
        <a:xfrm>
          <a:off x="0" y="0"/>
          <a:ext cx="0" cy="0"/>
          <a:chOff x="0" y="0"/>
          <a:chExt cx="0" cy="0"/>
        </a:xfrm>
      </p:grpSpPr>
      <p:sp>
        <p:nvSpPr>
          <p:cNvPr id="2" name="Titel 1"/>
          <p:cNvSpPr>
            <a:spLocks noGrp="1"/>
          </p:cNvSpPr>
          <p:nvPr>
            <p:ph type="title"/>
          </p:nvPr>
        </p:nvSpPr>
        <p:spPr>
          <a:xfrm>
            <a:off x="471685" y="192001"/>
            <a:ext cx="11250000" cy="648000"/>
          </a:xfrm>
        </p:spPr>
        <p:txBody>
          <a:bodyPr/>
          <a:lstStyle/>
          <a:p>
            <a:r>
              <a:rPr lang="nl-NL" dirty="0"/>
              <a:t>Klik om stijl te bewerken</a:t>
            </a:r>
            <a:endParaRPr lang="en-GB" dirty="0"/>
          </a:p>
        </p:txBody>
      </p:sp>
      <p:sp>
        <p:nvSpPr>
          <p:cNvPr id="4" name="Tijdelijke aanduiding voor datum 3"/>
          <p:cNvSpPr>
            <a:spLocks noGrp="1"/>
          </p:cNvSpPr>
          <p:nvPr>
            <p:ph type="dt" sz="half" idx="10"/>
          </p:nvPr>
        </p:nvSpPr>
        <p:spPr/>
        <p:txBody>
          <a:bodyPr/>
          <a:lstStyle/>
          <a:p>
            <a:fld id="{42A8F65E-034E-4B55-80DC-CC02C4FE57BD}" type="datetime4">
              <a:rPr lang="en-GB" smtClean="0"/>
              <a:t>29 May 2020</a:t>
            </a:fld>
            <a:endParaRPr lang="en-GB" dirty="0"/>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dirty="0"/>
          </a:p>
        </p:txBody>
      </p:sp>
      <p:sp>
        <p:nvSpPr>
          <p:cNvPr id="10" name="Tekstvak 9"/>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Tekst in 3 kolommen</a:t>
            </a:r>
          </a:p>
        </p:txBody>
      </p:sp>
      <p:sp>
        <p:nvSpPr>
          <p:cNvPr id="7" name="Tijdelijke aanduiding voor tekst 6"/>
          <p:cNvSpPr>
            <a:spLocks noGrp="1"/>
          </p:cNvSpPr>
          <p:nvPr>
            <p:ph type="body" sz="quarter" idx="21"/>
          </p:nvPr>
        </p:nvSpPr>
        <p:spPr>
          <a:xfrm>
            <a:off x="471685" y="1420813"/>
            <a:ext cx="3420000" cy="4555104"/>
          </a:xfrm>
        </p:spPr>
        <p:txBody>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1" name="Tijdelijke aanduiding voor tekst 10"/>
          <p:cNvSpPr>
            <a:spLocks noGrp="1"/>
          </p:cNvSpPr>
          <p:nvPr>
            <p:ph type="body" sz="quarter" idx="22"/>
          </p:nvPr>
        </p:nvSpPr>
        <p:spPr>
          <a:xfrm>
            <a:off x="4387294" y="1420813"/>
            <a:ext cx="3420000" cy="4555114"/>
          </a:xfrm>
        </p:spPr>
        <p:txBody>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3" name="Tijdelijke aanduiding voor tekst 12"/>
          <p:cNvSpPr>
            <a:spLocks noGrp="1"/>
          </p:cNvSpPr>
          <p:nvPr>
            <p:ph type="body" sz="quarter" idx="23"/>
          </p:nvPr>
        </p:nvSpPr>
        <p:spPr>
          <a:xfrm>
            <a:off x="8302902" y="1420812"/>
            <a:ext cx="3420000" cy="455511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grpSp>
        <p:nvGrpSpPr>
          <p:cNvPr id="179" name="Groep 178">
            <a:extLst>
              <a:ext uri="{FF2B5EF4-FFF2-40B4-BE49-F238E27FC236}">
                <a16:creationId xmlns:a16="http://schemas.microsoft.com/office/drawing/2014/main" id="{5EFDCF9A-7E15-4B18-A954-1200CA16B023}"/>
              </a:ext>
            </a:extLst>
          </p:cNvPr>
          <p:cNvGrpSpPr/>
          <p:nvPr userDrawn="1"/>
        </p:nvGrpSpPr>
        <p:grpSpPr>
          <a:xfrm>
            <a:off x="-2973833" y="0"/>
            <a:ext cx="2808312" cy="5805264"/>
            <a:chOff x="-2973833" y="0"/>
            <a:chExt cx="2808312" cy="5805264"/>
          </a:xfrm>
        </p:grpSpPr>
        <p:sp>
          <p:nvSpPr>
            <p:cNvPr id="180" name="Rechthoek 179">
              <a:extLst>
                <a:ext uri="{FF2B5EF4-FFF2-40B4-BE49-F238E27FC236}">
                  <a16:creationId xmlns:a16="http://schemas.microsoft.com/office/drawing/2014/main" id="{447DDA0E-4836-4D56-95A0-887AFC9D16E3}"/>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181" name="Textfield placeholder">
              <a:extLst>
                <a:ext uri="{FF2B5EF4-FFF2-40B4-BE49-F238E27FC236}">
                  <a16:creationId xmlns:a16="http://schemas.microsoft.com/office/drawing/2014/main" id="{AAA7E046-61D2-46C0-BA21-2CBCCE2C253F}"/>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182" name="Ovaal 181">
              <a:extLst>
                <a:ext uri="{FF2B5EF4-FFF2-40B4-BE49-F238E27FC236}">
                  <a16:creationId xmlns:a16="http://schemas.microsoft.com/office/drawing/2014/main" id="{C96B82A0-D22E-4F41-938E-0D222D44B784}"/>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183" name="Ovaal 182">
              <a:extLst>
                <a:ext uri="{FF2B5EF4-FFF2-40B4-BE49-F238E27FC236}">
                  <a16:creationId xmlns:a16="http://schemas.microsoft.com/office/drawing/2014/main" id="{1560A6CF-114F-45A6-9781-D618B1942F2C}"/>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184" name="Ovaal 183">
              <a:extLst>
                <a:ext uri="{FF2B5EF4-FFF2-40B4-BE49-F238E27FC236}">
                  <a16:creationId xmlns:a16="http://schemas.microsoft.com/office/drawing/2014/main" id="{15996319-7056-44A3-AFC3-908AB5361E05}"/>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185" name="Ovaal 184">
              <a:extLst>
                <a:ext uri="{FF2B5EF4-FFF2-40B4-BE49-F238E27FC236}">
                  <a16:creationId xmlns:a16="http://schemas.microsoft.com/office/drawing/2014/main" id="{0287112B-7A74-4E13-B133-2C19C7884299}"/>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186" name="Textfield placeholder">
              <a:extLst>
                <a:ext uri="{FF2B5EF4-FFF2-40B4-BE49-F238E27FC236}">
                  <a16:creationId xmlns:a16="http://schemas.microsoft.com/office/drawing/2014/main" id="{AD438314-A515-4E52-98A4-79DDB04F8370}"/>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187" name="Textfield placeholder">
              <a:extLst>
                <a:ext uri="{FF2B5EF4-FFF2-40B4-BE49-F238E27FC236}">
                  <a16:creationId xmlns:a16="http://schemas.microsoft.com/office/drawing/2014/main" id="{EF3B33F7-D9F0-449E-A812-EC4791C816E3}"/>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188" name="Textfield placeholder">
              <a:extLst>
                <a:ext uri="{FF2B5EF4-FFF2-40B4-BE49-F238E27FC236}">
                  <a16:creationId xmlns:a16="http://schemas.microsoft.com/office/drawing/2014/main" id="{E9159ECD-9378-4A7E-8718-C8D11CEA6067}"/>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189" name="Rechte verbindingslijn 188">
              <a:extLst>
                <a:ext uri="{FF2B5EF4-FFF2-40B4-BE49-F238E27FC236}">
                  <a16:creationId xmlns:a16="http://schemas.microsoft.com/office/drawing/2014/main" id="{9904F8D5-2B24-4240-BB70-D8B78276F29B}"/>
                </a:ext>
              </a:extLst>
            </p:cNvPr>
            <p:cNvCxnSpPr/>
            <p:nvPr userDrawn="1"/>
          </p:nvCxnSpPr>
          <p:spPr>
            <a:xfrm>
              <a:off x="-2812233" y="387386"/>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0" name="Rechte verbindingslijn 189">
              <a:extLst>
                <a:ext uri="{FF2B5EF4-FFF2-40B4-BE49-F238E27FC236}">
                  <a16:creationId xmlns:a16="http://schemas.microsoft.com/office/drawing/2014/main" id="{14A09671-26F0-4E73-8F6A-ECE789912C26}"/>
                </a:ext>
              </a:extLst>
            </p:cNvPr>
            <p:cNvCxnSpPr/>
            <p:nvPr userDrawn="1"/>
          </p:nvCxnSpPr>
          <p:spPr>
            <a:xfrm>
              <a:off x="-2812233" y="1628800"/>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1" name="Rechte verbindingslijn 190">
              <a:extLst>
                <a:ext uri="{FF2B5EF4-FFF2-40B4-BE49-F238E27FC236}">
                  <a16:creationId xmlns:a16="http://schemas.microsoft.com/office/drawing/2014/main" id="{417C1860-3344-403C-92E1-DB738A16CE45}"/>
                </a:ext>
              </a:extLst>
            </p:cNvPr>
            <p:cNvCxnSpPr/>
            <p:nvPr userDrawn="1"/>
          </p:nvCxnSpPr>
          <p:spPr>
            <a:xfrm>
              <a:off x="-2812233" y="5805264"/>
              <a:ext cx="257470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92" name="Picture 3">
              <a:extLst>
                <a:ext uri="{FF2B5EF4-FFF2-40B4-BE49-F238E27FC236}">
                  <a16:creationId xmlns:a16="http://schemas.microsoft.com/office/drawing/2014/main" id="{0486110B-5FAB-4BCF-9517-171CE27DC22F}"/>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3" name="Picture 4">
              <a:extLst>
                <a:ext uri="{FF2B5EF4-FFF2-40B4-BE49-F238E27FC236}">
                  <a16:creationId xmlns:a16="http://schemas.microsoft.com/office/drawing/2014/main" id="{3E2A6C1E-9F7D-4F84-AC44-5D888AC49039}"/>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94" name="Groep 193">
              <a:extLst>
                <a:ext uri="{FF2B5EF4-FFF2-40B4-BE49-F238E27FC236}">
                  <a16:creationId xmlns:a16="http://schemas.microsoft.com/office/drawing/2014/main" id="{5800B996-86B1-405F-B0A7-7EF6819FB5E2}"/>
                </a:ext>
              </a:extLst>
            </p:cNvPr>
            <p:cNvGrpSpPr/>
            <p:nvPr userDrawn="1"/>
          </p:nvGrpSpPr>
          <p:grpSpPr>
            <a:xfrm>
              <a:off x="-2098870" y="523279"/>
              <a:ext cx="435437" cy="427699"/>
              <a:chOff x="-1085063" y="758027"/>
              <a:chExt cx="633800" cy="622540"/>
            </a:xfrm>
          </p:grpSpPr>
          <p:sp>
            <p:nvSpPr>
              <p:cNvPr id="235" name="Afgeronde rechthoek 133">
                <a:extLst>
                  <a:ext uri="{FF2B5EF4-FFF2-40B4-BE49-F238E27FC236}">
                    <a16:creationId xmlns:a16="http://schemas.microsoft.com/office/drawing/2014/main" id="{F65C239D-6473-4B55-9409-D70DCFFA0847}"/>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236" name="Groep 235">
                <a:extLst>
                  <a:ext uri="{FF2B5EF4-FFF2-40B4-BE49-F238E27FC236}">
                    <a16:creationId xmlns:a16="http://schemas.microsoft.com/office/drawing/2014/main" id="{E2E95376-EE4D-4D81-AF06-22C7591B38B3}"/>
                  </a:ext>
                </a:extLst>
              </p:cNvPr>
              <p:cNvGrpSpPr/>
              <p:nvPr userDrawn="1"/>
            </p:nvGrpSpPr>
            <p:grpSpPr>
              <a:xfrm>
                <a:off x="-977746" y="864082"/>
                <a:ext cx="419166" cy="410430"/>
                <a:chOff x="6366933" y="309013"/>
                <a:chExt cx="1901295" cy="1861668"/>
              </a:xfrm>
              <a:solidFill>
                <a:schemeClr val="tx1"/>
              </a:solidFill>
            </p:grpSpPr>
            <p:sp>
              <p:nvSpPr>
                <p:cNvPr id="237" name="Rechthoek 236">
                  <a:extLst>
                    <a:ext uri="{FF2B5EF4-FFF2-40B4-BE49-F238E27FC236}">
                      <a16:creationId xmlns:a16="http://schemas.microsoft.com/office/drawing/2014/main" id="{60640E77-E576-4F8B-A3DE-543A1F7EF80E}"/>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8" name="Rechthoek 237">
                  <a:extLst>
                    <a:ext uri="{FF2B5EF4-FFF2-40B4-BE49-F238E27FC236}">
                      <a16:creationId xmlns:a16="http://schemas.microsoft.com/office/drawing/2014/main" id="{AF4726DB-4276-4E22-A509-425906EAB35D}"/>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9" name="Rechthoek 238">
                  <a:extLst>
                    <a:ext uri="{FF2B5EF4-FFF2-40B4-BE49-F238E27FC236}">
                      <a16:creationId xmlns:a16="http://schemas.microsoft.com/office/drawing/2014/main" id="{628A12B4-A330-42BE-8925-4D811328769A}"/>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0" name="Rechthoek 239">
                  <a:extLst>
                    <a:ext uri="{FF2B5EF4-FFF2-40B4-BE49-F238E27FC236}">
                      <a16:creationId xmlns:a16="http://schemas.microsoft.com/office/drawing/2014/main" id="{8C024AC8-840D-4C9F-A9E1-D943810BC5C6}"/>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1" name="Rechthoek 240">
                  <a:extLst>
                    <a:ext uri="{FF2B5EF4-FFF2-40B4-BE49-F238E27FC236}">
                      <a16:creationId xmlns:a16="http://schemas.microsoft.com/office/drawing/2014/main" id="{241BA735-8102-4BE5-9D22-0FB8FC4ACB43}"/>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2" name="Rechthoek 241">
                  <a:extLst>
                    <a:ext uri="{FF2B5EF4-FFF2-40B4-BE49-F238E27FC236}">
                      <a16:creationId xmlns:a16="http://schemas.microsoft.com/office/drawing/2014/main" id="{CC3310A4-380E-4371-B9A0-0002A55790B8}"/>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3" name="Rechthoek 242">
                  <a:extLst>
                    <a:ext uri="{FF2B5EF4-FFF2-40B4-BE49-F238E27FC236}">
                      <a16:creationId xmlns:a16="http://schemas.microsoft.com/office/drawing/2014/main" id="{CB5D850E-9E08-409E-8151-95501FD6FC1A}"/>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4" name="Rechthoek 243">
                  <a:extLst>
                    <a:ext uri="{FF2B5EF4-FFF2-40B4-BE49-F238E27FC236}">
                      <a16:creationId xmlns:a16="http://schemas.microsoft.com/office/drawing/2014/main" id="{7259E775-5095-4C33-994D-97464808C3F2}"/>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5" name="Rechthoek 244">
                  <a:extLst>
                    <a:ext uri="{FF2B5EF4-FFF2-40B4-BE49-F238E27FC236}">
                      <a16:creationId xmlns:a16="http://schemas.microsoft.com/office/drawing/2014/main" id="{44DE5BD8-5B5B-4BB5-BBA3-1A9313E6C2EE}"/>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6" name="Rechthoek 245">
                  <a:extLst>
                    <a:ext uri="{FF2B5EF4-FFF2-40B4-BE49-F238E27FC236}">
                      <a16:creationId xmlns:a16="http://schemas.microsoft.com/office/drawing/2014/main" id="{DE4A8190-E5DE-472D-91A7-FF737E002D5C}"/>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7" name="Vrije vorm 145">
                  <a:extLst>
                    <a:ext uri="{FF2B5EF4-FFF2-40B4-BE49-F238E27FC236}">
                      <a16:creationId xmlns:a16="http://schemas.microsoft.com/office/drawing/2014/main" id="{B782C299-8E08-4612-B2BE-379B406F646F}"/>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195" name="Groep 194">
              <a:extLst>
                <a:ext uri="{FF2B5EF4-FFF2-40B4-BE49-F238E27FC236}">
                  <a16:creationId xmlns:a16="http://schemas.microsoft.com/office/drawing/2014/main" id="{C47676CA-C006-43B0-A021-523858EB8319}"/>
                </a:ext>
              </a:extLst>
            </p:cNvPr>
            <p:cNvGrpSpPr/>
            <p:nvPr userDrawn="1"/>
          </p:nvGrpSpPr>
          <p:grpSpPr>
            <a:xfrm>
              <a:off x="-2095303" y="1071657"/>
              <a:ext cx="435437" cy="427699"/>
              <a:chOff x="-1845083" y="758027"/>
              <a:chExt cx="633800" cy="622540"/>
            </a:xfrm>
          </p:grpSpPr>
          <p:sp>
            <p:nvSpPr>
              <p:cNvPr id="222" name="Afgeronde rechthoek 120">
                <a:extLst>
                  <a:ext uri="{FF2B5EF4-FFF2-40B4-BE49-F238E27FC236}">
                    <a16:creationId xmlns:a16="http://schemas.microsoft.com/office/drawing/2014/main" id="{957D801A-4D46-410E-BC32-1F67F0070310}"/>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223" name="Groep 222">
                <a:extLst>
                  <a:ext uri="{FF2B5EF4-FFF2-40B4-BE49-F238E27FC236}">
                    <a16:creationId xmlns:a16="http://schemas.microsoft.com/office/drawing/2014/main" id="{380E4D61-6310-4F84-920D-28F90C8467ED}"/>
                  </a:ext>
                </a:extLst>
              </p:cNvPr>
              <p:cNvGrpSpPr/>
              <p:nvPr userDrawn="1"/>
            </p:nvGrpSpPr>
            <p:grpSpPr>
              <a:xfrm>
                <a:off x="-1737766" y="864082"/>
                <a:ext cx="419166" cy="410430"/>
                <a:chOff x="3708400" y="309013"/>
                <a:chExt cx="1901295" cy="1861668"/>
              </a:xfrm>
              <a:solidFill>
                <a:schemeClr val="tx1"/>
              </a:solidFill>
            </p:grpSpPr>
            <p:sp>
              <p:nvSpPr>
                <p:cNvPr id="224" name="Rechthoek 223">
                  <a:extLst>
                    <a:ext uri="{FF2B5EF4-FFF2-40B4-BE49-F238E27FC236}">
                      <a16:creationId xmlns:a16="http://schemas.microsoft.com/office/drawing/2014/main" id="{429181D3-70C3-47D0-A3B1-00BBDB7D20B9}"/>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5" name="Rechthoek 224">
                  <a:extLst>
                    <a:ext uri="{FF2B5EF4-FFF2-40B4-BE49-F238E27FC236}">
                      <a16:creationId xmlns:a16="http://schemas.microsoft.com/office/drawing/2014/main" id="{7EFA8DE9-78AA-46EE-99A8-5482510D5DA2}"/>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6" name="Rechthoek 225">
                  <a:extLst>
                    <a:ext uri="{FF2B5EF4-FFF2-40B4-BE49-F238E27FC236}">
                      <a16:creationId xmlns:a16="http://schemas.microsoft.com/office/drawing/2014/main" id="{0A76CA56-587E-4961-987D-9EEA9BDC8172}"/>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7" name="Rechthoek 226">
                  <a:extLst>
                    <a:ext uri="{FF2B5EF4-FFF2-40B4-BE49-F238E27FC236}">
                      <a16:creationId xmlns:a16="http://schemas.microsoft.com/office/drawing/2014/main" id="{A51CC9F4-44C8-4F03-A23E-DDC481992B8B}"/>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8" name="Rechthoek 227">
                  <a:extLst>
                    <a:ext uri="{FF2B5EF4-FFF2-40B4-BE49-F238E27FC236}">
                      <a16:creationId xmlns:a16="http://schemas.microsoft.com/office/drawing/2014/main" id="{800F1F35-163F-4713-BB04-132B6BBCDD8F}"/>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9" name="Rechthoek 228">
                  <a:extLst>
                    <a:ext uri="{FF2B5EF4-FFF2-40B4-BE49-F238E27FC236}">
                      <a16:creationId xmlns:a16="http://schemas.microsoft.com/office/drawing/2014/main" id="{FCA73163-55E2-4F5F-A694-0AAEA2A7B364}"/>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0" name="Rechthoek 229">
                  <a:extLst>
                    <a:ext uri="{FF2B5EF4-FFF2-40B4-BE49-F238E27FC236}">
                      <a16:creationId xmlns:a16="http://schemas.microsoft.com/office/drawing/2014/main" id="{7DB6CD0F-61CD-46A4-9417-D67C3D32CAC5}"/>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1" name="Rechthoek 230">
                  <a:extLst>
                    <a:ext uri="{FF2B5EF4-FFF2-40B4-BE49-F238E27FC236}">
                      <a16:creationId xmlns:a16="http://schemas.microsoft.com/office/drawing/2014/main" id="{7B68A9B7-E087-4B48-A1F9-2569E4C7DC59}"/>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2" name="Rechthoek 231">
                  <a:extLst>
                    <a:ext uri="{FF2B5EF4-FFF2-40B4-BE49-F238E27FC236}">
                      <a16:creationId xmlns:a16="http://schemas.microsoft.com/office/drawing/2014/main" id="{672A2558-EE73-4CF8-8184-F12862D978B6}"/>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3" name="Rechthoek 232">
                  <a:extLst>
                    <a:ext uri="{FF2B5EF4-FFF2-40B4-BE49-F238E27FC236}">
                      <a16:creationId xmlns:a16="http://schemas.microsoft.com/office/drawing/2014/main" id="{3E8EE8D7-729C-40C9-8408-2EFCEC2E362A}"/>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4" name="Vrije vorm 132">
                  <a:extLst>
                    <a:ext uri="{FF2B5EF4-FFF2-40B4-BE49-F238E27FC236}">
                      <a16:creationId xmlns:a16="http://schemas.microsoft.com/office/drawing/2014/main" id="{5821540C-2DE2-4D52-8A5F-B9CBD6F1F9E7}"/>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196" name="Rechte verbindingslijn 195">
              <a:extLst>
                <a:ext uri="{FF2B5EF4-FFF2-40B4-BE49-F238E27FC236}">
                  <a16:creationId xmlns:a16="http://schemas.microsoft.com/office/drawing/2014/main" id="{DBB72C02-A948-488F-8D51-E93F1683F52C}"/>
                </a:ext>
              </a:extLst>
            </p:cNvPr>
            <p:cNvCxnSpPr>
              <a:stCxn id="198" idx="2"/>
              <a:endCxn id="222"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7" name="Rechte verbindingslijn 196">
              <a:extLst>
                <a:ext uri="{FF2B5EF4-FFF2-40B4-BE49-F238E27FC236}">
                  <a16:creationId xmlns:a16="http://schemas.microsoft.com/office/drawing/2014/main" id="{97C83BC5-09E1-4A32-920D-2BAAA54EF8B4}"/>
                </a:ext>
              </a:extLst>
            </p:cNvPr>
            <p:cNvCxnSpPr>
              <a:stCxn id="199" idx="3"/>
              <a:endCxn id="235"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98" name="Ovaal 197">
              <a:extLst>
                <a:ext uri="{FF2B5EF4-FFF2-40B4-BE49-F238E27FC236}">
                  <a16:creationId xmlns:a16="http://schemas.microsoft.com/office/drawing/2014/main" id="{CADB6663-9D71-41C8-897A-4CCFA219BCAF}"/>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99" name="Ovaal 198">
              <a:extLst>
                <a:ext uri="{FF2B5EF4-FFF2-40B4-BE49-F238E27FC236}">
                  <a16:creationId xmlns:a16="http://schemas.microsoft.com/office/drawing/2014/main" id="{C4F4C7D6-7FB7-4396-85D8-76DE7B2F9C6B}"/>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00" name="Textfield placeholder">
              <a:extLst>
                <a:ext uri="{FF2B5EF4-FFF2-40B4-BE49-F238E27FC236}">
                  <a16:creationId xmlns:a16="http://schemas.microsoft.com/office/drawing/2014/main" id="{C92D4F55-4640-4B3E-B663-187B230D3930}"/>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vooruit</a:t>
              </a:r>
            </a:p>
          </p:txBody>
        </p:sp>
        <p:sp>
          <p:nvSpPr>
            <p:cNvPr id="201" name="Textfield placeholder">
              <a:extLst>
                <a:ext uri="{FF2B5EF4-FFF2-40B4-BE49-F238E27FC236}">
                  <a16:creationId xmlns:a16="http://schemas.microsoft.com/office/drawing/2014/main" id="{C5198020-8055-40CA-AD0F-C999BA8E1724}"/>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2"/>
                  </a:solidFill>
                  <a:latin typeface="+mn-lt"/>
                </a:rPr>
                <a:t>Niveau</a:t>
              </a:r>
              <a:r>
                <a:rPr lang="en-GB" sz="1200" b="0" dirty="0">
                  <a:solidFill>
                    <a:schemeClr val="tx2"/>
                  </a:solidFill>
                  <a:latin typeface="+mn-lt"/>
                </a:rPr>
                <a:t> terug</a:t>
              </a:r>
            </a:p>
          </p:txBody>
        </p:sp>
        <p:sp>
          <p:nvSpPr>
            <p:cNvPr id="202" name="Ovaal 201">
              <a:extLst>
                <a:ext uri="{FF2B5EF4-FFF2-40B4-BE49-F238E27FC236}">
                  <a16:creationId xmlns:a16="http://schemas.microsoft.com/office/drawing/2014/main" id="{FBCD639A-E439-4FDE-AE50-7D766A8436B0}"/>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203" name="Ovaal 202">
              <a:extLst>
                <a:ext uri="{FF2B5EF4-FFF2-40B4-BE49-F238E27FC236}">
                  <a16:creationId xmlns:a16="http://schemas.microsoft.com/office/drawing/2014/main" id="{6A7F2842-ED6F-4C7B-A12F-2D2BA0745D31}"/>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204" name="Ovaal 203">
              <a:extLst>
                <a:ext uri="{FF2B5EF4-FFF2-40B4-BE49-F238E27FC236}">
                  <a16:creationId xmlns:a16="http://schemas.microsoft.com/office/drawing/2014/main" id="{770D80E5-913F-442F-A2D2-9E860C8E261D}"/>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205" name="Ovaal 204">
              <a:extLst>
                <a:ext uri="{FF2B5EF4-FFF2-40B4-BE49-F238E27FC236}">
                  <a16:creationId xmlns:a16="http://schemas.microsoft.com/office/drawing/2014/main" id="{6B32130D-A2C1-49A9-9087-E14D8EF31925}"/>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206" name="Ovaal 205">
              <a:extLst>
                <a:ext uri="{FF2B5EF4-FFF2-40B4-BE49-F238E27FC236}">
                  <a16:creationId xmlns:a16="http://schemas.microsoft.com/office/drawing/2014/main" id="{0E890686-0483-4A92-8E6A-26B986740EA5}"/>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207" name="Textfield placeholder">
              <a:extLst>
                <a:ext uri="{FF2B5EF4-FFF2-40B4-BE49-F238E27FC236}">
                  <a16:creationId xmlns:a16="http://schemas.microsoft.com/office/drawing/2014/main" id="{BAD85D61-7F17-4C50-94A2-D7B32BBBCA1D}"/>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08" name="Textfield placeholder">
              <a:extLst>
                <a:ext uri="{FF2B5EF4-FFF2-40B4-BE49-F238E27FC236}">
                  <a16:creationId xmlns:a16="http://schemas.microsoft.com/office/drawing/2014/main" id="{35CF16E5-677D-4B6A-85ED-D638F2035531}"/>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09" name="Textfield placeholder">
              <a:extLst>
                <a:ext uri="{FF2B5EF4-FFF2-40B4-BE49-F238E27FC236}">
                  <a16:creationId xmlns:a16="http://schemas.microsoft.com/office/drawing/2014/main" id="{ED7CEC29-CB74-41CA-A976-A5F5ECF65AC7}"/>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10" name="Textfield placeholder">
              <a:extLst>
                <a:ext uri="{FF2B5EF4-FFF2-40B4-BE49-F238E27FC236}">
                  <a16:creationId xmlns:a16="http://schemas.microsoft.com/office/drawing/2014/main" id="{FDF3903B-A275-4E08-BFFA-9F55C3984D6B}"/>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211" name="Textfield placeholder">
              <a:extLst>
                <a:ext uri="{FF2B5EF4-FFF2-40B4-BE49-F238E27FC236}">
                  <a16:creationId xmlns:a16="http://schemas.microsoft.com/office/drawing/2014/main" id="{240F6E0C-EB3F-4424-A48B-AC6BCC84AF40}"/>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12" name="Groep 211">
              <a:extLst>
                <a:ext uri="{FF2B5EF4-FFF2-40B4-BE49-F238E27FC236}">
                  <a16:creationId xmlns:a16="http://schemas.microsoft.com/office/drawing/2014/main" id="{456F1827-C4B8-4757-B496-A2AD546DEFC9}"/>
                </a:ext>
              </a:extLst>
            </p:cNvPr>
            <p:cNvGrpSpPr/>
            <p:nvPr userDrawn="1"/>
          </p:nvGrpSpPr>
          <p:grpSpPr>
            <a:xfrm>
              <a:off x="-950342" y="1837957"/>
              <a:ext cx="687412" cy="3758146"/>
              <a:chOff x="-740196" y="1837957"/>
              <a:chExt cx="1374825" cy="3758146"/>
            </a:xfrm>
          </p:grpSpPr>
          <p:sp>
            <p:nvSpPr>
              <p:cNvPr id="213" name="Textfield placeholder">
                <a:extLst>
                  <a:ext uri="{FF2B5EF4-FFF2-40B4-BE49-F238E27FC236}">
                    <a16:creationId xmlns:a16="http://schemas.microsoft.com/office/drawing/2014/main" id="{AD6E94A4-652D-4688-ABD7-3511789B594F}"/>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14" name="Textfield placeholder">
                <a:extLst>
                  <a:ext uri="{FF2B5EF4-FFF2-40B4-BE49-F238E27FC236}">
                    <a16:creationId xmlns:a16="http://schemas.microsoft.com/office/drawing/2014/main" id="{896F50D9-8D31-4CAF-86A9-32EAEC491098}"/>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15" name="Textfield placeholder">
                <a:extLst>
                  <a:ext uri="{FF2B5EF4-FFF2-40B4-BE49-F238E27FC236}">
                    <a16:creationId xmlns:a16="http://schemas.microsoft.com/office/drawing/2014/main" id="{ED14985B-7626-44F5-8A84-E4107A5F2977}"/>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6" name="Textfield placeholder">
                <a:extLst>
                  <a:ext uri="{FF2B5EF4-FFF2-40B4-BE49-F238E27FC236}">
                    <a16:creationId xmlns:a16="http://schemas.microsoft.com/office/drawing/2014/main" id="{9DED9536-BDD6-4D8A-8EA0-0BC2204644E7}"/>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217" name="Textfield placeholder">
                <a:extLst>
                  <a:ext uri="{FF2B5EF4-FFF2-40B4-BE49-F238E27FC236}">
                    <a16:creationId xmlns:a16="http://schemas.microsoft.com/office/drawing/2014/main" id="{11F06DCE-FE30-4F31-AD1A-E72483A08286}"/>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218" name="Textfield placeholder">
                <a:extLst>
                  <a:ext uri="{FF2B5EF4-FFF2-40B4-BE49-F238E27FC236}">
                    <a16:creationId xmlns:a16="http://schemas.microsoft.com/office/drawing/2014/main" id="{4D6699F5-E321-40D0-A8E4-E8777AA63202}"/>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9" name="Textfield placeholder">
                <a:extLst>
                  <a:ext uri="{FF2B5EF4-FFF2-40B4-BE49-F238E27FC236}">
                    <a16:creationId xmlns:a16="http://schemas.microsoft.com/office/drawing/2014/main" id="{BB07B059-754A-47D0-9C17-E0DC9524F0C3}"/>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20" name="Textfield placeholder">
                <a:extLst>
                  <a:ext uri="{FF2B5EF4-FFF2-40B4-BE49-F238E27FC236}">
                    <a16:creationId xmlns:a16="http://schemas.microsoft.com/office/drawing/2014/main" id="{D82BC716-5D19-484F-8E87-F471D56550F6}"/>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221" name="Textfield placeholder">
                <a:extLst>
                  <a:ext uri="{FF2B5EF4-FFF2-40B4-BE49-F238E27FC236}">
                    <a16:creationId xmlns:a16="http://schemas.microsoft.com/office/drawing/2014/main" id="{2BAAB652-E4F6-4D7D-B986-6F3CC0A9C0E4}"/>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spTree>
    <p:extLst>
      <p:ext uri="{BB962C8B-B14F-4D97-AF65-F5344CB8AC3E}">
        <p14:creationId xmlns:p14="http://schemas.microsoft.com/office/powerpoint/2010/main" val="2552702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 Rechts + afbeelding (L)">
    <p:spTree>
      <p:nvGrpSpPr>
        <p:cNvPr id="1" name=""/>
        <p:cNvGrpSpPr/>
        <p:nvPr/>
      </p:nvGrpSpPr>
      <p:grpSpPr>
        <a:xfrm>
          <a:off x="0" y="0"/>
          <a:ext cx="0" cy="0"/>
          <a:chOff x="0" y="0"/>
          <a:chExt cx="0" cy="0"/>
        </a:xfrm>
      </p:grpSpPr>
      <p:sp>
        <p:nvSpPr>
          <p:cNvPr id="8" name="Rechthoek 7"/>
          <p:cNvSpPr/>
          <p:nvPr userDrawn="1"/>
        </p:nvSpPr>
        <p:spPr>
          <a:xfrm>
            <a:off x="0" y="1424256"/>
            <a:ext cx="7563017" cy="4558121"/>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p>
        </p:txBody>
      </p:sp>
      <p:sp>
        <p:nvSpPr>
          <p:cNvPr id="2" name="Titel 1"/>
          <p:cNvSpPr>
            <a:spLocks noGrp="1"/>
          </p:cNvSpPr>
          <p:nvPr>
            <p:ph type="title"/>
          </p:nvPr>
        </p:nvSpPr>
        <p:spPr/>
        <p:txBody>
          <a:bodyPr/>
          <a:lstStyle/>
          <a:p>
            <a:r>
              <a:rPr lang="nl-NL"/>
              <a:t>Klik om stijl te bewerken</a:t>
            </a:r>
            <a:endParaRPr lang="en-GB"/>
          </a:p>
        </p:txBody>
      </p:sp>
      <p:sp>
        <p:nvSpPr>
          <p:cNvPr id="3" name="Tijdelijke aanduiding voor verticale tekst 2"/>
          <p:cNvSpPr>
            <a:spLocks noGrp="1"/>
          </p:cNvSpPr>
          <p:nvPr>
            <p:ph type="body" orient="vert" idx="1"/>
          </p:nvPr>
        </p:nvSpPr>
        <p:spPr>
          <a:xfrm>
            <a:off x="8035604" y="1420100"/>
            <a:ext cx="4159571" cy="4297034"/>
          </a:xfrm>
        </p:spPr>
        <p:txBody>
          <a:bodyPr vert="horz"/>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GB" dirty="0"/>
          </a:p>
        </p:txBody>
      </p:sp>
      <p:sp>
        <p:nvSpPr>
          <p:cNvPr id="4" name="Tijdelijke aanduiding voor datum 3"/>
          <p:cNvSpPr>
            <a:spLocks noGrp="1"/>
          </p:cNvSpPr>
          <p:nvPr>
            <p:ph type="dt" sz="half" idx="10"/>
          </p:nvPr>
        </p:nvSpPr>
        <p:spPr/>
        <p:txBody>
          <a:bodyPr/>
          <a:lstStyle/>
          <a:p>
            <a:fld id="{D06A3F98-809A-4419-B4CE-FD935414A328}"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ijdelijke aanduiding voor afbeelding 2"/>
          <p:cNvSpPr>
            <a:spLocks noGrp="1"/>
          </p:cNvSpPr>
          <p:nvPr>
            <p:ph type="pic" idx="13"/>
          </p:nvPr>
        </p:nvSpPr>
        <p:spPr>
          <a:xfrm>
            <a:off x="0" y="1420098"/>
            <a:ext cx="7563015" cy="4558121"/>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u een afbeelding wilt toevoegen</a:t>
            </a:r>
            <a:endParaRPr lang="en-GB" dirty="0"/>
          </a:p>
        </p:txBody>
      </p:sp>
      <p:sp>
        <p:nvSpPr>
          <p:cNvPr id="10" name="Tekstvak 9"/>
          <p:cNvSpPr txBox="1"/>
          <p:nvPr userDrawn="1"/>
        </p:nvSpPr>
        <p:spPr>
          <a:xfrm>
            <a:off x="-1" y="-521614"/>
            <a:ext cx="4268791" cy="469107"/>
          </a:xfrm>
          <a:prstGeom prst="rect">
            <a:avLst/>
          </a:prstGeom>
          <a:noFill/>
        </p:spPr>
        <p:txBody>
          <a:bodyPr wrap="square" rtlCol="0" anchor="b">
            <a:noAutofit/>
          </a:bodyPr>
          <a:lstStyle/>
          <a:p>
            <a:r>
              <a:rPr lang="nl-NL" sz="1333" b="0" dirty="0">
                <a:solidFill>
                  <a:schemeClr val="accent6"/>
                </a:solidFill>
                <a:latin typeface="+mj-lt"/>
              </a:rPr>
              <a:t>Tekst Rechts + afbeelding (L) + onderschrift</a:t>
            </a:r>
          </a:p>
        </p:txBody>
      </p:sp>
      <p:sp>
        <p:nvSpPr>
          <p:cNvPr id="11" name="Tijdelijke aanduiding voor verticale tekst 2"/>
          <p:cNvSpPr>
            <a:spLocks noGrp="1"/>
          </p:cNvSpPr>
          <p:nvPr>
            <p:ph type="body" orient="vert" idx="14" hasCustomPrompt="1"/>
          </p:nvPr>
        </p:nvSpPr>
        <p:spPr>
          <a:xfrm>
            <a:off x="1" y="5476298"/>
            <a:ext cx="7563016" cy="504000"/>
          </a:xfrm>
          <a:solidFill>
            <a:schemeClr val="accent2"/>
          </a:solidFill>
        </p:spPr>
        <p:txBody>
          <a:bodyPr vert="horz" lIns="216000" tIns="36000" rIns="216000" bIns="0" anchor="ctr"/>
          <a:lstStyle>
            <a:lvl1pPr algn="r">
              <a:defRPr sz="1800" b="0">
                <a:solidFill>
                  <a:schemeClr val="tx2"/>
                </a:solidFill>
              </a:defRPr>
            </a:lvl1pPr>
          </a:lstStyle>
          <a:p>
            <a:pPr lvl="0"/>
            <a:r>
              <a:rPr lang="nl-NL" dirty="0"/>
              <a:t>Onderschrift</a:t>
            </a:r>
          </a:p>
        </p:txBody>
      </p:sp>
      <p:grpSp>
        <p:nvGrpSpPr>
          <p:cNvPr id="94" name="Groep 93">
            <a:extLst>
              <a:ext uri="{FF2B5EF4-FFF2-40B4-BE49-F238E27FC236}">
                <a16:creationId xmlns:a16="http://schemas.microsoft.com/office/drawing/2014/main" id="{C603C7F5-0AFE-4EA8-9B7E-7767EA5D98F3}"/>
              </a:ext>
            </a:extLst>
          </p:cNvPr>
          <p:cNvGrpSpPr/>
          <p:nvPr userDrawn="1"/>
        </p:nvGrpSpPr>
        <p:grpSpPr>
          <a:xfrm>
            <a:off x="12353686" y="0"/>
            <a:ext cx="2808312" cy="5805264"/>
            <a:chOff x="-2973833" y="0"/>
            <a:chExt cx="2808312" cy="5805264"/>
          </a:xfrm>
        </p:grpSpPr>
        <p:sp>
          <p:nvSpPr>
            <p:cNvPr id="178" name="Rechthoek 177">
              <a:extLst>
                <a:ext uri="{FF2B5EF4-FFF2-40B4-BE49-F238E27FC236}">
                  <a16:creationId xmlns:a16="http://schemas.microsoft.com/office/drawing/2014/main" id="{D5FA12D4-D3A7-41A5-9578-EBF933913C72}"/>
                </a:ext>
              </a:extLst>
            </p:cNvPr>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TEKST LEVELS</a:t>
              </a:r>
            </a:p>
          </p:txBody>
        </p:sp>
        <p:sp>
          <p:nvSpPr>
            <p:cNvPr id="179" name="Textfield placeholder">
              <a:extLst>
                <a:ext uri="{FF2B5EF4-FFF2-40B4-BE49-F238E27FC236}">
                  <a16:creationId xmlns:a16="http://schemas.microsoft.com/office/drawing/2014/main" id="{F4A21FEF-394D-4B21-B598-DF51A7AF3ACD}"/>
                </a:ext>
              </a:extLst>
            </p:cNvP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dirty="0">
                  <a:solidFill>
                    <a:schemeClr val="tx2"/>
                  </a:solidFill>
                  <a:latin typeface="+mn-lt"/>
                </a:rPr>
                <a:t>Lees-tekst</a:t>
              </a:r>
            </a:p>
          </p:txBody>
        </p:sp>
        <p:sp>
          <p:nvSpPr>
            <p:cNvPr id="180" name="Ovaal 179">
              <a:extLst>
                <a:ext uri="{FF2B5EF4-FFF2-40B4-BE49-F238E27FC236}">
                  <a16:creationId xmlns:a16="http://schemas.microsoft.com/office/drawing/2014/main" id="{91DC4AC0-10DA-4E97-AFE2-8A3F7C756502}"/>
                </a:ext>
              </a:extLst>
            </p:cNvPr>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1</a:t>
              </a:r>
            </a:p>
          </p:txBody>
        </p:sp>
        <p:sp>
          <p:nvSpPr>
            <p:cNvPr id="181" name="Ovaal 180">
              <a:extLst>
                <a:ext uri="{FF2B5EF4-FFF2-40B4-BE49-F238E27FC236}">
                  <a16:creationId xmlns:a16="http://schemas.microsoft.com/office/drawing/2014/main" id="{B1EC6C87-D204-4D30-8E42-72A156919F81}"/>
                </a:ext>
              </a:extLst>
            </p:cNvPr>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2</a:t>
              </a:r>
            </a:p>
          </p:txBody>
        </p:sp>
        <p:sp>
          <p:nvSpPr>
            <p:cNvPr id="182" name="Ovaal 181">
              <a:extLst>
                <a:ext uri="{FF2B5EF4-FFF2-40B4-BE49-F238E27FC236}">
                  <a16:creationId xmlns:a16="http://schemas.microsoft.com/office/drawing/2014/main" id="{2CC97C10-2FEE-46CC-B280-7EAE4FFBD609}"/>
                </a:ext>
              </a:extLst>
            </p:cNvPr>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3</a:t>
              </a:r>
            </a:p>
          </p:txBody>
        </p:sp>
        <p:sp>
          <p:nvSpPr>
            <p:cNvPr id="183" name="Ovaal 182">
              <a:extLst>
                <a:ext uri="{FF2B5EF4-FFF2-40B4-BE49-F238E27FC236}">
                  <a16:creationId xmlns:a16="http://schemas.microsoft.com/office/drawing/2014/main" id="{27963F4F-21A4-4CD6-B8A2-4252F95F49A4}"/>
                </a:ext>
              </a:extLst>
            </p:cNvPr>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4</a:t>
              </a:r>
            </a:p>
          </p:txBody>
        </p:sp>
        <p:sp>
          <p:nvSpPr>
            <p:cNvPr id="184" name="Textfield placeholder">
              <a:extLst>
                <a:ext uri="{FF2B5EF4-FFF2-40B4-BE49-F238E27FC236}">
                  <a16:creationId xmlns:a16="http://schemas.microsoft.com/office/drawing/2014/main" id="{B0E4CC89-01CE-44D0-A855-08B5BB82E74D}"/>
                </a:ext>
              </a:extLst>
            </p:cNvP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75" lvl="1" indent="-130175">
                <a:buClr>
                  <a:schemeClr val="tx2"/>
                </a:buClr>
                <a:buSzPct val="100000"/>
                <a:buFont typeface="Arial" panose="020B0604020202020204" pitchFamily="34" charset="0"/>
                <a:buChar char="•"/>
              </a:pPr>
              <a:r>
                <a:rPr lang="en-GB" sz="1400" b="0" dirty="0">
                  <a:solidFill>
                    <a:schemeClr val="tx2"/>
                  </a:solidFill>
                  <a:latin typeface="+mn-lt"/>
                </a:rPr>
                <a:t>Bullet</a:t>
              </a:r>
            </a:p>
          </p:txBody>
        </p:sp>
        <p:sp>
          <p:nvSpPr>
            <p:cNvPr id="185" name="Textfield placeholder">
              <a:extLst>
                <a:ext uri="{FF2B5EF4-FFF2-40B4-BE49-F238E27FC236}">
                  <a16:creationId xmlns:a16="http://schemas.microsoft.com/office/drawing/2014/main" id="{6A63B35C-6B13-44C3-891E-F6ECEEC7156F}"/>
                </a:ext>
              </a:extLst>
            </p:cNvP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3" indent="-128588"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400" b="0" kern="1200" dirty="0">
                  <a:solidFill>
                    <a:schemeClr val="tx2"/>
                  </a:solidFill>
                  <a:latin typeface="+mn-lt"/>
                  <a:ea typeface="+mn-ea"/>
                  <a:cs typeface="+mn-cs"/>
                </a:rPr>
                <a:t>Sub-bullet</a:t>
              </a:r>
            </a:p>
          </p:txBody>
        </p:sp>
        <p:sp>
          <p:nvSpPr>
            <p:cNvPr id="186" name="Textfield placeholder">
              <a:extLst>
                <a:ext uri="{FF2B5EF4-FFF2-40B4-BE49-F238E27FC236}">
                  <a16:creationId xmlns:a16="http://schemas.microsoft.com/office/drawing/2014/main" id="{A1B41407-518B-4F74-AD27-479C97C002E6}"/>
                </a:ext>
              </a:extLst>
            </p:cNvP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400" rtl="0" eaLnBrk="1" latinLnBrk="0" hangingPunct="1">
                <a:lnSpc>
                  <a:spcPts val="1700"/>
                </a:lnSpc>
                <a:spcBef>
                  <a:spcPts val="600"/>
                </a:spcBef>
                <a:spcAft>
                  <a:spcPts val="600"/>
                </a:spcAft>
                <a:buClr>
                  <a:schemeClr val="tx2"/>
                </a:buClr>
                <a:buSzPct val="85000"/>
                <a:buFont typeface="Arial" panose="020B0604020202020204" pitchFamily="34" charset="0"/>
                <a:buNone/>
                <a:tabLst>
                  <a:tab pos="1074738" algn="l"/>
                </a:tabLst>
              </a:pPr>
              <a:r>
                <a:rPr lang="en-GB" sz="1600" b="0" kern="1200" dirty="0">
                  <a:solidFill>
                    <a:schemeClr val="tx2"/>
                  </a:solidFill>
                  <a:latin typeface="+mj-lt"/>
                  <a:ea typeface="+mn-ea"/>
                  <a:cs typeface="+mn-cs"/>
                </a:rPr>
                <a:t>Sub-kop</a:t>
              </a:r>
            </a:p>
          </p:txBody>
        </p:sp>
        <p:cxnSp>
          <p:nvCxnSpPr>
            <p:cNvPr id="187" name="Rechte verbindingslijn 186">
              <a:extLst>
                <a:ext uri="{FF2B5EF4-FFF2-40B4-BE49-F238E27FC236}">
                  <a16:creationId xmlns:a16="http://schemas.microsoft.com/office/drawing/2014/main" id="{B0DA4D58-679E-44B2-B615-314FDA5AC50F}"/>
                </a:ext>
              </a:extLst>
            </p:cNvPr>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8" name="Rechte verbindingslijn 187">
              <a:extLst>
                <a:ext uri="{FF2B5EF4-FFF2-40B4-BE49-F238E27FC236}">
                  <a16:creationId xmlns:a16="http://schemas.microsoft.com/office/drawing/2014/main" id="{F83F3CD1-050A-4A1A-AFDE-14530122F4C7}"/>
                </a:ext>
              </a:extLst>
            </p:cNvPr>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9" name="Rechte verbindingslijn 188">
              <a:extLst>
                <a:ext uri="{FF2B5EF4-FFF2-40B4-BE49-F238E27FC236}">
                  <a16:creationId xmlns:a16="http://schemas.microsoft.com/office/drawing/2014/main" id="{0BBE6A0B-E755-45BD-9B3F-037EFCAE9C4E}"/>
                </a:ext>
              </a:extLst>
            </p:cNvPr>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190" name="Picture 3">
              <a:extLst>
                <a:ext uri="{FF2B5EF4-FFF2-40B4-BE49-F238E27FC236}">
                  <a16:creationId xmlns:a16="http://schemas.microsoft.com/office/drawing/2014/main" id="{9C414244-AB53-4584-B7FC-491CF933A865}"/>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1" name="Picture 4">
              <a:extLst>
                <a:ext uri="{FF2B5EF4-FFF2-40B4-BE49-F238E27FC236}">
                  <a16:creationId xmlns:a16="http://schemas.microsoft.com/office/drawing/2014/main" id="{E817BE5F-6AB4-4252-A6E8-640366783FC8}"/>
                </a:ext>
              </a:extLst>
            </p:cNvPr>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92" name="Groep 191">
              <a:extLst>
                <a:ext uri="{FF2B5EF4-FFF2-40B4-BE49-F238E27FC236}">
                  <a16:creationId xmlns:a16="http://schemas.microsoft.com/office/drawing/2014/main" id="{1A5E0D1E-C296-45A5-8029-B670BBAA533F}"/>
                </a:ext>
              </a:extLst>
            </p:cNvPr>
            <p:cNvGrpSpPr/>
            <p:nvPr userDrawn="1"/>
          </p:nvGrpSpPr>
          <p:grpSpPr>
            <a:xfrm>
              <a:off x="-2098870" y="523279"/>
              <a:ext cx="435437" cy="427699"/>
              <a:chOff x="-1085063" y="758027"/>
              <a:chExt cx="633800" cy="622540"/>
            </a:xfrm>
          </p:grpSpPr>
          <p:sp>
            <p:nvSpPr>
              <p:cNvPr id="233" name="Afgeronde rechthoek 133">
                <a:extLst>
                  <a:ext uri="{FF2B5EF4-FFF2-40B4-BE49-F238E27FC236}">
                    <a16:creationId xmlns:a16="http://schemas.microsoft.com/office/drawing/2014/main" id="{66CB8A8E-365B-479B-9A76-97D56F762D9A}"/>
                  </a:ext>
                </a:extLst>
              </p:cNvPr>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dirty="0">
                  <a:latin typeface="+mn-lt"/>
                </a:endParaRPr>
              </a:p>
            </p:txBody>
          </p:sp>
          <p:grpSp>
            <p:nvGrpSpPr>
              <p:cNvPr id="234" name="Groep 233">
                <a:extLst>
                  <a:ext uri="{FF2B5EF4-FFF2-40B4-BE49-F238E27FC236}">
                    <a16:creationId xmlns:a16="http://schemas.microsoft.com/office/drawing/2014/main" id="{460E2CD0-6922-485E-B8FD-077548109927}"/>
                  </a:ext>
                </a:extLst>
              </p:cNvPr>
              <p:cNvGrpSpPr/>
              <p:nvPr userDrawn="1"/>
            </p:nvGrpSpPr>
            <p:grpSpPr>
              <a:xfrm>
                <a:off x="-977746" y="864082"/>
                <a:ext cx="419166" cy="410430"/>
                <a:chOff x="6366933" y="309013"/>
                <a:chExt cx="1901295" cy="1861668"/>
              </a:xfrm>
              <a:solidFill>
                <a:schemeClr val="tx1"/>
              </a:solidFill>
            </p:grpSpPr>
            <p:sp>
              <p:nvSpPr>
                <p:cNvPr id="235" name="Rechthoek 234">
                  <a:extLst>
                    <a:ext uri="{FF2B5EF4-FFF2-40B4-BE49-F238E27FC236}">
                      <a16:creationId xmlns:a16="http://schemas.microsoft.com/office/drawing/2014/main" id="{D5779893-45BE-4FB7-BED2-2613F33EDA2E}"/>
                    </a:ext>
                  </a:extLst>
                </p:cNvPr>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6" name="Rechthoek 235">
                  <a:extLst>
                    <a:ext uri="{FF2B5EF4-FFF2-40B4-BE49-F238E27FC236}">
                      <a16:creationId xmlns:a16="http://schemas.microsoft.com/office/drawing/2014/main" id="{0A3EA5C3-0A16-468E-9A77-B82D720ABBDA}"/>
                    </a:ext>
                  </a:extLst>
                </p:cNvPr>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7" name="Rechthoek 236">
                  <a:extLst>
                    <a:ext uri="{FF2B5EF4-FFF2-40B4-BE49-F238E27FC236}">
                      <a16:creationId xmlns:a16="http://schemas.microsoft.com/office/drawing/2014/main" id="{F72384C8-C7FA-452C-9194-F7E76CC67E4E}"/>
                    </a:ext>
                  </a:extLst>
                </p:cNvPr>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8" name="Rechthoek 237">
                  <a:extLst>
                    <a:ext uri="{FF2B5EF4-FFF2-40B4-BE49-F238E27FC236}">
                      <a16:creationId xmlns:a16="http://schemas.microsoft.com/office/drawing/2014/main" id="{FCD3468F-C7C8-4729-81E5-CFD8F6FCEC66}"/>
                    </a:ext>
                  </a:extLst>
                </p:cNvPr>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9" name="Rechthoek 238">
                  <a:extLst>
                    <a:ext uri="{FF2B5EF4-FFF2-40B4-BE49-F238E27FC236}">
                      <a16:creationId xmlns:a16="http://schemas.microsoft.com/office/drawing/2014/main" id="{EDABBB61-5CDE-4956-8837-AEF04850555C}"/>
                    </a:ext>
                  </a:extLst>
                </p:cNvPr>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0" name="Rechthoek 239">
                  <a:extLst>
                    <a:ext uri="{FF2B5EF4-FFF2-40B4-BE49-F238E27FC236}">
                      <a16:creationId xmlns:a16="http://schemas.microsoft.com/office/drawing/2014/main" id="{F05CAF46-1DBA-43F8-8ACC-57D1F741EEEA}"/>
                    </a:ext>
                  </a:extLst>
                </p:cNvPr>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1" name="Rechthoek 240">
                  <a:extLst>
                    <a:ext uri="{FF2B5EF4-FFF2-40B4-BE49-F238E27FC236}">
                      <a16:creationId xmlns:a16="http://schemas.microsoft.com/office/drawing/2014/main" id="{190D0A02-4C75-40C3-9BBB-32E3AA94C7E8}"/>
                    </a:ext>
                  </a:extLst>
                </p:cNvPr>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2" name="Rechthoek 241">
                  <a:extLst>
                    <a:ext uri="{FF2B5EF4-FFF2-40B4-BE49-F238E27FC236}">
                      <a16:creationId xmlns:a16="http://schemas.microsoft.com/office/drawing/2014/main" id="{35B3BDEC-49C8-4A7B-A013-5A80B0975279}"/>
                    </a:ext>
                  </a:extLst>
                </p:cNvPr>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3" name="Rechthoek 242">
                  <a:extLst>
                    <a:ext uri="{FF2B5EF4-FFF2-40B4-BE49-F238E27FC236}">
                      <a16:creationId xmlns:a16="http://schemas.microsoft.com/office/drawing/2014/main" id="{9D76A03B-0B2B-42B5-980F-10B873AADE3A}"/>
                    </a:ext>
                  </a:extLst>
                </p:cNvPr>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4" name="Rechthoek 243">
                  <a:extLst>
                    <a:ext uri="{FF2B5EF4-FFF2-40B4-BE49-F238E27FC236}">
                      <a16:creationId xmlns:a16="http://schemas.microsoft.com/office/drawing/2014/main" id="{B0B936B6-AC34-4642-8E80-A6CB7603127C}"/>
                    </a:ext>
                  </a:extLst>
                </p:cNvPr>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45" name="Vrije vorm 145">
                  <a:extLst>
                    <a:ext uri="{FF2B5EF4-FFF2-40B4-BE49-F238E27FC236}">
                      <a16:creationId xmlns:a16="http://schemas.microsoft.com/office/drawing/2014/main" id="{3E975FAA-19CB-4E36-8BDE-3D4F854AABD6}"/>
                    </a:ext>
                  </a:extLst>
                </p:cNvPr>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grpSp>
          <p:nvGrpSpPr>
            <p:cNvPr id="193" name="Groep 192">
              <a:extLst>
                <a:ext uri="{FF2B5EF4-FFF2-40B4-BE49-F238E27FC236}">
                  <a16:creationId xmlns:a16="http://schemas.microsoft.com/office/drawing/2014/main" id="{07C92253-CB18-47BE-851A-9E5C3364E08A}"/>
                </a:ext>
              </a:extLst>
            </p:cNvPr>
            <p:cNvGrpSpPr/>
            <p:nvPr userDrawn="1"/>
          </p:nvGrpSpPr>
          <p:grpSpPr>
            <a:xfrm>
              <a:off x="-2095303" y="1071657"/>
              <a:ext cx="435437" cy="427699"/>
              <a:chOff x="-1845083" y="758027"/>
              <a:chExt cx="633800" cy="622540"/>
            </a:xfrm>
          </p:grpSpPr>
          <p:sp>
            <p:nvSpPr>
              <p:cNvPr id="220" name="Afgeronde rechthoek 120">
                <a:extLst>
                  <a:ext uri="{FF2B5EF4-FFF2-40B4-BE49-F238E27FC236}">
                    <a16:creationId xmlns:a16="http://schemas.microsoft.com/office/drawing/2014/main" id="{281EA0AA-8483-41B1-8D6C-63302228A278}"/>
                  </a:ext>
                </a:extLst>
              </p:cNvPr>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ndParaRPr>
              </a:p>
            </p:txBody>
          </p:sp>
          <p:grpSp>
            <p:nvGrpSpPr>
              <p:cNvPr id="221" name="Groep 220">
                <a:extLst>
                  <a:ext uri="{FF2B5EF4-FFF2-40B4-BE49-F238E27FC236}">
                    <a16:creationId xmlns:a16="http://schemas.microsoft.com/office/drawing/2014/main" id="{985C5B2F-7F31-413A-9958-0C62335F92E1}"/>
                  </a:ext>
                </a:extLst>
              </p:cNvPr>
              <p:cNvGrpSpPr/>
              <p:nvPr userDrawn="1"/>
            </p:nvGrpSpPr>
            <p:grpSpPr>
              <a:xfrm>
                <a:off x="-1737766" y="864082"/>
                <a:ext cx="419166" cy="410430"/>
                <a:chOff x="3708400" y="309013"/>
                <a:chExt cx="1901295" cy="1861668"/>
              </a:xfrm>
              <a:solidFill>
                <a:schemeClr val="tx1"/>
              </a:solidFill>
            </p:grpSpPr>
            <p:sp>
              <p:nvSpPr>
                <p:cNvPr id="222" name="Rechthoek 221">
                  <a:extLst>
                    <a:ext uri="{FF2B5EF4-FFF2-40B4-BE49-F238E27FC236}">
                      <a16:creationId xmlns:a16="http://schemas.microsoft.com/office/drawing/2014/main" id="{31E651C0-F063-4FF2-B9CC-EAB005205D6B}"/>
                    </a:ext>
                  </a:extLst>
                </p:cNvPr>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3" name="Rechthoek 222">
                  <a:extLst>
                    <a:ext uri="{FF2B5EF4-FFF2-40B4-BE49-F238E27FC236}">
                      <a16:creationId xmlns:a16="http://schemas.microsoft.com/office/drawing/2014/main" id="{73C7C9BB-3D81-44F5-9E26-A8C6CFB74695}"/>
                    </a:ext>
                  </a:extLst>
                </p:cNvPr>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4" name="Rechthoek 223">
                  <a:extLst>
                    <a:ext uri="{FF2B5EF4-FFF2-40B4-BE49-F238E27FC236}">
                      <a16:creationId xmlns:a16="http://schemas.microsoft.com/office/drawing/2014/main" id="{4361ECCA-63A1-4F6A-94CE-BE97030201AA}"/>
                    </a:ext>
                  </a:extLst>
                </p:cNvPr>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5" name="Rechthoek 224">
                  <a:extLst>
                    <a:ext uri="{FF2B5EF4-FFF2-40B4-BE49-F238E27FC236}">
                      <a16:creationId xmlns:a16="http://schemas.microsoft.com/office/drawing/2014/main" id="{347F984A-C1CB-4EC0-8B22-43C724B96F91}"/>
                    </a:ext>
                  </a:extLst>
                </p:cNvPr>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6" name="Rechthoek 225">
                  <a:extLst>
                    <a:ext uri="{FF2B5EF4-FFF2-40B4-BE49-F238E27FC236}">
                      <a16:creationId xmlns:a16="http://schemas.microsoft.com/office/drawing/2014/main" id="{E48E34E4-A69E-426E-8385-F982490979F5}"/>
                    </a:ext>
                  </a:extLst>
                </p:cNvPr>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7" name="Rechthoek 226">
                  <a:extLst>
                    <a:ext uri="{FF2B5EF4-FFF2-40B4-BE49-F238E27FC236}">
                      <a16:creationId xmlns:a16="http://schemas.microsoft.com/office/drawing/2014/main" id="{47E82461-1621-47AA-9E0F-8C6BA69C98CA}"/>
                    </a:ext>
                  </a:extLst>
                </p:cNvPr>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8" name="Rechthoek 227">
                  <a:extLst>
                    <a:ext uri="{FF2B5EF4-FFF2-40B4-BE49-F238E27FC236}">
                      <a16:creationId xmlns:a16="http://schemas.microsoft.com/office/drawing/2014/main" id="{03C88864-46ED-4682-9660-F47EFE99BB3C}"/>
                    </a:ext>
                  </a:extLst>
                </p:cNvPr>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29" name="Rechthoek 228">
                  <a:extLst>
                    <a:ext uri="{FF2B5EF4-FFF2-40B4-BE49-F238E27FC236}">
                      <a16:creationId xmlns:a16="http://schemas.microsoft.com/office/drawing/2014/main" id="{68A72BAC-0D8B-4CCF-9FF3-7AAB10BA9AB5}"/>
                    </a:ext>
                  </a:extLst>
                </p:cNvPr>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0" name="Rechthoek 229">
                  <a:extLst>
                    <a:ext uri="{FF2B5EF4-FFF2-40B4-BE49-F238E27FC236}">
                      <a16:creationId xmlns:a16="http://schemas.microsoft.com/office/drawing/2014/main" id="{04856851-12EC-442C-A1A3-2251256E5C4E}"/>
                    </a:ext>
                  </a:extLst>
                </p:cNvPr>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1" name="Rechthoek 230">
                  <a:extLst>
                    <a:ext uri="{FF2B5EF4-FFF2-40B4-BE49-F238E27FC236}">
                      <a16:creationId xmlns:a16="http://schemas.microsoft.com/office/drawing/2014/main" id="{8C824CBB-9315-4E87-8D4A-AAAA83EA5E68}"/>
                    </a:ext>
                  </a:extLst>
                </p:cNvPr>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sp>
              <p:nvSpPr>
                <p:cNvPr id="232" name="Vrije vorm 132">
                  <a:extLst>
                    <a:ext uri="{FF2B5EF4-FFF2-40B4-BE49-F238E27FC236}">
                      <a16:creationId xmlns:a16="http://schemas.microsoft.com/office/drawing/2014/main" id="{521C6783-8897-4DD1-AF62-4A43E76BE4D6}"/>
                    </a:ext>
                  </a:extLst>
                </p:cNvPr>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ndParaRPr>
                </a:p>
              </p:txBody>
            </p:sp>
          </p:grpSp>
        </p:grpSp>
        <p:cxnSp>
          <p:nvCxnSpPr>
            <p:cNvPr id="194" name="Rechte verbindingslijn 193">
              <a:extLst>
                <a:ext uri="{FF2B5EF4-FFF2-40B4-BE49-F238E27FC236}">
                  <a16:creationId xmlns:a16="http://schemas.microsoft.com/office/drawing/2014/main" id="{819D67A2-DD2E-4A6E-B606-E10B197F0653}"/>
                </a:ext>
              </a:extLst>
            </p:cNvPr>
            <p:cNvCxnSpPr>
              <a:stCxn id="196" idx="2"/>
              <a:endCxn id="220"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5" name="Rechte verbindingslijn 194">
              <a:extLst>
                <a:ext uri="{FF2B5EF4-FFF2-40B4-BE49-F238E27FC236}">
                  <a16:creationId xmlns:a16="http://schemas.microsoft.com/office/drawing/2014/main" id="{30CC2453-A70D-4665-A502-47C85EEC08FA}"/>
                </a:ext>
              </a:extLst>
            </p:cNvPr>
            <p:cNvCxnSpPr>
              <a:stCxn id="197" idx="3"/>
              <a:endCxn id="233"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96" name="Ovaal 195">
              <a:extLst>
                <a:ext uri="{FF2B5EF4-FFF2-40B4-BE49-F238E27FC236}">
                  <a16:creationId xmlns:a16="http://schemas.microsoft.com/office/drawing/2014/main" id="{3EC60F58-7371-4ADC-B169-A61055FEEF0D}"/>
                </a:ext>
              </a:extLst>
            </p:cNvPr>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97" name="Ovaal 196">
              <a:extLst>
                <a:ext uri="{FF2B5EF4-FFF2-40B4-BE49-F238E27FC236}">
                  <a16:creationId xmlns:a16="http://schemas.microsoft.com/office/drawing/2014/main" id="{5E2B4518-21D4-424E-9BBB-87C7CB411AE1}"/>
                </a:ext>
              </a:extLst>
            </p:cNvPr>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198" name="Textfield placeholder">
              <a:extLst>
                <a:ext uri="{FF2B5EF4-FFF2-40B4-BE49-F238E27FC236}">
                  <a16:creationId xmlns:a16="http://schemas.microsoft.com/office/drawing/2014/main" id="{890410EB-B64C-4461-BE6C-F798103E02BB}"/>
                </a:ext>
              </a:extLst>
            </p:cNvP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latin typeface="+mn-lt"/>
                </a:rPr>
                <a:t>Niveau</a:t>
              </a:r>
              <a:r>
                <a:rPr lang="en-GB" sz="1200" b="0" dirty="0">
                  <a:solidFill>
                    <a:schemeClr val="tx1"/>
                  </a:solidFill>
                  <a:latin typeface="+mn-lt"/>
                </a:rPr>
                <a:t> vooruit</a:t>
              </a:r>
            </a:p>
          </p:txBody>
        </p:sp>
        <p:sp>
          <p:nvSpPr>
            <p:cNvPr id="199" name="Textfield placeholder">
              <a:extLst>
                <a:ext uri="{FF2B5EF4-FFF2-40B4-BE49-F238E27FC236}">
                  <a16:creationId xmlns:a16="http://schemas.microsoft.com/office/drawing/2014/main" id="{DE749410-E861-41E5-B1C1-4ABBF85CC568}"/>
                </a:ext>
              </a:extLst>
            </p:cNvP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dirty="0">
                  <a:solidFill>
                    <a:schemeClr val="tx1"/>
                  </a:solidFill>
                  <a:latin typeface="+mn-lt"/>
                </a:rPr>
                <a:t>Niveau</a:t>
              </a:r>
              <a:r>
                <a:rPr lang="en-GB" sz="1200" b="0" dirty="0">
                  <a:solidFill>
                    <a:schemeClr val="tx1"/>
                  </a:solidFill>
                  <a:latin typeface="+mn-lt"/>
                </a:rPr>
                <a:t> terug</a:t>
              </a:r>
            </a:p>
          </p:txBody>
        </p:sp>
        <p:sp>
          <p:nvSpPr>
            <p:cNvPr id="200" name="Ovaal 199">
              <a:extLst>
                <a:ext uri="{FF2B5EF4-FFF2-40B4-BE49-F238E27FC236}">
                  <a16:creationId xmlns:a16="http://schemas.microsoft.com/office/drawing/2014/main" id="{565691BD-689B-4EFA-BE81-9E476E87CAA2}"/>
                </a:ext>
              </a:extLst>
            </p:cNvPr>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5</a:t>
              </a:r>
            </a:p>
          </p:txBody>
        </p:sp>
        <p:sp>
          <p:nvSpPr>
            <p:cNvPr id="201" name="Ovaal 200">
              <a:extLst>
                <a:ext uri="{FF2B5EF4-FFF2-40B4-BE49-F238E27FC236}">
                  <a16:creationId xmlns:a16="http://schemas.microsoft.com/office/drawing/2014/main" id="{2E90605D-9059-4AD7-BA15-FD6BFDCBCDFB}"/>
                </a:ext>
              </a:extLst>
            </p:cNvPr>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6</a:t>
              </a:r>
            </a:p>
          </p:txBody>
        </p:sp>
        <p:sp>
          <p:nvSpPr>
            <p:cNvPr id="202" name="Ovaal 201">
              <a:extLst>
                <a:ext uri="{FF2B5EF4-FFF2-40B4-BE49-F238E27FC236}">
                  <a16:creationId xmlns:a16="http://schemas.microsoft.com/office/drawing/2014/main" id="{557C605A-1019-4F5E-8A15-D018BB1CA362}"/>
                </a:ext>
              </a:extLst>
            </p:cNvPr>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7</a:t>
              </a:r>
            </a:p>
          </p:txBody>
        </p:sp>
        <p:sp>
          <p:nvSpPr>
            <p:cNvPr id="203" name="Ovaal 202">
              <a:extLst>
                <a:ext uri="{FF2B5EF4-FFF2-40B4-BE49-F238E27FC236}">
                  <a16:creationId xmlns:a16="http://schemas.microsoft.com/office/drawing/2014/main" id="{AA6286B2-09DE-4FEB-B34B-E6D029CFCC88}"/>
                </a:ext>
              </a:extLst>
            </p:cNvPr>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8</a:t>
              </a:r>
            </a:p>
          </p:txBody>
        </p:sp>
        <p:sp>
          <p:nvSpPr>
            <p:cNvPr id="204" name="Ovaal 203">
              <a:extLst>
                <a:ext uri="{FF2B5EF4-FFF2-40B4-BE49-F238E27FC236}">
                  <a16:creationId xmlns:a16="http://schemas.microsoft.com/office/drawing/2014/main" id="{CA196278-06D7-423C-BEE9-162EB828BD38}"/>
                </a:ext>
              </a:extLst>
            </p:cNvPr>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dirty="0">
                  <a:solidFill>
                    <a:schemeClr val="bg1"/>
                  </a:solidFill>
                  <a:latin typeface="+mn-lt"/>
                </a:rPr>
                <a:t>9</a:t>
              </a:r>
            </a:p>
          </p:txBody>
        </p:sp>
        <p:sp>
          <p:nvSpPr>
            <p:cNvPr id="205" name="Textfield placeholder">
              <a:extLst>
                <a:ext uri="{FF2B5EF4-FFF2-40B4-BE49-F238E27FC236}">
                  <a16:creationId xmlns:a16="http://schemas.microsoft.com/office/drawing/2014/main" id="{F0BEC048-EC5F-4EC1-B5F3-8742A0C6E19A}"/>
                </a:ext>
              </a:extLst>
            </p:cNvP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400" b="0" i="0" dirty="0">
                  <a:solidFill>
                    <a:schemeClr val="tx2"/>
                  </a:solidFill>
                  <a:latin typeface="+mj-lt"/>
                </a:rPr>
                <a:t>Kop</a:t>
              </a:r>
            </a:p>
          </p:txBody>
        </p:sp>
        <p:sp>
          <p:nvSpPr>
            <p:cNvPr id="206" name="Textfield placeholder">
              <a:extLst>
                <a:ext uri="{FF2B5EF4-FFF2-40B4-BE49-F238E27FC236}">
                  <a16:creationId xmlns:a16="http://schemas.microsoft.com/office/drawing/2014/main" id="{69B2A92C-1352-480F-A78D-2A69D674EC18}"/>
                </a:ext>
              </a:extLst>
            </p:cNvP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700" lvl="2" indent="-266700" algn="l" defTabSz="914400" rtl="0" eaLnBrk="1" latinLnBrk="0" hangingPunct="1">
                <a:lnSpc>
                  <a:spcPts val="1800"/>
                </a:lnSpc>
                <a:spcBef>
                  <a:spcPts val="600"/>
                </a:spcBef>
                <a:spcAft>
                  <a:spcPts val="600"/>
                </a:spcAft>
                <a:buClr>
                  <a:schemeClr val="tx2"/>
                </a:buClr>
                <a:buFont typeface="+mj-lt"/>
                <a:buAutoNum type="arabicPeriod"/>
                <a:tabLst>
                  <a:tab pos="1074738" algn="l"/>
                  <a:tab pos="4394200" algn="l"/>
                </a:tabLst>
              </a:pPr>
              <a:r>
                <a:rPr lang="nl-NL" sz="1400" kern="1200" noProof="0" dirty="0">
                  <a:solidFill>
                    <a:schemeClr val="tx2"/>
                  </a:solidFill>
                  <a:latin typeface="+mn-lt"/>
                  <a:ea typeface="+mn-ea"/>
                  <a:cs typeface="+mn-cs"/>
                </a:rPr>
                <a:t>Numeriek</a:t>
              </a:r>
              <a:endParaRPr lang="en-GB" sz="1400" kern="1200" dirty="0">
                <a:solidFill>
                  <a:schemeClr val="tx2"/>
                </a:solidFill>
                <a:latin typeface="+mn-lt"/>
                <a:ea typeface="+mn-ea"/>
                <a:cs typeface="+mn-cs"/>
              </a:endParaRPr>
            </a:p>
          </p:txBody>
        </p:sp>
        <p:sp>
          <p:nvSpPr>
            <p:cNvPr id="207" name="Textfield placeholder">
              <a:extLst>
                <a:ext uri="{FF2B5EF4-FFF2-40B4-BE49-F238E27FC236}">
                  <a16:creationId xmlns:a16="http://schemas.microsoft.com/office/drawing/2014/main" id="{BCCD9606-965B-4A83-A08E-6978E63452D5}"/>
                </a:ext>
              </a:extLst>
            </p:cNvP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813" lvl="2" indent="-138113" algn="l" defTabSz="914400" rtl="0" eaLnBrk="1" latinLnBrk="0" hangingPunct="1">
                <a:lnSpc>
                  <a:spcPts val="1800"/>
                </a:lnSpc>
                <a:spcBef>
                  <a:spcPts val="600"/>
                </a:spcBef>
                <a:spcAft>
                  <a:spcPts val="600"/>
                </a:spcAft>
                <a:buClr>
                  <a:schemeClr val="tx2"/>
                </a:buClr>
                <a:buFont typeface="Arial" panose="020B0604020202020204" pitchFamily="34" charset="0"/>
                <a:buChar char="•"/>
                <a:tabLst>
                  <a:tab pos="1074738" algn="l"/>
                  <a:tab pos="4394200" algn="l"/>
                </a:tabLst>
              </a:pPr>
              <a:r>
                <a:rPr lang="en-GB" sz="1400" kern="1200" dirty="0">
                  <a:solidFill>
                    <a:schemeClr val="tx2"/>
                  </a:solidFill>
                  <a:latin typeface="+mn-lt"/>
                  <a:ea typeface="+mn-ea"/>
                  <a:cs typeface="+mn-cs"/>
                </a:rPr>
                <a:t>Num. Bullet</a:t>
              </a:r>
            </a:p>
          </p:txBody>
        </p:sp>
        <p:sp>
          <p:nvSpPr>
            <p:cNvPr id="208" name="Textfield placeholder">
              <a:extLst>
                <a:ext uri="{FF2B5EF4-FFF2-40B4-BE49-F238E27FC236}">
                  <a16:creationId xmlns:a16="http://schemas.microsoft.com/office/drawing/2014/main" id="{B69CB865-1D73-441D-AEDE-ABD513742C55}"/>
                </a:ext>
              </a:extLst>
            </p:cNvP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738" rtl="0" eaLnBrk="1" latinLnBrk="0" hangingPunct="1">
                <a:lnSpc>
                  <a:spcPts val="1700"/>
                </a:lnSpc>
                <a:spcBef>
                  <a:spcPts val="600"/>
                </a:spcBef>
                <a:spcAft>
                  <a:spcPts val="600"/>
                </a:spcAft>
                <a:buFont typeface="Arial" panose="020B0604020202020204" pitchFamily="34" charset="0"/>
                <a:buNone/>
              </a:pPr>
              <a:r>
                <a:rPr lang="nl-NL" sz="1400" b="0" i="0" kern="1200" noProof="0" dirty="0">
                  <a:solidFill>
                    <a:schemeClr val="tx2"/>
                  </a:solidFill>
                  <a:latin typeface="NLRTM Italic" panose="00000500000000000000" pitchFamily="2" charset="0"/>
                  <a:ea typeface="+mn-ea"/>
                  <a:cs typeface="+mn-cs"/>
                </a:rPr>
                <a:t>Cursief</a:t>
              </a:r>
            </a:p>
          </p:txBody>
        </p:sp>
        <p:sp>
          <p:nvSpPr>
            <p:cNvPr id="209" name="Textfield placeholder">
              <a:extLst>
                <a:ext uri="{FF2B5EF4-FFF2-40B4-BE49-F238E27FC236}">
                  <a16:creationId xmlns:a16="http://schemas.microsoft.com/office/drawing/2014/main" id="{F7596182-6A3C-4EC4-888A-04D93DC03166}"/>
                </a:ext>
              </a:extLst>
            </p:cNvP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988" lvl="3" indent="-138113" algn="l" defTabSz="914400" rtl="0" eaLnBrk="1" latinLnBrk="0" hangingPunct="1">
                <a:lnSpc>
                  <a:spcPts val="1700"/>
                </a:lnSpc>
                <a:spcBef>
                  <a:spcPts val="600"/>
                </a:spcBef>
                <a:spcAft>
                  <a:spcPts val="600"/>
                </a:spcAft>
                <a:buClr>
                  <a:schemeClr val="tx2"/>
                </a:buClr>
                <a:buSzPct val="85000"/>
                <a:buFont typeface="Arial" panose="020B0604020202020204" pitchFamily="34" charset="0"/>
                <a:buChar char="−"/>
                <a:tabLst>
                  <a:tab pos="1074738" algn="l"/>
                </a:tabLst>
              </a:pPr>
              <a:r>
                <a:rPr lang="en-GB" sz="1200" b="0" kern="1200" dirty="0">
                  <a:solidFill>
                    <a:schemeClr val="tx2"/>
                  </a:solidFill>
                  <a:latin typeface="+mn-lt"/>
                  <a:ea typeface="+mn-ea"/>
                  <a:cs typeface="+mn-cs"/>
                </a:rPr>
                <a:t>Sub-bullet</a:t>
              </a:r>
            </a:p>
          </p:txBody>
        </p:sp>
        <p:grpSp>
          <p:nvGrpSpPr>
            <p:cNvPr id="210" name="Groep 209">
              <a:extLst>
                <a:ext uri="{FF2B5EF4-FFF2-40B4-BE49-F238E27FC236}">
                  <a16:creationId xmlns:a16="http://schemas.microsoft.com/office/drawing/2014/main" id="{608D05BA-9E46-47E2-8C26-962813C1D96C}"/>
                </a:ext>
              </a:extLst>
            </p:cNvPr>
            <p:cNvGrpSpPr/>
            <p:nvPr userDrawn="1"/>
          </p:nvGrpSpPr>
          <p:grpSpPr>
            <a:xfrm>
              <a:off x="-950342" y="1837957"/>
              <a:ext cx="687412" cy="3758146"/>
              <a:chOff x="-740196" y="1837957"/>
              <a:chExt cx="1374825" cy="3758146"/>
            </a:xfrm>
          </p:grpSpPr>
          <p:sp>
            <p:nvSpPr>
              <p:cNvPr id="211" name="Textfield placeholder">
                <a:extLst>
                  <a:ext uri="{FF2B5EF4-FFF2-40B4-BE49-F238E27FC236}">
                    <a16:creationId xmlns:a16="http://schemas.microsoft.com/office/drawing/2014/main" id="{476C08D9-873E-4925-8B13-42A892A04437}"/>
                  </a:ext>
                </a:extLst>
              </p:cNvP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12" name="Textfield placeholder">
                <a:extLst>
                  <a:ext uri="{FF2B5EF4-FFF2-40B4-BE49-F238E27FC236}">
                    <a16:creationId xmlns:a16="http://schemas.microsoft.com/office/drawing/2014/main" id="{7B9EE28B-F29C-4F1D-A9BA-5B977B0A3B71}"/>
                  </a:ext>
                </a:extLst>
              </p:cNvP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0 pt</a:t>
                </a:r>
              </a:p>
            </p:txBody>
          </p:sp>
          <p:sp>
            <p:nvSpPr>
              <p:cNvPr id="213" name="Textfield placeholder">
                <a:extLst>
                  <a:ext uri="{FF2B5EF4-FFF2-40B4-BE49-F238E27FC236}">
                    <a16:creationId xmlns:a16="http://schemas.microsoft.com/office/drawing/2014/main" id="{E8FBEB91-8064-49C0-A8EE-02D50645986D}"/>
                  </a:ext>
                </a:extLst>
              </p:cNvP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4" name="Textfield placeholder">
                <a:extLst>
                  <a:ext uri="{FF2B5EF4-FFF2-40B4-BE49-F238E27FC236}">
                    <a16:creationId xmlns:a16="http://schemas.microsoft.com/office/drawing/2014/main" id="{9BF693BF-AF1D-495D-A908-75B0B5939FFB}"/>
                  </a:ext>
                </a:extLst>
              </p:cNvP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24 pt</a:t>
                </a:r>
              </a:p>
            </p:txBody>
          </p:sp>
          <p:sp>
            <p:nvSpPr>
              <p:cNvPr id="215" name="Textfield placeholder">
                <a:extLst>
                  <a:ext uri="{FF2B5EF4-FFF2-40B4-BE49-F238E27FC236}">
                    <a16:creationId xmlns:a16="http://schemas.microsoft.com/office/drawing/2014/main" id="{7F229BA5-CC49-46EC-A0DF-0F6CF3E3F0D7}"/>
                  </a:ext>
                </a:extLst>
              </p:cNvP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32 pt</a:t>
                </a:r>
              </a:p>
            </p:txBody>
          </p:sp>
          <p:sp>
            <p:nvSpPr>
              <p:cNvPr id="216" name="Textfield placeholder">
                <a:extLst>
                  <a:ext uri="{FF2B5EF4-FFF2-40B4-BE49-F238E27FC236}">
                    <a16:creationId xmlns:a16="http://schemas.microsoft.com/office/drawing/2014/main" id="{512E9BC3-264A-4178-8F06-AC0E0A3A585D}"/>
                  </a:ext>
                </a:extLst>
              </p:cNvP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7" name="Textfield placeholder">
                <a:extLst>
                  <a:ext uri="{FF2B5EF4-FFF2-40B4-BE49-F238E27FC236}">
                    <a16:creationId xmlns:a16="http://schemas.microsoft.com/office/drawing/2014/main" id="{754033EB-6818-4563-BC8C-882325A75C89}"/>
                  </a:ext>
                </a:extLst>
              </p:cNvP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sp>
            <p:nvSpPr>
              <p:cNvPr id="218" name="Textfield placeholder">
                <a:extLst>
                  <a:ext uri="{FF2B5EF4-FFF2-40B4-BE49-F238E27FC236}">
                    <a16:creationId xmlns:a16="http://schemas.microsoft.com/office/drawing/2014/main" id="{37C7B801-5560-4127-8100-0B3AC1A42015}"/>
                  </a:ext>
                </a:extLst>
              </p:cNvP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6 pt</a:t>
                </a:r>
              </a:p>
            </p:txBody>
          </p:sp>
          <p:sp>
            <p:nvSpPr>
              <p:cNvPr id="219" name="Textfield placeholder">
                <a:extLst>
                  <a:ext uri="{FF2B5EF4-FFF2-40B4-BE49-F238E27FC236}">
                    <a16:creationId xmlns:a16="http://schemas.microsoft.com/office/drawing/2014/main" id="{414F6862-F25C-4F09-8C36-095515175203}"/>
                  </a:ext>
                </a:extLst>
              </p:cNvP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dirty="0">
                    <a:solidFill>
                      <a:schemeClr val="accent1"/>
                    </a:solidFill>
                    <a:latin typeface="+mn-lt"/>
                  </a:rPr>
                  <a:t>18 pt</a:t>
                </a:r>
              </a:p>
            </p:txBody>
          </p:sp>
        </p:grpSp>
      </p:grpSp>
      <p:grpSp>
        <p:nvGrpSpPr>
          <p:cNvPr id="260" name="Groep 259">
            <a:extLst>
              <a:ext uri="{FF2B5EF4-FFF2-40B4-BE49-F238E27FC236}">
                <a16:creationId xmlns:a16="http://schemas.microsoft.com/office/drawing/2014/main" id="{6EB89481-E6FB-4EFB-9108-B24CF43CCED4}"/>
              </a:ext>
            </a:extLst>
          </p:cNvPr>
          <p:cNvGrpSpPr/>
          <p:nvPr userDrawn="1"/>
        </p:nvGrpSpPr>
        <p:grpSpPr>
          <a:xfrm>
            <a:off x="-3205835" y="-26002"/>
            <a:ext cx="3064812" cy="4530930"/>
            <a:chOff x="15419739" y="-26002"/>
            <a:chExt cx="3064812" cy="4530930"/>
          </a:xfrm>
        </p:grpSpPr>
        <p:sp>
          <p:nvSpPr>
            <p:cNvPr id="261" name="Tekstvak 33">
              <a:extLst>
                <a:ext uri="{FF2B5EF4-FFF2-40B4-BE49-F238E27FC236}">
                  <a16:creationId xmlns:a16="http://schemas.microsoft.com/office/drawing/2014/main" id="{231A5FC1-D091-49F6-953D-7E837AB305FE}"/>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262" name="Tekstvak 33">
              <a:extLst>
                <a:ext uri="{FF2B5EF4-FFF2-40B4-BE49-F238E27FC236}">
                  <a16:creationId xmlns:a16="http://schemas.microsoft.com/office/drawing/2014/main" id="{11294DCD-98BD-4896-B9B0-13920A95A688}"/>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263" name="Ovaal 262">
              <a:extLst>
                <a:ext uri="{FF2B5EF4-FFF2-40B4-BE49-F238E27FC236}">
                  <a16:creationId xmlns:a16="http://schemas.microsoft.com/office/drawing/2014/main" id="{334BEC87-C286-4461-8193-63BA20A55773}"/>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264" name="Ovaal 263">
              <a:extLst>
                <a:ext uri="{FF2B5EF4-FFF2-40B4-BE49-F238E27FC236}">
                  <a16:creationId xmlns:a16="http://schemas.microsoft.com/office/drawing/2014/main" id="{CCC5B05A-F671-456D-B8A9-A50E7AA62322}"/>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265" name="Picture 3">
              <a:extLst>
                <a:ext uri="{FF2B5EF4-FFF2-40B4-BE49-F238E27FC236}">
                  <a16:creationId xmlns:a16="http://schemas.microsoft.com/office/drawing/2014/main" id="{603A281F-F0EB-40D2-A68E-BE296673695F}"/>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66" name="Picture 3">
              <a:extLst>
                <a:ext uri="{FF2B5EF4-FFF2-40B4-BE49-F238E27FC236}">
                  <a16:creationId xmlns:a16="http://schemas.microsoft.com/office/drawing/2014/main" id="{55323D51-FF47-4C26-8FA3-FD70987F1B54}"/>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67" name="Tekstvak 266">
              <a:extLst>
                <a:ext uri="{FF2B5EF4-FFF2-40B4-BE49-F238E27FC236}">
                  <a16:creationId xmlns:a16="http://schemas.microsoft.com/office/drawing/2014/main" id="{BD6821B7-1A62-49FA-8F65-FE52460930B1}"/>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268" name="Rechthoek 267">
              <a:extLst>
                <a:ext uri="{FF2B5EF4-FFF2-40B4-BE49-F238E27FC236}">
                  <a16:creationId xmlns:a16="http://schemas.microsoft.com/office/drawing/2014/main" id="{44BABA74-08BB-4742-B85E-8669185E1ED9}"/>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269" name="Groep 268">
              <a:extLst>
                <a:ext uri="{FF2B5EF4-FFF2-40B4-BE49-F238E27FC236}">
                  <a16:creationId xmlns:a16="http://schemas.microsoft.com/office/drawing/2014/main" id="{9EF4E413-13FA-431A-99B6-12321FAC3F55}"/>
                </a:ext>
              </a:extLst>
            </p:cNvPr>
            <p:cNvGrpSpPr/>
            <p:nvPr userDrawn="1"/>
          </p:nvGrpSpPr>
          <p:grpSpPr>
            <a:xfrm>
              <a:off x="15563079" y="358984"/>
              <a:ext cx="2489424" cy="4145944"/>
              <a:chOff x="15563079" y="358984"/>
              <a:chExt cx="2315772" cy="4145944"/>
            </a:xfrm>
          </p:grpSpPr>
          <p:cxnSp>
            <p:nvCxnSpPr>
              <p:cNvPr id="271" name="Rechte verbindingslijn 270">
                <a:extLst>
                  <a:ext uri="{FF2B5EF4-FFF2-40B4-BE49-F238E27FC236}">
                    <a16:creationId xmlns:a16="http://schemas.microsoft.com/office/drawing/2014/main" id="{890659EF-3418-4BC7-9BE0-7C06849DDBE2}"/>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2" name="Rechte verbindingslijn 271">
                <a:extLst>
                  <a:ext uri="{FF2B5EF4-FFF2-40B4-BE49-F238E27FC236}">
                    <a16:creationId xmlns:a16="http://schemas.microsoft.com/office/drawing/2014/main" id="{029736F7-433B-4E54-9F9C-C5A0999EC9C3}"/>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3" name="Rechte verbindingslijn 272">
                <a:extLst>
                  <a:ext uri="{FF2B5EF4-FFF2-40B4-BE49-F238E27FC236}">
                    <a16:creationId xmlns:a16="http://schemas.microsoft.com/office/drawing/2014/main" id="{A985CA0D-5380-447C-9F77-04AA26E2510C}"/>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70" name="Afbeelding 269">
              <a:extLst>
                <a:ext uri="{FF2B5EF4-FFF2-40B4-BE49-F238E27FC236}">
                  <a16:creationId xmlns:a16="http://schemas.microsoft.com/office/drawing/2014/main" id="{A351FE8E-1570-4BE6-AFF3-97D79F724BC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2750162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fbeelding (XL)">
    <p:spTree>
      <p:nvGrpSpPr>
        <p:cNvPr id="1" name=""/>
        <p:cNvGrpSpPr/>
        <p:nvPr/>
      </p:nvGrpSpPr>
      <p:grpSpPr>
        <a:xfrm>
          <a:off x="0" y="0"/>
          <a:ext cx="0" cy="0"/>
          <a:chOff x="0" y="0"/>
          <a:chExt cx="0" cy="0"/>
        </a:xfrm>
      </p:grpSpPr>
      <p:sp>
        <p:nvSpPr>
          <p:cNvPr id="8" name="Rechthoek 7"/>
          <p:cNvSpPr/>
          <p:nvPr userDrawn="1"/>
        </p:nvSpPr>
        <p:spPr>
          <a:xfrm>
            <a:off x="0" y="1418618"/>
            <a:ext cx="12195175" cy="456007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p>
        </p:txBody>
      </p:sp>
      <p:sp>
        <p:nvSpPr>
          <p:cNvPr id="2" name="Titel 1"/>
          <p:cNvSpPr>
            <a:spLocks noGrp="1"/>
          </p:cNvSpPr>
          <p:nvPr>
            <p:ph type="title"/>
          </p:nvPr>
        </p:nvSpPr>
        <p:spPr/>
        <p:txBody>
          <a:bodyPr/>
          <a:lstStyle/>
          <a:p>
            <a:r>
              <a:rPr lang="nl-NL"/>
              <a:t>Klik om stijl te bewerken</a:t>
            </a:r>
            <a:endParaRPr lang="en-GB"/>
          </a:p>
        </p:txBody>
      </p:sp>
      <p:sp>
        <p:nvSpPr>
          <p:cNvPr id="4" name="Tijdelijke aanduiding voor datum 3"/>
          <p:cNvSpPr>
            <a:spLocks noGrp="1"/>
          </p:cNvSpPr>
          <p:nvPr>
            <p:ph type="dt" sz="half" idx="10"/>
          </p:nvPr>
        </p:nvSpPr>
        <p:spPr/>
        <p:txBody>
          <a:bodyPr/>
          <a:lstStyle/>
          <a:p>
            <a:fld id="{503CA20F-187F-4A8E-8AE7-CE017170CDF6}" type="datetime4">
              <a:rPr lang="en-GB" smtClean="0"/>
              <a:t>29 May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ijdelijke aanduiding voor afbeelding 2"/>
          <p:cNvSpPr>
            <a:spLocks noGrp="1"/>
          </p:cNvSpPr>
          <p:nvPr>
            <p:ph type="pic" idx="13"/>
          </p:nvPr>
        </p:nvSpPr>
        <p:spPr>
          <a:xfrm>
            <a:off x="0" y="1421389"/>
            <a:ext cx="12195175" cy="4557295"/>
          </a:xfrm>
          <a:noFill/>
        </p:spPr>
        <p:txBody>
          <a:bodyPr anchor="ctr"/>
          <a:lstStyle>
            <a:lvl1pPr marL="0" indent="0" algn="ctr">
              <a:buNone/>
              <a:defRPr sz="1200" b="0">
                <a:solidFill>
                  <a:schemeClr val="tx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en-GB"/>
          </a:p>
        </p:txBody>
      </p:sp>
      <p:sp>
        <p:nvSpPr>
          <p:cNvPr id="10" name="Tekstvak 9"/>
          <p:cNvSpPr txBox="1"/>
          <p:nvPr userDrawn="1"/>
        </p:nvSpPr>
        <p:spPr>
          <a:xfrm>
            <a:off x="0" y="-521614"/>
            <a:ext cx="3504624" cy="469107"/>
          </a:xfrm>
          <a:prstGeom prst="rect">
            <a:avLst/>
          </a:prstGeom>
          <a:noFill/>
        </p:spPr>
        <p:txBody>
          <a:bodyPr wrap="square" rtlCol="0" anchor="b">
            <a:noAutofit/>
          </a:bodyPr>
          <a:lstStyle/>
          <a:p>
            <a:r>
              <a:rPr lang="nl-NL" sz="1333" b="0" dirty="0">
                <a:solidFill>
                  <a:schemeClr val="accent6"/>
                </a:solidFill>
                <a:latin typeface="+mj-lt"/>
              </a:rPr>
              <a:t>Afbeelding (XL) + Titel + onderschrift</a:t>
            </a:r>
          </a:p>
        </p:txBody>
      </p:sp>
      <p:sp>
        <p:nvSpPr>
          <p:cNvPr id="11" name="Tijdelijke aanduiding voor verticale tekst 2"/>
          <p:cNvSpPr>
            <a:spLocks noGrp="1"/>
          </p:cNvSpPr>
          <p:nvPr>
            <p:ph type="body" orient="vert" idx="14" hasCustomPrompt="1"/>
          </p:nvPr>
        </p:nvSpPr>
        <p:spPr>
          <a:xfrm>
            <a:off x="1" y="5492732"/>
            <a:ext cx="12195174" cy="504000"/>
          </a:xfrm>
          <a:solidFill>
            <a:schemeClr val="accent2"/>
          </a:solidFill>
        </p:spPr>
        <p:txBody>
          <a:bodyPr vert="horz" lIns="540000" tIns="36000" rIns="216000" bIns="0" anchor="ctr"/>
          <a:lstStyle>
            <a:lvl1pPr algn="l">
              <a:defRPr sz="1800" b="0">
                <a:solidFill>
                  <a:schemeClr val="tx2"/>
                </a:solidFill>
              </a:defRPr>
            </a:lvl1pPr>
          </a:lstStyle>
          <a:p>
            <a:pPr lvl="0"/>
            <a:r>
              <a:rPr lang="nl-NL" dirty="0"/>
              <a:t>Onderschrift</a:t>
            </a:r>
          </a:p>
        </p:txBody>
      </p:sp>
      <p:grpSp>
        <p:nvGrpSpPr>
          <p:cNvPr id="40" name="Groep 39">
            <a:extLst>
              <a:ext uri="{FF2B5EF4-FFF2-40B4-BE49-F238E27FC236}">
                <a16:creationId xmlns:a16="http://schemas.microsoft.com/office/drawing/2014/main" id="{88C74307-5530-4917-B912-AB499F35DF6B}"/>
              </a:ext>
            </a:extLst>
          </p:cNvPr>
          <p:cNvGrpSpPr/>
          <p:nvPr userDrawn="1"/>
        </p:nvGrpSpPr>
        <p:grpSpPr>
          <a:xfrm>
            <a:off x="12363871" y="-26002"/>
            <a:ext cx="3064812" cy="4530930"/>
            <a:chOff x="15419739" y="-26002"/>
            <a:chExt cx="3064812" cy="4530930"/>
          </a:xfrm>
        </p:grpSpPr>
        <p:sp>
          <p:nvSpPr>
            <p:cNvPr id="41" name="Tekstvak 33">
              <a:extLst>
                <a:ext uri="{FF2B5EF4-FFF2-40B4-BE49-F238E27FC236}">
                  <a16:creationId xmlns:a16="http://schemas.microsoft.com/office/drawing/2014/main" id="{90CCB2EC-21D5-4EFC-A4A7-AA1CE57A410A}"/>
                </a:ext>
              </a:extLst>
            </p:cNvPr>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het icoontje om een nieuwe afbeelding in te voegen.</a:t>
              </a:r>
              <a:endPar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endParaRPr>
            </a:p>
          </p:txBody>
        </p:sp>
        <p:sp>
          <p:nvSpPr>
            <p:cNvPr id="42" name="Tekstvak 33">
              <a:extLst>
                <a:ext uri="{FF2B5EF4-FFF2-40B4-BE49-F238E27FC236}">
                  <a16:creationId xmlns:a16="http://schemas.microsoft.com/office/drawing/2014/main" id="{1123C378-C12D-4E28-B564-951F19C06F19}"/>
                </a:ext>
              </a:extLst>
            </p:cNvPr>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Zoek en selecteer de gewenste afbeelding. </a:t>
              </a:r>
              <a:b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br>
              <a:r>
                <a:rPr kumimoji="0" lang="en-US" sz="1400" b="0" i="0" u="none" strike="noStrike" kern="0" cap="none" spc="0" normalizeH="0" baseline="0" noProof="0" dirty="0">
                  <a:ln>
                    <a:noFill/>
                  </a:ln>
                  <a:solidFill>
                    <a:schemeClr val="tx2"/>
                  </a:solidFill>
                  <a:effectLst/>
                  <a:uLnTx/>
                  <a:uFillTx/>
                  <a:latin typeface="+mn-lt"/>
                  <a:ea typeface="Tahoma" pitchFamily="34" charset="0"/>
                  <a:cs typeface="Arial" pitchFamily="34" charset="0"/>
                </a:rPr>
                <a:t>Klik op </a:t>
              </a:r>
              <a:r>
                <a:rPr kumimoji="0" lang="en-US" sz="1400" b="0" i="0" u="none" strike="noStrike" kern="0" cap="none" spc="0" normalizeH="0" baseline="0" noProof="0" dirty="0">
                  <a:ln>
                    <a:noFill/>
                  </a:ln>
                  <a:solidFill>
                    <a:schemeClr val="tx2"/>
                  </a:solidFill>
                  <a:effectLst/>
                  <a:uLnTx/>
                  <a:uFillTx/>
                  <a:latin typeface="+mj-lt"/>
                  <a:ea typeface="Tahoma" pitchFamily="34" charset="0"/>
                  <a:cs typeface="Arial" pitchFamily="34" charset="0"/>
                </a:rPr>
                <a:t>´Invoegen´</a:t>
              </a:r>
              <a:endParaRPr kumimoji="0" lang="nl-NL" sz="1400" b="0" i="0" u="none" strike="noStrike" kern="0" cap="none" spc="0" normalizeH="0" baseline="0" noProof="0" dirty="0">
                <a:ln>
                  <a:noFill/>
                </a:ln>
                <a:solidFill>
                  <a:schemeClr val="tx2"/>
                </a:solidFill>
                <a:effectLst/>
                <a:uLnTx/>
                <a:uFillTx/>
                <a:latin typeface="+mj-lt"/>
                <a:ea typeface="Tahoma" pitchFamily="34" charset="0"/>
                <a:cs typeface="Arial" pitchFamily="34" charset="0"/>
              </a:endParaRPr>
            </a:p>
          </p:txBody>
        </p:sp>
        <p:sp>
          <p:nvSpPr>
            <p:cNvPr id="43" name="Ovaal 42">
              <a:extLst>
                <a:ext uri="{FF2B5EF4-FFF2-40B4-BE49-F238E27FC236}">
                  <a16:creationId xmlns:a16="http://schemas.microsoft.com/office/drawing/2014/main" id="{D347A6A2-90FB-4B89-97D1-25E6A77FEF65}"/>
                </a:ext>
              </a:extLst>
            </p:cNvPr>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1</a:t>
              </a:r>
            </a:p>
          </p:txBody>
        </p:sp>
        <p:sp>
          <p:nvSpPr>
            <p:cNvPr id="44" name="Ovaal 43">
              <a:extLst>
                <a:ext uri="{FF2B5EF4-FFF2-40B4-BE49-F238E27FC236}">
                  <a16:creationId xmlns:a16="http://schemas.microsoft.com/office/drawing/2014/main" id="{40770799-43C5-4CBC-BCA6-FDDF9EF08E03}"/>
                </a:ext>
              </a:extLst>
            </p:cNvPr>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prstClr val="white"/>
                  </a:solidFill>
                  <a:effectLst/>
                  <a:uLnTx/>
                  <a:uFillTx/>
                  <a:latin typeface="+mj-lt"/>
                </a:rPr>
                <a:t>2</a:t>
              </a:r>
            </a:p>
          </p:txBody>
        </p:sp>
        <p:pic>
          <p:nvPicPr>
            <p:cNvPr id="45" name="Picture 3">
              <a:extLst>
                <a:ext uri="{FF2B5EF4-FFF2-40B4-BE49-F238E27FC236}">
                  <a16:creationId xmlns:a16="http://schemas.microsoft.com/office/drawing/2014/main" id="{AD785E3A-AC72-417A-8224-AEA6573212A4}"/>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46" name="Picture 3">
              <a:extLst>
                <a:ext uri="{FF2B5EF4-FFF2-40B4-BE49-F238E27FC236}">
                  <a16:creationId xmlns:a16="http://schemas.microsoft.com/office/drawing/2014/main" id="{70A9A731-B016-411F-88BE-8ACD955C070F}"/>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47" name="Tekstvak 46">
              <a:extLst>
                <a:ext uri="{FF2B5EF4-FFF2-40B4-BE49-F238E27FC236}">
                  <a16:creationId xmlns:a16="http://schemas.microsoft.com/office/drawing/2014/main" id="{5384A309-7CB7-4F94-A95B-D4844457077D}"/>
                </a:ext>
              </a:extLst>
            </p:cNvPr>
            <p:cNvSpPr txBox="1"/>
            <p:nvPr userDrawn="1"/>
          </p:nvSpPr>
          <p:spPr>
            <a:xfrm>
              <a:off x="15588441" y="4020160"/>
              <a:ext cx="940079" cy="261610"/>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err="1">
                  <a:ln>
                    <a:noFill/>
                  </a:ln>
                  <a:solidFill>
                    <a:srgbClr val="005634">
                      <a:lumMod val="25000"/>
                    </a:srgbClr>
                  </a:solidFill>
                  <a:effectLst/>
                  <a:uLnTx/>
                  <a:uFillTx/>
                  <a:latin typeface="+mj-lt"/>
                </a:rPr>
                <a:t>Invoegen</a:t>
              </a:r>
              <a:endParaRPr kumimoji="0" lang="en-GB" sz="1100" b="0" i="0" u="none" strike="noStrike" kern="0" cap="none" spc="0" normalizeH="0" baseline="0" noProof="0" dirty="0">
                <a:ln>
                  <a:noFill/>
                </a:ln>
                <a:solidFill>
                  <a:srgbClr val="005634">
                    <a:lumMod val="25000"/>
                  </a:srgbClr>
                </a:solidFill>
                <a:effectLst/>
                <a:uLnTx/>
                <a:uFillTx/>
                <a:latin typeface="+mj-lt"/>
              </a:endParaRPr>
            </a:p>
          </p:txBody>
        </p:sp>
        <p:sp>
          <p:nvSpPr>
            <p:cNvPr id="48" name="Rechthoek 47">
              <a:extLst>
                <a:ext uri="{FF2B5EF4-FFF2-40B4-BE49-F238E27FC236}">
                  <a16:creationId xmlns:a16="http://schemas.microsoft.com/office/drawing/2014/main" id="{EC87DF45-6B1F-40D8-B0A3-DC4BC4587A34}"/>
                </a:ext>
              </a:extLst>
            </p:cNvPr>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0" dirty="0">
                  <a:solidFill>
                    <a:schemeClr val="tx2"/>
                  </a:solidFill>
                  <a:latin typeface="+mj-lt"/>
                </a:rPr>
                <a:t>AFBEELDING INVOEGEN</a:t>
              </a:r>
            </a:p>
          </p:txBody>
        </p:sp>
        <p:grpSp>
          <p:nvGrpSpPr>
            <p:cNvPr id="49" name="Groep 48">
              <a:extLst>
                <a:ext uri="{FF2B5EF4-FFF2-40B4-BE49-F238E27FC236}">
                  <a16:creationId xmlns:a16="http://schemas.microsoft.com/office/drawing/2014/main" id="{10A00F7B-5AD4-40D2-B9B2-F36576DB8217}"/>
                </a:ext>
              </a:extLst>
            </p:cNvPr>
            <p:cNvGrpSpPr/>
            <p:nvPr userDrawn="1"/>
          </p:nvGrpSpPr>
          <p:grpSpPr>
            <a:xfrm>
              <a:off x="15563079" y="358984"/>
              <a:ext cx="2489424" cy="4145944"/>
              <a:chOff x="15563079" y="358984"/>
              <a:chExt cx="2315772" cy="4145944"/>
            </a:xfrm>
          </p:grpSpPr>
          <p:cxnSp>
            <p:nvCxnSpPr>
              <p:cNvPr id="51" name="Rechte verbindingslijn 50">
                <a:extLst>
                  <a:ext uri="{FF2B5EF4-FFF2-40B4-BE49-F238E27FC236}">
                    <a16:creationId xmlns:a16="http://schemas.microsoft.com/office/drawing/2014/main" id="{2F60FABF-FA68-480F-A8D9-FE0DC1A6B8EE}"/>
                  </a:ext>
                </a:extLst>
              </p:cNvPr>
              <p:cNvCxnSpPr/>
              <p:nvPr userDrawn="1"/>
            </p:nvCxnSpPr>
            <p:spPr>
              <a:xfrm>
                <a:off x="15563418" y="35898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2" name="Rechte verbindingslijn 51">
                <a:extLst>
                  <a:ext uri="{FF2B5EF4-FFF2-40B4-BE49-F238E27FC236}">
                    <a16:creationId xmlns:a16="http://schemas.microsoft.com/office/drawing/2014/main" id="{12E6B2E2-423B-40E0-A21E-275419D4BD3A}"/>
                  </a:ext>
                </a:extLst>
              </p:cNvPr>
              <p:cNvCxnSpPr/>
              <p:nvPr userDrawn="1"/>
            </p:nvCxnSpPr>
            <p:spPr>
              <a:xfrm>
                <a:off x="15563079" y="2564904"/>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3" name="Rechte verbindingslijn 52">
                <a:extLst>
                  <a:ext uri="{FF2B5EF4-FFF2-40B4-BE49-F238E27FC236}">
                    <a16:creationId xmlns:a16="http://schemas.microsoft.com/office/drawing/2014/main" id="{ED75A3A9-9104-436D-B94C-7896207645BC}"/>
                  </a:ext>
                </a:extLst>
              </p:cNvPr>
              <p:cNvCxnSpPr/>
              <p:nvPr userDrawn="1"/>
            </p:nvCxnSpPr>
            <p:spPr>
              <a:xfrm>
                <a:off x="15563418" y="4504928"/>
                <a:ext cx="2315433"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50" name="Afbeelding 49">
              <a:extLst>
                <a:ext uri="{FF2B5EF4-FFF2-40B4-BE49-F238E27FC236}">
                  <a16:creationId xmlns:a16="http://schemas.microsoft.com/office/drawing/2014/main" id="{EBA65BC5-11D5-432D-8BC9-92B605661C7F}"/>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3524616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image" Target="../media/image1.png"/><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1.png"/><Relationship Id="rId2" Type="http://schemas.openxmlformats.org/officeDocument/2006/relationships/slideLayout" Target="../slideLayouts/slideLayout61.xml"/><Relationship Id="rId16" Type="http://schemas.openxmlformats.org/officeDocument/2006/relationships/theme" Target="../theme/theme2.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8" name="Afgeronde rechthoek 7"/>
          <p:cNvSpPr/>
          <p:nvPr/>
        </p:nvSpPr>
        <p:spPr>
          <a:xfrm>
            <a:off x="0" y="0"/>
            <a:ext cx="12195175" cy="6858000"/>
          </a:xfrm>
          <a:prstGeom prst="roundRect">
            <a:avLst>
              <a:gd name="adj" fmla="val 138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9" name="Rechthoek 8"/>
          <p:cNvSpPr/>
          <p:nvPr userDrawn="1"/>
        </p:nvSpPr>
        <p:spPr>
          <a:xfrm>
            <a:off x="0" y="1424763"/>
            <a:ext cx="12195175" cy="455442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jdelijke aanduiding voor titel 1"/>
          <p:cNvSpPr>
            <a:spLocks noGrp="1"/>
          </p:cNvSpPr>
          <p:nvPr>
            <p:ph type="title"/>
          </p:nvPr>
        </p:nvSpPr>
        <p:spPr>
          <a:xfrm>
            <a:off x="472587" y="192001"/>
            <a:ext cx="11250000" cy="648000"/>
          </a:xfrm>
          <a:prstGeom prst="rect">
            <a:avLst/>
          </a:prstGeom>
        </p:spPr>
        <p:txBody>
          <a:bodyPr vert="horz" lIns="72000" tIns="144000" rIns="72000" bIns="144000" rtlCol="0" anchor="t">
            <a:noAutofit/>
          </a:bodyPr>
          <a:lstStyle/>
          <a:p>
            <a:r>
              <a:rPr lang="nl-NL" dirty="0"/>
              <a:t>Klik om de stijl te bewerken</a:t>
            </a:r>
            <a:endParaRPr lang="en-GB" dirty="0"/>
          </a:p>
        </p:txBody>
      </p:sp>
      <p:sp>
        <p:nvSpPr>
          <p:cNvPr id="3" name="Tijdelijke aanduiding voor tekst 2"/>
          <p:cNvSpPr>
            <a:spLocks noGrp="1"/>
          </p:cNvSpPr>
          <p:nvPr>
            <p:ph type="body" idx="1"/>
          </p:nvPr>
        </p:nvSpPr>
        <p:spPr>
          <a:xfrm>
            <a:off x="472587" y="1420099"/>
            <a:ext cx="11250000" cy="4554421"/>
          </a:xfrm>
          <a:prstGeom prst="rect">
            <a:avLst/>
          </a:prstGeom>
        </p:spPr>
        <p:txBody>
          <a:bodyPr vert="horz" lIns="72000" tIns="270000" rIns="144000" bIns="270000" rtlCol="0">
            <a:no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a:p>
            <a:pPr lvl="5"/>
            <a:r>
              <a:rPr lang="nl-NL" dirty="0"/>
              <a:t>Zes</a:t>
            </a:r>
          </a:p>
          <a:p>
            <a:pPr lvl="6"/>
            <a:r>
              <a:rPr lang="nl-NL" dirty="0"/>
              <a:t>Zeven</a:t>
            </a:r>
          </a:p>
          <a:p>
            <a:pPr lvl="7"/>
            <a:r>
              <a:rPr lang="nl-NL" dirty="0"/>
              <a:t>Acht</a:t>
            </a:r>
          </a:p>
          <a:p>
            <a:pPr lvl="8"/>
            <a:r>
              <a:rPr lang="nl-NL" dirty="0"/>
              <a:t>Negen</a:t>
            </a:r>
            <a:endParaRPr lang="en-GB" dirty="0"/>
          </a:p>
        </p:txBody>
      </p:sp>
      <p:sp>
        <p:nvSpPr>
          <p:cNvPr id="4" name="Tijdelijke aanduiding voor datum 3"/>
          <p:cNvSpPr>
            <a:spLocks noGrp="1"/>
          </p:cNvSpPr>
          <p:nvPr>
            <p:ph type="dt" sz="half" idx="2"/>
          </p:nvPr>
        </p:nvSpPr>
        <p:spPr>
          <a:xfrm>
            <a:off x="1524003" y="6244343"/>
            <a:ext cx="2744788" cy="365125"/>
          </a:xfrm>
          <a:prstGeom prst="rect">
            <a:avLst/>
          </a:prstGeom>
        </p:spPr>
        <p:txBody>
          <a:bodyPr vert="horz" lIns="0" tIns="0" rIns="0" bIns="0" rtlCol="0" anchor="ctr"/>
          <a:lstStyle>
            <a:lvl1pPr algn="l">
              <a:defRPr sz="1100">
                <a:solidFill>
                  <a:schemeClr val="tx2"/>
                </a:solidFill>
                <a:latin typeface="+mn-lt"/>
              </a:defRPr>
            </a:lvl1pPr>
          </a:lstStyle>
          <a:p>
            <a:fld id="{0DFF053D-6B21-4DAB-99EB-BF2BF6046F3F}" type="datetime4">
              <a:rPr lang="en-GB" smtClean="0"/>
              <a:t>29 May 2020</a:t>
            </a:fld>
            <a:endParaRPr lang="en-GB" dirty="0"/>
          </a:p>
        </p:txBody>
      </p:sp>
      <p:sp>
        <p:nvSpPr>
          <p:cNvPr id="5" name="Tijdelijke aanduiding voor voettekst 4"/>
          <p:cNvSpPr>
            <a:spLocks noGrp="1"/>
          </p:cNvSpPr>
          <p:nvPr>
            <p:ph type="ftr" sz="quarter" idx="3"/>
          </p:nvPr>
        </p:nvSpPr>
        <p:spPr>
          <a:xfrm>
            <a:off x="769629" y="6208247"/>
            <a:ext cx="814092" cy="365125"/>
          </a:xfrm>
          <a:prstGeom prst="rect">
            <a:avLst/>
          </a:prstGeom>
        </p:spPr>
        <p:txBody>
          <a:bodyPr vert="horz" lIns="0" tIns="0" rIns="0" bIns="0" rtlCol="0" anchor="ctr"/>
          <a:lstStyle>
            <a:lvl1pPr algn="ctr">
              <a:defRPr sz="1800">
                <a:solidFill>
                  <a:schemeClr val="tx2"/>
                </a:solidFill>
                <a:latin typeface="+mn-lt"/>
              </a:defRPr>
            </a:lvl1pPr>
          </a:lstStyle>
          <a:p>
            <a:r>
              <a:rPr lang="en-GB"/>
              <a:t>|</a:t>
            </a:r>
            <a:endParaRPr lang="en-GB" dirty="0"/>
          </a:p>
        </p:txBody>
      </p:sp>
      <p:sp>
        <p:nvSpPr>
          <p:cNvPr id="6" name="Tijdelijke aanduiding voor dianummer 5"/>
          <p:cNvSpPr>
            <a:spLocks noGrp="1"/>
          </p:cNvSpPr>
          <p:nvPr>
            <p:ph type="sldNum" sz="quarter" idx="4"/>
          </p:nvPr>
        </p:nvSpPr>
        <p:spPr>
          <a:xfrm>
            <a:off x="288762" y="6244343"/>
            <a:ext cx="540585" cy="365125"/>
          </a:xfrm>
          <a:prstGeom prst="rect">
            <a:avLst/>
          </a:prstGeom>
        </p:spPr>
        <p:txBody>
          <a:bodyPr vert="horz" lIns="0" tIns="0" rIns="0" bIns="0" rtlCol="0" anchor="ctr"/>
          <a:lstStyle>
            <a:lvl1pPr algn="r">
              <a:defRPr sz="1100">
                <a:solidFill>
                  <a:schemeClr val="tx2"/>
                </a:solidFill>
                <a:latin typeface="+mn-lt"/>
              </a:defRPr>
            </a:lvl1pPr>
          </a:lstStyle>
          <a:p>
            <a:fld id="{534B5F9C-CFE5-4EC6-9BBB-664E2F56B033}" type="slidenum">
              <a:rPr lang="en-GB" smtClean="0"/>
              <a:pPr/>
              <a:t>‹nr.›</a:t>
            </a:fld>
            <a:endParaRPr lang="en-GB" dirty="0"/>
          </a:p>
        </p:txBody>
      </p:sp>
      <p:sp>
        <p:nvSpPr>
          <p:cNvPr id="12" name="Tijdelijke aanduiding voor dianummer 5" hidden="1"/>
          <p:cNvSpPr txBox="1">
            <a:spLocks/>
          </p:cNvSpPr>
          <p:nvPr/>
        </p:nvSpPr>
        <p:spPr>
          <a:xfrm>
            <a:off x="4674817" y="6555318"/>
            <a:ext cx="2845541" cy="345017"/>
          </a:xfrm>
          <a:prstGeom prst="rect">
            <a:avLst/>
          </a:prstGeom>
        </p:spPr>
        <p:txBody>
          <a:bodyPr vert="horz" lIns="121920" tIns="60960" rIns="121920" bIns="60960" rtlCol="0" anchor="ctr"/>
          <a:lstStyle>
            <a:defPPr>
              <a:defRPr lang="nl-NL"/>
            </a:defPPr>
            <a:lvl1pPr marL="0" algn="r" defTabSz="914400" rtl="0" eaLnBrk="1" latinLnBrk="0" hangingPunct="1">
              <a:defRPr sz="8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tx2"/>
                </a:solidFill>
                <a:latin typeface="+mn-lt"/>
              </a:rPr>
              <a:t>© Copyright - Port of Rotterdam</a:t>
            </a:r>
            <a:endParaRPr lang="nl-NL" sz="800" dirty="0">
              <a:solidFill>
                <a:schemeClr val="tx2"/>
              </a:solidFill>
              <a:latin typeface="+mn-lt"/>
            </a:endParaRPr>
          </a:p>
        </p:txBody>
      </p:sp>
      <p:pic>
        <p:nvPicPr>
          <p:cNvPr id="13" name="Afbeelding 12">
            <a:extLst>
              <a:ext uri="{FF2B5EF4-FFF2-40B4-BE49-F238E27FC236}">
                <a16:creationId xmlns:a16="http://schemas.microsoft.com/office/drawing/2014/main" id="{79449C17-D9E8-4EF1-9FEE-6F3D3C34542A}"/>
              </a:ext>
            </a:extLst>
          </p:cNvPr>
          <p:cNvPicPr>
            <a:picLocks noChangeAspect="1"/>
          </p:cNvPicPr>
          <p:nvPr userDrawn="1"/>
        </p:nvPicPr>
        <p:blipFill>
          <a:blip r:embed="rId61">
            <a:extLst>
              <a:ext uri="{28A0092B-C50C-407E-A947-70E740481C1C}">
                <a14:useLocalDpi xmlns:a14="http://schemas.microsoft.com/office/drawing/2010/main" val="0"/>
              </a:ext>
            </a:extLst>
          </a:blip>
          <a:stretch>
            <a:fillRect/>
          </a:stretch>
        </p:blipFill>
        <p:spPr>
          <a:xfrm>
            <a:off x="9936848" y="6147827"/>
            <a:ext cx="1778599" cy="578317"/>
          </a:xfrm>
          <a:prstGeom prst="rect">
            <a:avLst/>
          </a:prstGeom>
        </p:spPr>
      </p:pic>
    </p:spTree>
    <p:extLst>
      <p:ext uri="{BB962C8B-B14F-4D97-AF65-F5344CB8AC3E}">
        <p14:creationId xmlns:p14="http://schemas.microsoft.com/office/powerpoint/2010/main" val="3881450869"/>
      </p:ext>
    </p:extLst>
  </p:cSld>
  <p:clrMap bg1="lt1" tx1="dk1" bg2="lt2" tx2="dk2" accent1="accent1" accent2="accent2" accent3="accent3" accent4="accent4" accent5="accent5" accent6="accent6" hlink="hlink" folHlink="folHlink"/>
  <p:sldLayoutIdLst>
    <p:sldLayoutId id="2147483801" r:id="rId1"/>
    <p:sldLayoutId id="2147483739" r:id="rId2"/>
    <p:sldLayoutId id="2147483740" r:id="rId3"/>
    <p:sldLayoutId id="2147483770" r:id="rId4"/>
    <p:sldLayoutId id="2147483741" r:id="rId5"/>
    <p:sldLayoutId id="2147483771" r:id="rId6"/>
    <p:sldLayoutId id="2147483742" r:id="rId7"/>
    <p:sldLayoutId id="2147483772" r:id="rId8"/>
    <p:sldLayoutId id="2147483747" r:id="rId9"/>
    <p:sldLayoutId id="2147483743" r:id="rId10"/>
    <p:sldLayoutId id="2147483773" r:id="rId11"/>
    <p:sldLayoutId id="2147483745" r:id="rId12"/>
    <p:sldLayoutId id="2147483774" r:id="rId13"/>
    <p:sldLayoutId id="2147483746" r:id="rId14"/>
    <p:sldLayoutId id="2147483775" r:id="rId15"/>
    <p:sldLayoutId id="2147483781" r:id="rId16"/>
    <p:sldLayoutId id="2147483780" r:id="rId17"/>
    <p:sldLayoutId id="2147483748" r:id="rId18"/>
    <p:sldLayoutId id="2147483752" r:id="rId19"/>
    <p:sldLayoutId id="2147483753" r:id="rId20"/>
    <p:sldLayoutId id="2147483754" r:id="rId21"/>
    <p:sldLayoutId id="2147483761" r:id="rId22"/>
    <p:sldLayoutId id="2147483776" r:id="rId23"/>
    <p:sldLayoutId id="2147483763" r:id="rId24"/>
    <p:sldLayoutId id="2147483755" r:id="rId25"/>
    <p:sldLayoutId id="2147483802" r:id="rId26"/>
    <p:sldLayoutId id="2147483806" r:id="rId27"/>
    <p:sldLayoutId id="2147483804" r:id="rId28"/>
    <p:sldLayoutId id="2147483808" r:id="rId29"/>
    <p:sldLayoutId id="2147483756" r:id="rId30"/>
    <p:sldLayoutId id="2147483757" r:id="rId31"/>
    <p:sldLayoutId id="2147483758" r:id="rId32"/>
    <p:sldLayoutId id="2147483759" r:id="rId33"/>
    <p:sldLayoutId id="2147483760" r:id="rId34"/>
    <p:sldLayoutId id="2147483764" r:id="rId35"/>
    <p:sldLayoutId id="2147483765" r:id="rId36"/>
    <p:sldLayoutId id="2147483870" r:id="rId37"/>
    <p:sldLayoutId id="2147483805" r:id="rId38"/>
    <p:sldLayoutId id="2147483871" r:id="rId39"/>
    <p:sldLayoutId id="2147483869" r:id="rId40"/>
    <p:sldLayoutId id="2147483868" r:id="rId41"/>
    <p:sldLayoutId id="2147483865" r:id="rId42"/>
    <p:sldLayoutId id="2147483867" r:id="rId43"/>
    <p:sldLayoutId id="2147483814" r:id="rId44"/>
    <p:sldLayoutId id="2147483815" r:id="rId45"/>
    <p:sldLayoutId id="2147483807" r:id="rId46"/>
    <p:sldLayoutId id="2147483766" r:id="rId47"/>
    <p:sldLayoutId id="2147483816" r:id="rId48"/>
    <p:sldLayoutId id="2147483873" r:id="rId49"/>
    <p:sldLayoutId id="2147483874" r:id="rId50"/>
    <p:sldLayoutId id="2147483875" r:id="rId51"/>
    <p:sldLayoutId id="2147483876" r:id="rId52"/>
    <p:sldLayoutId id="2147483878" r:id="rId53"/>
    <p:sldLayoutId id="2147483879" r:id="rId54"/>
    <p:sldLayoutId id="2147483880" r:id="rId55"/>
    <p:sldLayoutId id="2147483881" r:id="rId56"/>
    <p:sldLayoutId id="2147483882" r:id="rId57"/>
    <p:sldLayoutId id="2147483883" r:id="rId58"/>
    <p:sldLayoutId id="2147483884" r:id="rId59"/>
  </p:sldLayoutIdLst>
  <p:hf hdr="0"/>
  <p:txStyles>
    <p:titleStyle>
      <a:lvl1pPr algn="l" defTabSz="914400" rtl="0" eaLnBrk="1" latinLnBrk="0" hangingPunct="1">
        <a:lnSpc>
          <a:spcPct val="90000"/>
        </a:lnSpc>
        <a:spcBef>
          <a:spcPct val="0"/>
        </a:spcBef>
        <a:buNone/>
        <a:defRPr sz="3200" kern="1200" cap="all" baseline="0">
          <a:solidFill>
            <a:schemeClr val="tx2"/>
          </a:solidFill>
          <a:latin typeface="NLRTM ExtraBold" panose="00000900000000000000" pitchFamily="2" charset="0"/>
          <a:ea typeface="+mj-ea"/>
          <a:cs typeface="+mj-cs"/>
        </a:defRPr>
      </a:lvl1pPr>
    </p:titleStyle>
    <p:bodyStyle>
      <a:lvl1pPr marL="0" indent="0" algn="l" defTabSz="914400" rtl="0" eaLnBrk="1" latinLnBrk="0" hangingPunct="1">
        <a:lnSpc>
          <a:spcPct val="90000"/>
        </a:lnSpc>
        <a:spcBef>
          <a:spcPts val="700"/>
        </a:spcBef>
        <a:spcAft>
          <a:spcPts val="700"/>
        </a:spcAft>
        <a:buFont typeface="Arial" panose="020B0604020202020204" pitchFamily="34" charset="0"/>
        <a:buNone/>
        <a:defRPr sz="2000" b="0" i="0" u="none" kern="1200" spc="20" baseline="0">
          <a:solidFill>
            <a:schemeClr val="tx2"/>
          </a:solidFill>
          <a:effectLst/>
          <a:latin typeface="+mn-lt"/>
          <a:ea typeface="+mn-ea"/>
          <a:cs typeface="+mn-cs"/>
        </a:defRPr>
      </a:lvl1pPr>
      <a:lvl2pPr marL="180975" indent="-180975" algn="l" defTabSz="914400" rtl="0" eaLnBrk="1" latinLnBrk="0" hangingPunct="1">
        <a:lnSpc>
          <a:spcPct val="90000"/>
        </a:lnSpc>
        <a:spcBef>
          <a:spcPts val="700"/>
        </a:spcBef>
        <a:spcAft>
          <a:spcPts val="700"/>
        </a:spcAft>
        <a:buSzPct val="110000"/>
        <a:buFont typeface="Arial" panose="020B0604020202020204" pitchFamily="34" charset="0"/>
        <a:buChar char="•"/>
        <a:defRPr sz="2000" kern="1200" spc="20" baseline="0">
          <a:solidFill>
            <a:schemeClr val="tx2"/>
          </a:solidFill>
          <a:latin typeface="+mn-lt"/>
          <a:ea typeface="+mn-ea"/>
          <a:cs typeface="+mn-cs"/>
        </a:defRPr>
      </a:lvl2pPr>
      <a:lvl3pPr marL="355600" indent="-177800" algn="l" defTabSz="914400" rtl="0" eaLnBrk="1" latinLnBrk="0" hangingPunct="1">
        <a:lnSpc>
          <a:spcPct val="90000"/>
        </a:lnSpc>
        <a:spcBef>
          <a:spcPts val="700"/>
        </a:spcBef>
        <a:spcAft>
          <a:spcPts val="700"/>
        </a:spcAft>
        <a:buFont typeface="Arial" panose="020B0604020202020204" pitchFamily="34" charset="0"/>
        <a:buChar char="−"/>
        <a:defRPr sz="1800" kern="1200" spc="20" baseline="0">
          <a:solidFill>
            <a:schemeClr val="tx2"/>
          </a:solidFill>
          <a:latin typeface="+mn-lt"/>
          <a:ea typeface="+mn-ea"/>
          <a:cs typeface="+mn-cs"/>
        </a:defRPr>
      </a:lvl3pPr>
      <a:lvl4pPr marL="0" indent="0" algn="l" defTabSz="914400" rtl="0" eaLnBrk="1" latinLnBrk="0" hangingPunct="1">
        <a:lnSpc>
          <a:spcPct val="90000"/>
        </a:lnSpc>
        <a:spcBef>
          <a:spcPts val="700"/>
        </a:spcBef>
        <a:spcAft>
          <a:spcPts val="700"/>
        </a:spcAft>
        <a:buFont typeface="Arial" panose="020B0604020202020204" pitchFamily="34" charset="0"/>
        <a:buNone/>
        <a:defRPr sz="2400" b="0" kern="1200" spc="20" baseline="0">
          <a:solidFill>
            <a:schemeClr val="tx2"/>
          </a:solidFill>
          <a:latin typeface="+mj-lt"/>
          <a:ea typeface="+mn-ea"/>
          <a:cs typeface="+mn-cs"/>
        </a:defRPr>
      </a:lvl4pPr>
      <a:lvl5pPr marL="0" indent="0" algn="l" defTabSz="914400" rtl="0" eaLnBrk="1" latinLnBrk="0" hangingPunct="1">
        <a:lnSpc>
          <a:spcPct val="90000"/>
        </a:lnSpc>
        <a:spcBef>
          <a:spcPts val="700"/>
        </a:spcBef>
        <a:spcAft>
          <a:spcPts val="700"/>
        </a:spcAft>
        <a:buFont typeface="Arial" panose="020B0604020202020204" pitchFamily="34" charset="0"/>
        <a:buNone/>
        <a:defRPr sz="3200" kern="1200" spc="20" baseline="0">
          <a:solidFill>
            <a:schemeClr val="tx2"/>
          </a:solidFill>
          <a:latin typeface="+mj-lt"/>
          <a:ea typeface="+mn-ea"/>
          <a:cs typeface="+mn-cs"/>
        </a:defRPr>
      </a:lvl5pPr>
      <a:lvl6pPr marL="342900" indent="-342900" algn="l" defTabSz="914400" rtl="0" eaLnBrk="1" latinLnBrk="0" hangingPunct="1">
        <a:lnSpc>
          <a:spcPct val="90000"/>
        </a:lnSpc>
        <a:spcBef>
          <a:spcPts val="700"/>
        </a:spcBef>
        <a:spcAft>
          <a:spcPts val="700"/>
        </a:spcAft>
        <a:buFont typeface="+mj-lt"/>
        <a:buAutoNum type="arabicPeriod"/>
        <a:defRPr sz="2000" kern="1200" spc="20" baseline="0">
          <a:solidFill>
            <a:schemeClr val="tx2"/>
          </a:solidFill>
          <a:latin typeface="+mn-lt"/>
          <a:ea typeface="+mn-ea"/>
          <a:cs typeface="+mn-cs"/>
        </a:defRPr>
      </a:lvl6pPr>
      <a:lvl7pPr marL="531813" indent="-176213" algn="l" defTabSz="914400" rtl="0" eaLnBrk="1" latinLnBrk="0" hangingPunct="1">
        <a:lnSpc>
          <a:spcPct val="90000"/>
        </a:lnSpc>
        <a:spcBef>
          <a:spcPts val="700"/>
        </a:spcBef>
        <a:spcAft>
          <a:spcPts val="700"/>
        </a:spcAft>
        <a:buSzPct val="110000"/>
        <a:buFont typeface="Arial" panose="020B0604020202020204" pitchFamily="34" charset="0"/>
        <a:buChar char="•"/>
        <a:defRPr sz="2000" kern="1200" spc="20" baseline="0">
          <a:solidFill>
            <a:schemeClr val="tx2"/>
          </a:solidFill>
          <a:latin typeface="+mn-lt"/>
          <a:ea typeface="+mn-ea"/>
          <a:cs typeface="+mn-cs"/>
        </a:defRPr>
      </a:lvl7pPr>
      <a:lvl8pPr marL="723900" indent="-192088" algn="l" defTabSz="914400" rtl="0" eaLnBrk="1" latinLnBrk="0" hangingPunct="1">
        <a:lnSpc>
          <a:spcPct val="90000"/>
        </a:lnSpc>
        <a:spcBef>
          <a:spcPts val="700"/>
        </a:spcBef>
        <a:spcAft>
          <a:spcPts val="700"/>
        </a:spcAft>
        <a:buFont typeface="Arial" panose="020B0604020202020204" pitchFamily="34" charset="0"/>
        <a:buChar char="−"/>
        <a:defRPr sz="1800" kern="1200" spc="20" baseline="0">
          <a:solidFill>
            <a:schemeClr val="tx2"/>
          </a:solidFill>
          <a:latin typeface="+mn-lt"/>
          <a:ea typeface="+mn-ea"/>
          <a:cs typeface="+mn-cs"/>
        </a:defRPr>
      </a:lvl8pPr>
      <a:lvl9pPr marL="0" indent="0" algn="l" defTabSz="914400" rtl="0" eaLnBrk="1" latinLnBrk="0" hangingPunct="1">
        <a:lnSpc>
          <a:spcPct val="90000"/>
        </a:lnSpc>
        <a:spcBef>
          <a:spcPts val="700"/>
        </a:spcBef>
        <a:spcAft>
          <a:spcPts val="700"/>
        </a:spcAft>
        <a:buFont typeface="Arial" panose="020B0604020202020204" pitchFamily="34" charset="0"/>
        <a:buNone/>
        <a:defRPr sz="1600" i="1" kern="1200" spc="20" baseline="0">
          <a:solidFill>
            <a:schemeClr val="tx2"/>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56" userDrawn="1">
          <p15:clr>
            <a:srgbClr val="F26B43"/>
          </p15:clr>
        </p15:guide>
        <p15:guide id="2" pos="384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8" name="Afgeronde rechthoek 7"/>
          <p:cNvSpPr/>
          <p:nvPr/>
        </p:nvSpPr>
        <p:spPr>
          <a:xfrm>
            <a:off x="0" y="0"/>
            <a:ext cx="12195175" cy="6858000"/>
          </a:xfrm>
          <a:prstGeom prst="roundRect">
            <a:avLst>
              <a:gd name="adj" fmla="val 138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9" name="Rechthoek 8"/>
          <p:cNvSpPr/>
          <p:nvPr userDrawn="1"/>
        </p:nvSpPr>
        <p:spPr>
          <a:xfrm>
            <a:off x="0" y="1424763"/>
            <a:ext cx="12195175" cy="45544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mn-lt"/>
            </a:endParaRPr>
          </a:p>
        </p:txBody>
      </p:sp>
      <p:sp>
        <p:nvSpPr>
          <p:cNvPr id="2" name="Tijdelijke aanduiding voor titel 1"/>
          <p:cNvSpPr>
            <a:spLocks noGrp="1"/>
          </p:cNvSpPr>
          <p:nvPr>
            <p:ph type="title"/>
          </p:nvPr>
        </p:nvSpPr>
        <p:spPr>
          <a:xfrm>
            <a:off x="472587" y="192001"/>
            <a:ext cx="11250000" cy="648000"/>
          </a:xfrm>
          <a:prstGeom prst="rect">
            <a:avLst/>
          </a:prstGeom>
        </p:spPr>
        <p:txBody>
          <a:bodyPr vert="horz" lIns="72000" tIns="144000" rIns="72000" bIns="144000" rtlCol="0" anchor="t">
            <a:noAutofit/>
          </a:bodyPr>
          <a:lstStyle/>
          <a:p>
            <a:r>
              <a:rPr lang="nl-NL" dirty="0"/>
              <a:t>Klik om de stijl te bewerken</a:t>
            </a:r>
            <a:endParaRPr lang="en-GB" dirty="0"/>
          </a:p>
        </p:txBody>
      </p:sp>
      <p:sp>
        <p:nvSpPr>
          <p:cNvPr id="3" name="Tijdelijke aanduiding voor tekst 2"/>
          <p:cNvSpPr>
            <a:spLocks noGrp="1"/>
          </p:cNvSpPr>
          <p:nvPr>
            <p:ph type="body" idx="1"/>
          </p:nvPr>
        </p:nvSpPr>
        <p:spPr>
          <a:xfrm>
            <a:off x="472587" y="1420099"/>
            <a:ext cx="11250000" cy="4554421"/>
          </a:xfrm>
          <a:prstGeom prst="rect">
            <a:avLst/>
          </a:prstGeom>
        </p:spPr>
        <p:txBody>
          <a:bodyPr vert="horz" lIns="72000" tIns="270000" rIns="144000" bIns="270000" rtlCol="0">
            <a:no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a:p>
            <a:pPr lvl="5"/>
            <a:r>
              <a:rPr lang="nl-NL" dirty="0"/>
              <a:t>Zes</a:t>
            </a:r>
          </a:p>
          <a:p>
            <a:pPr lvl="6"/>
            <a:r>
              <a:rPr lang="nl-NL" dirty="0"/>
              <a:t>Zeven</a:t>
            </a:r>
          </a:p>
          <a:p>
            <a:pPr lvl="7"/>
            <a:r>
              <a:rPr lang="nl-NL" dirty="0"/>
              <a:t>Acht</a:t>
            </a:r>
          </a:p>
          <a:p>
            <a:pPr lvl="8"/>
            <a:r>
              <a:rPr lang="nl-NL" dirty="0"/>
              <a:t>Negen</a:t>
            </a:r>
            <a:endParaRPr lang="en-GB" dirty="0"/>
          </a:p>
        </p:txBody>
      </p:sp>
      <p:sp>
        <p:nvSpPr>
          <p:cNvPr id="4" name="Tijdelijke aanduiding voor datum 3"/>
          <p:cNvSpPr>
            <a:spLocks noGrp="1"/>
          </p:cNvSpPr>
          <p:nvPr>
            <p:ph type="dt" sz="half" idx="2"/>
          </p:nvPr>
        </p:nvSpPr>
        <p:spPr>
          <a:xfrm>
            <a:off x="1524003" y="6244343"/>
            <a:ext cx="2744788" cy="365125"/>
          </a:xfrm>
          <a:prstGeom prst="rect">
            <a:avLst/>
          </a:prstGeom>
        </p:spPr>
        <p:txBody>
          <a:bodyPr vert="horz" lIns="0" tIns="0" rIns="0" bIns="0" rtlCol="0" anchor="ctr"/>
          <a:lstStyle>
            <a:lvl1pPr algn="l">
              <a:defRPr sz="1100">
                <a:solidFill>
                  <a:schemeClr val="tx2"/>
                </a:solidFill>
                <a:latin typeface="+mn-lt"/>
              </a:defRPr>
            </a:lvl1pPr>
          </a:lstStyle>
          <a:p>
            <a:fld id="{84D8C041-4BEC-4902-90AC-BAED4063E0B5}" type="datetime4">
              <a:rPr lang="en-GB" smtClean="0"/>
              <a:t>29 May 2020</a:t>
            </a:fld>
            <a:endParaRPr lang="en-GB" dirty="0"/>
          </a:p>
        </p:txBody>
      </p:sp>
      <p:sp>
        <p:nvSpPr>
          <p:cNvPr id="5" name="Tijdelijke aanduiding voor voettekst 4"/>
          <p:cNvSpPr>
            <a:spLocks noGrp="1"/>
          </p:cNvSpPr>
          <p:nvPr>
            <p:ph type="ftr" sz="quarter" idx="3"/>
          </p:nvPr>
        </p:nvSpPr>
        <p:spPr>
          <a:xfrm>
            <a:off x="769629" y="6208247"/>
            <a:ext cx="814092" cy="365125"/>
          </a:xfrm>
          <a:prstGeom prst="rect">
            <a:avLst/>
          </a:prstGeom>
        </p:spPr>
        <p:txBody>
          <a:bodyPr vert="horz" lIns="0" tIns="0" rIns="0" bIns="0" rtlCol="0" anchor="ctr"/>
          <a:lstStyle>
            <a:lvl1pPr algn="ctr">
              <a:defRPr sz="1800">
                <a:solidFill>
                  <a:schemeClr val="tx2"/>
                </a:solidFill>
                <a:latin typeface="+mn-lt"/>
              </a:defRPr>
            </a:lvl1pPr>
          </a:lstStyle>
          <a:p>
            <a:r>
              <a:rPr lang="en-GB"/>
              <a:t>|</a:t>
            </a:r>
            <a:endParaRPr lang="en-GB" dirty="0"/>
          </a:p>
        </p:txBody>
      </p:sp>
      <p:sp>
        <p:nvSpPr>
          <p:cNvPr id="6" name="Tijdelijke aanduiding voor dianummer 5"/>
          <p:cNvSpPr>
            <a:spLocks noGrp="1"/>
          </p:cNvSpPr>
          <p:nvPr>
            <p:ph type="sldNum" sz="quarter" idx="4"/>
          </p:nvPr>
        </p:nvSpPr>
        <p:spPr>
          <a:xfrm>
            <a:off x="288762" y="6244343"/>
            <a:ext cx="540585" cy="365125"/>
          </a:xfrm>
          <a:prstGeom prst="rect">
            <a:avLst/>
          </a:prstGeom>
        </p:spPr>
        <p:txBody>
          <a:bodyPr vert="horz" lIns="0" tIns="0" rIns="0" bIns="0" rtlCol="0" anchor="ctr"/>
          <a:lstStyle>
            <a:lvl1pPr algn="r">
              <a:defRPr sz="1100">
                <a:solidFill>
                  <a:schemeClr val="tx2"/>
                </a:solidFill>
                <a:latin typeface="+mn-lt"/>
              </a:defRPr>
            </a:lvl1pPr>
          </a:lstStyle>
          <a:p>
            <a:fld id="{534B5F9C-CFE5-4EC6-9BBB-664E2F56B033}" type="slidenum">
              <a:rPr lang="en-GB" smtClean="0"/>
              <a:pPr/>
              <a:t>‹nr.›</a:t>
            </a:fld>
            <a:endParaRPr lang="en-GB" dirty="0"/>
          </a:p>
        </p:txBody>
      </p:sp>
      <p:sp>
        <p:nvSpPr>
          <p:cNvPr id="12" name="Tijdelijke aanduiding voor dianummer 5" hidden="1"/>
          <p:cNvSpPr txBox="1">
            <a:spLocks/>
          </p:cNvSpPr>
          <p:nvPr/>
        </p:nvSpPr>
        <p:spPr>
          <a:xfrm>
            <a:off x="4674817" y="6555318"/>
            <a:ext cx="2845541" cy="345017"/>
          </a:xfrm>
          <a:prstGeom prst="rect">
            <a:avLst/>
          </a:prstGeom>
        </p:spPr>
        <p:txBody>
          <a:bodyPr vert="horz" lIns="121920" tIns="60960" rIns="121920" bIns="60960" rtlCol="0" anchor="ctr"/>
          <a:lstStyle>
            <a:defPPr>
              <a:defRPr lang="nl-NL"/>
            </a:defPPr>
            <a:lvl1pPr marL="0" algn="r" defTabSz="914400" rtl="0" eaLnBrk="1" latinLnBrk="0" hangingPunct="1">
              <a:defRPr sz="8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chemeClr val="tx2"/>
                </a:solidFill>
                <a:latin typeface="+mn-lt"/>
              </a:rPr>
              <a:t>© Copyright - Port of Rotterdam</a:t>
            </a:r>
            <a:endParaRPr lang="nl-NL" sz="800" dirty="0">
              <a:solidFill>
                <a:schemeClr val="tx2"/>
              </a:solidFill>
              <a:latin typeface="+mn-lt"/>
            </a:endParaRPr>
          </a:p>
        </p:txBody>
      </p:sp>
      <p:pic>
        <p:nvPicPr>
          <p:cNvPr id="13" name="Afbeelding 12">
            <a:extLst>
              <a:ext uri="{FF2B5EF4-FFF2-40B4-BE49-F238E27FC236}">
                <a16:creationId xmlns:a16="http://schemas.microsoft.com/office/drawing/2014/main" id="{79449C17-D9E8-4EF1-9FEE-6F3D3C34542A}"/>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9936848" y="6147827"/>
            <a:ext cx="1778599" cy="578317"/>
          </a:xfrm>
          <a:prstGeom prst="rect">
            <a:avLst/>
          </a:prstGeom>
        </p:spPr>
      </p:pic>
    </p:spTree>
    <p:extLst>
      <p:ext uri="{BB962C8B-B14F-4D97-AF65-F5344CB8AC3E}">
        <p14:creationId xmlns:p14="http://schemas.microsoft.com/office/powerpoint/2010/main" val="2277236275"/>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Lst>
  <p:hf hdr="0"/>
  <p:txStyles>
    <p:titleStyle>
      <a:lvl1pPr algn="l" defTabSz="914400" rtl="0" eaLnBrk="1" latinLnBrk="0" hangingPunct="1">
        <a:lnSpc>
          <a:spcPct val="90000"/>
        </a:lnSpc>
        <a:spcBef>
          <a:spcPct val="0"/>
        </a:spcBef>
        <a:buNone/>
        <a:defRPr sz="3200" kern="1200" cap="all" baseline="0">
          <a:solidFill>
            <a:schemeClr val="tx2"/>
          </a:solidFill>
          <a:latin typeface="NLRTM ExtraBold" panose="00000900000000000000" pitchFamily="2" charset="0"/>
          <a:ea typeface="+mj-ea"/>
          <a:cs typeface="+mj-cs"/>
        </a:defRPr>
      </a:lvl1pPr>
    </p:titleStyle>
    <p:bodyStyle>
      <a:lvl1pPr marL="0" indent="0" algn="l" defTabSz="914400" rtl="0" eaLnBrk="1" latinLnBrk="0" hangingPunct="1">
        <a:lnSpc>
          <a:spcPct val="90000"/>
        </a:lnSpc>
        <a:spcBef>
          <a:spcPts val="700"/>
        </a:spcBef>
        <a:spcAft>
          <a:spcPts val="700"/>
        </a:spcAft>
        <a:buFont typeface="Arial" panose="020B0604020202020204" pitchFamily="34" charset="0"/>
        <a:buNone/>
        <a:defRPr sz="2000" b="0" i="0" u="none" kern="1200" spc="20" baseline="0">
          <a:solidFill>
            <a:schemeClr val="tx2"/>
          </a:solidFill>
          <a:effectLst/>
          <a:latin typeface="+mn-lt"/>
          <a:ea typeface="+mn-ea"/>
          <a:cs typeface="+mn-cs"/>
        </a:defRPr>
      </a:lvl1pPr>
      <a:lvl2pPr marL="180975" indent="-180975" algn="l" defTabSz="914400" rtl="0" eaLnBrk="1" latinLnBrk="0" hangingPunct="1">
        <a:lnSpc>
          <a:spcPct val="90000"/>
        </a:lnSpc>
        <a:spcBef>
          <a:spcPts val="700"/>
        </a:spcBef>
        <a:spcAft>
          <a:spcPts val="700"/>
        </a:spcAft>
        <a:buSzPct val="110000"/>
        <a:buFont typeface="Arial" panose="020B0604020202020204" pitchFamily="34" charset="0"/>
        <a:buChar char="•"/>
        <a:defRPr sz="2000" kern="1200" spc="20" baseline="0">
          <a:solidFill>
            <a:schemeClr val="tx2"/>
          </a:solidFill>
          <a:latin typeface="+mn-lt"/>
          <a:ea typeface="+mn-ea"/>
          <a:cs typeface="+mn-cs"/>
        </a:defRPr>
      </a:lvl2pPr>
      <a:lvl3pPr marL="355600" indent="-177800" algn="l" defTabSz="914400" rtl="0" eaLnBrk="1" latinLnBrk="0" hangingPunct="1">
        <a:lnSpc>
          <a:spcPct val="90000"/>
        </a:lnSpc>
        <a:spcBef>
          <a:spcPts val="700"/>
        </a:spcBef>
        <a:spcAft>
          <a:spcPts val="700"/>
        </a:spcAft>
        <a:buFont typeface="Arial" panose="020B0604020202020204" pitchFamily="34" charset="0"/>
        <a:buChar char="−"/>
        <a:defRPr sz="1800" kern="1200" spc="20" baseline="0">
          <a:solidFill>
            <a:schemeClr val="tx2"/>
          </a:solidFill>
          <a:latin typeface="+mn-lt"/>
          <a:ea typeface="+mn-ea"/>
          <a:cs typeface="+mn-cs"/>
        </a:defRPr>
      </a:lvl3pPr>
      <a:lvl4pPr marL="0" indent="0" algn="l" defTabSz="914400" rtl="0" eaLnBrk="1" latinLnBrk="0" hangingPunct="1">
        <a:lnSpc>
          <a:spcPct val="90000"/>
        </a:lnSpc>
        <a:spcBef>
          <a:spcPts val="700"/>
        </a:spcBef>
        <a:spcAft>
          <a:spcPts val="700"/>
        </a:spcAft>
        <a:buFont typeface="Arial" panose="020B0604020202020204" pitchFamily="34" charset="0"/>
        <a:buNone/>
        <a:defRPr sz="2400" b="0" kern="1200" spc="20" baseline="0">
          <a:solidFill>
            <a:schemeClr val="tx2"/>
          </a:solidFill>
          <a:latin typeface="+mj-lt"/>
          <a:ea typeface="+mn-ea"/>
          <a:cs typeface="+mn-cs"/>
        </a:defRPr>
      </a:lvl4pPr>
      <a:lvl5pPr marL="0" indent="0" algn="l" defTabSz="914400" rtl="0" eaLnBrk="1" latinLnBrk="0" hangingPunct="1">
        <a:lnSpc>
          <a:spcPct val="90000"/>
        </a:lnSpc>
        <a:spcBef>
          <a:spcPts val="700"/>
        </a:spcBef>
        <a:spcAft>
          <a:spcPts val="700"/>
        </a:spcAft>
        <a:buFont typeface="Arial" panose="020B0604020202020204" pitchFamily="34" charset="0"/>
        <a:buNone/>
        <a:defRPr sz="3200" kern="1200" spc="20" baseline="0">
          <a:solidFill>
            <a:schemeClr val="tx2"/>
          </a:solidFill>
          <a:latin typeface="+mj-lt"/>
          <a:ea typeface="+mn-ea"/>
          <a:cs typeface="+mn-cs"/>
        </a:defRPr>
      </a:lvl5pPr>
      <a:lvl6pPr marL="342900" indent="-342900" algn="l" defTabSz="914400" rtl="0" eaLnBrk="1" latinLnBrk="0" hangingPunct="1">
        <a:lnSpc>
          <a:spcPct val="90000"/>
        </a:lnSpc>
        <a:spcBef>
          <a:spcPts val="700"/>
        </a:spcBef>
        <a:spcAft>
          <a:spcPts val="700"/>
        </a:spcAft>
        <a:buFont typeface="+mj-lt"/>
        <a:buAutoNum type="arabicPeriod"/>
        <a:defRPr sz="2000" kern="1200" spc="20" baseline="0">
          <a:solidFill>
            <a:schemeClr val="tx2"/>
          </a:solidFill>
          <a:latin typeface="+mn-lt"/>
          <a:ea typeface="+mn-ea"/>
          <a:cs typeface="+mn-cs"/>
        </a:defRPr>
      </a:lvl6pPr>
      <a:lvl7pPr marL="531813" indent="-176213" algn="l" defTabSz="914400" rtl="0" eaLnBrk="1" latinLnBrk="0" hangingPunct="1">
        <a:lnSpc>
          <a:spcPct val="90000"/>
        </a:lnSpc>
        <a:spcBef>
          <a:spcPts val="700"/>
        </a:spcBef>
        <a:spcAft>
          <a:spcPts val="700"/>
        </a:spcAft>
        <a:buSzPct val="110000"/>
        <a:buFont typeface="Arial" panose="020B0604020202020204" pitchFamily="34" charset="0"/>
        <a:buChar char="•"/>
        <a:defRPr sz="2000" kern="1200" spc="20" baseline="0">
          <a:solidFill>
            <a:schemeClr val="tx2"/>
          </a:solidFill>
          <a:latin typeface="+mn-lt"/>
          <a:ea typeface="+mn-ea"/>
          <a:cs typeface="+mn-cs"/>
        </a:defRPr>
      </a:lvl7pPr>
      <a:lvl8pPr marL="723900" indent="-192088" algn="l" defTabSz="914400" rtl="0" eaLnBrk="1" latinLnBrk="0" hangingPunct="1">
        <a:lnSpc>
          <a:spcPct val="90000"/>
        </a:lnSpc>
        <a:spcBef>
          <a:spcPts val="700"/>
        </a:spcBef>
        <a:spcAft>
          <a:spcPts val="700"/>
        </a:spcAft>
        <a:buFont typeface="Arial" panose="020B0604020202020204" pitchFamily="34" charset="0"/>
        <a:buChar char="−"/>
        <a:defRPr sz="1800" kern="1200" spc="20" baseline="0">
          <a:solidFill>
            <a:schemeClr val="tx2"/>
          </a:solidFill>
          <a:latin typeface="+mn-lt"/>
          <a:ea typeface="+mn-ea"/>
          <a:cs typeface="+mn-cs"/>
        </a:defRPr>
      </a:lvl8pPr>
      <a:lvl9pPr marL="0" indent="0" algn="l" defTabSz="914400" rtl="0" eaLnBrk="1" latinLnBrk="0" hangingPunct="1">
        <a:lnSpc>
          <a:spcPct val="90000"/>
        </a:lnSpc>
        <a:spcBef>
          <a:spcPts val="700"/>
        </a:spcBef>
        <a:spcAft>
          <a:spcPts val="700"/>
        </a:spcAft>
        <a:buFont typeface="Arial" panose="020B0604020202020204" pitchFamily="34" charset="0"/>
        <a:buNone/>
        <a:defRPr sz="1600" i="1" kern="1200" spc="20" baseline="0">
          <a:solidFill>
            <a:schemeClr val="tx2"/>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56">
          <p15:clr>
            <a:srgbClr val="F26B43"/>
          </p15:clr>
        </p15:guide>
        <p15:guide id="2" pos="384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8.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chart" Target="../charts/chart3.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1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8.xml"/><Relationship Id="rId1" Type="http://schemas.openxmlformats.org/officeDocument/2006/relationships/tags" Target="../tags/tag17.xml"/><Relationship Id="rId4" Type="http://schemas.openxmlformats.org/officeDocument/2006/relationships/image" Target="../media/image30.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8.xml"/><Relationship Id="rId1" Type="http://schemas.openxmlformats.org/officeDocument/2006/relationships/tags" Target="../tags/tag18.xml"/><Relationship Id="rId4" Type="http://schemas.openxmlformats.org/officeDocument/2006/relationships/image" Target="../media/image30.emf"/></Relationships>
</file>

<file path=ppt/slides/_rels/slide16.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notesSlide" Target="../notesSlides/notesSlide12.xml"/><Relationship Id="rId7" Type="http://schemas.openxmlformats.org/officeDocument/2006/relationships/image" Target="../media/image34.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33.emf"/><Relationship Id="rId5" Type="http://schemas.openxmlformats.org/officeDocument/2006/relationships/image" Target="../media/image32.emf"/><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7.xml"/><Relationship Id="rId1" Type="http://schemas.openxmlformats.org/officeDocument/2006/relationships/tags" Target="../tags/tag20.xml"/><Relationship Id="rId6" Type="http://schemas.openxmlformats.org/officeDocument/2006/relationships/image" Target="../media/image37.png"/><Relationship Id="rId5" Type="http://schemas.microsoft.com/office/2007/relationships/hdphoto" Target="../media/hdphoto1.wdp"/><Relationship Id="rId4" Type="http://schemas.openxmlformats.org/officeDocument/2006/relationships/image" Target="../media/image36.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21.xml"/></Relationships>
</file>

<file path=ppt/slides/_rels/slide1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0.jpeg"/></Relationships>
</file>

<file path=ppt/slides/_rels/slide20.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slideLayout" Target="../slideLayouts/slideLayout28.xml"/><Relationship Id="rId1" Type="http://schemas.openxmlformats.org/officeDocument/2006/relationships/tags" Target="../tags/tag22.xml"/></Relationships>
</file>

<file path=ppt/slides/_rels/slide2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59.xml"/></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5.xml"/><Relationship Id="rId1" Type="http://schemas.openxmlformats.org/officeDocument/2006/relationships/tags" Target="../tags/tag23.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7.xml"/><Relationship Id="rId1" Type="http://schemas.openxmlformats.org/officeDocument/2006/relationships/tags" Target="../tags/tag24.xml"/><Relationship Id="rId4" Type="http://schemas.openxmlformats.org/officeDocument/2006/relationships/image" Target="../media/image45.jpg"/></Relationships>
</file>

<file path=ppt/slides/_rels/slide26.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notesSlide" Target="../notesSlides/notesSlide19.xml"/><Relationship Id="rId7" Type="http://schemas.openxmlformats.org/officeDocument/2006/relationships/image" Target="../media/image48.jpeg"/><Relationship Id="rId2" Type="http://schemas.openxmlformats.org/officeDocument/2006/relationships/slideLayout" Target="../slideLayouts/slideLayout28.xml"/><Relationship Id="rId1" Type="http://schemas.openxmlformats.org/officeDocument/2006/relationships/tags" Target="../tags/tag25.xml"/><Relationship Id="rId6" Type="http://schemas.openxmlformats.org/officeDocument/2006/relationships/image" Target="../media/image47.jpeg"/><Relationship Id="rId11" Type="http://schemas.openxmlformats.org/officeDocument/2006/relationships/image" Target="../media/image52.jpeg"/><Relationship Id="rId5" Type="http://schemas.microsoft.com/office/2007/relationships/hdphoto" Target="../media/hdphoto2.wdp"/><Relationship Id="rId10" Type="http://schemas.openxmlformats.org/officeDocument/2006/relationships/image" Target="../media/image51.jpeg"/><Relationship Id="rId4" Type="http://schemas.openxmlformats.org/officeDocument/2006/relationships/image" Target="../media/image46.png"/><Relationship Id="rId9" Type="http://schemas.openxmlformats.org/officeDocument/2006/relationships/image" Target="../media/image50.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26.xml"/><Relationship Id="rId5" Type="http://schemas.openxmlformats.org/officeDocument/2006/relationships/image" Target="../media/image54.png"/><Relationship Id="rId4" Type="http://schemas.openxmlformats.org/officeDocument/2006/relationships/image" Target="../media/image53.tiff"/></Relationships>
</file>

<file path=ppt/slides/_rels/slide28.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notesSlide" Target="../notesSlides/notesSlide21.xml"/><Relationship Id="rId7" Type="http://schemas.openxmlformats.org/officeDocument/2006/relationships/image" Target="../media/image58.png"/><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2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4.xml"/><Relationship Id="rId4" Type="http://schemas.openxmlformats.org/officeDocument/2006/relationships/image" Target="../media/image21.jpe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8.xml"/><Relationship Id="rId1" Type="http://schemas.openxmlformats.org/officeDocument/2006/relationships/tags" Target="../tags/tag29.xml"/><Relationship Id="rId4" Type="http://schemas.openxmlformats.org/officeDocument/2006/relationships/image" Target="../media/image60.jpeg"/></Relationships>
</file>

<file path=ppt/slides/_rels/slide3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24.xml"/><Relationship Id="rId7" Type="http://schemas.openxmlformats.org/officeDocument/2006/relationships/image" Target="../media/image64.png"/><Relationship Id="rId2" Type="http://schemas.openxmlformats.org/officeDocument/2006/relationships/slideLayout" Target="../slideLayouts/slideLayout28.xml"/><Relationship Id="rId1" Type="http://schemas.openxmlformats.org/officeDocument/2006/relationships/tags" Target="../tags/tag30.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emf"/><Relationship Id="rId9" Type="http://schemas.openxmlformats.org/officeDocument/2006/relationships/image" Target="../media/image66.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7.xml"/><Relationship Id="rId1" Type="http://schemas.openxmlformats.org/officeDocument/2006/relationships/tags" Target="../tags/tag31.xml"/><Relationship Id="rId4" Type="http://schemas.openxmlformats.org/officeDocument/2006/relationships/image" Target="../media/image67.emf"/></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32.xml"/><Relationship Id="rId4" Type="http://schemas.openxmlformats.org/officeDocument/2006/relationships/image" Target="../media/image68.png"/></Relationships>
</file>

<file path=ppt/slides/_rels/slide34.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notesSlide" Target="../notesSlides/notesSlide27.xml"/><Relationship Id="rId7" Type="http://schemas.openxmlformats.org/officeDocument/2006/relationships/image" Target="../media/image72.png"/><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image" Target="../media/image71.jpeg"/><Relationship Id="rId5" Type="http://schemas.openxmlformats.org/officeDocument/2006/relationships/image" Target="../media/image70.jpeg"/><Relationship Id="rId4" Type="http://schemas.openxmlformats.org/officeDocument/2006/relationships/image" Target="../media/image69.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chart" Target="../charts/chart5.xml"/></Relationships>
</file>

<file path=ppt/slides/_rels/slide36.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notesSlide" Target="../notesSlides/notesSlide29.xml"/><Relationship Id="rId7" Type="http://schemas.openxmlformats.org/officeDocument/2006/relationships/image" Target="../media/image77.png"/><Relationship Id="rId2" Type="http://schemas.openxmlformats.org/officeDocument/2006/relationships/slideLayout" Target="../slideLayouts/slideLayout2.xml"/><Relationship Id="rId1" Type="http://schemas.openxmlformats.org/officeDocument/2006/relationships/tags" Target="../tags/tag35.xml"/><Relationship Id="rId6" Type="http://schemas.openxmlformats.org/officeDocument/2006/relationships/image" Target="../media/image76.png"/><Relationship Id="rId5" Type="http://schemas.openxmlformats.org/officeDocument/2006/relationships/image" Target="../media/image75.jpeg"/><Relationship Id="rId4" Type="http://schemas.openxmlformats.org/officeDocument/2006/relationships/image" Target="../media/image74.png"/><Relationship Id="rId9" Type="http://schemas.openxmlformats.org/officeDocument/2006/relationships/image" Target="../media/image79.png"/></Relationships>
</file>

<file path=ppt/slides/_rels/slide37.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slideLayout" Target="../slideLayouts/slideLayout2.xml"/><Relationship Id="rId1" Type="http://schemas.openxmlformats.org/officeDocument/2006/relationships/tags" Target="../tags/tag36.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 Id="rId9" Type="http://schemas.openxmlformats.org/officeDocument/2006/relationships/image" Target="../media/image86.tiff"/></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7.xml"/><Relationship Id="rId1" Type="http://schemas.openxmlformats.org/officeDocument/2006/relationships/tags" Target="../tags/tag37.xml"/><Relationship Id="rId4" Type="http://schemas.openxmlformats.org/officeDocument/2006/relationships/image" Target="../media/image87.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38.xml"/><Relationship Id="rId4" Type="http://schemas.openxmlformats.org/officeDocument/2006/relationships/image" Target="../media/image88.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7.xml"/><Relationship Id="rId1" Type="http://schemas.openxmlformats.org/officeDocument/2006/relationships/tags" Target="../tags/tag5.xml"/><Relationship Id="rId4" Type="http://schemas.openxmlformats.org/officeDocument/2006/relationships/image" Target="../media/image22.jpg"/></Relationships>
</file>

<file path=ppt/slides/_rels/slide4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slideLayout" Target="../slideLayouts/slideLayout26.xml"/><Relationship Id="rId1" Type="http://schemas.openxmlformats.org/officeDocument/2006/relationships/tags" Target="../tags/tag39.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7.xml"/><Relationship Id="rId1" Type="http://schemas.openxmlformats.org/officeDocument/2006/relationships/tags" Target="../tags/tag40.xml"/><Relationship Id="rId4" Type="http://schemas.openxmlformats.org/officeDocument/2006/relationships/image" Target="../media/image90.jpg"/></Relationships>
</file>

<file path=ppt/slides/_rels/slide42.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7.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95.tiff"/><Relationship Id="rId2" Type="http://schemas.openxmlformats.org/officeDocument/2006/relationships/slideLayout" Target="../slideLayouts/slideLayout2.xml"/><Relationship Id="rId1" Type="http://schemas.openxmlformats.org/officeDocument/2006/relationships/tags" Target="../tags/tag41.xml"/><Relationship Id="rId6" Type="http://schemas.openxmlformats.org/officeDocument/2006/relationships/image" Target="../media/image94.tiff"/><Relationship Id="rId5" Type="http://schemas.openxmlformats.org/officeDocument/2006/relationships/image" Target="../media/image93.tiff"/><Relationship Id="rId4" Type="http://schemas.openxmlformats.org/officeDocument/2006/relationships/image" Target="../media/image92.tiff"/></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7.xml"/><Relationship Id="rId1" Type="http://schemas.openxmlformats.org/officeDocument/2006/relationships/tags" Target="../tags/tag42.xml"/><Relationship Id="rId4" Type="http://schemas.openxmlformats.org/officeDocument/2006/relationships/image" Target="../media/image96.jpg"/></Relationships>
</file>

<file path=ppt/slides/_rels/slide45.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slideLayout" Target="../slideLayouts/slideLayout29.xml"/><Relationship Id="rId1" Type="http://schemas.openxmlformats.org/officeDocument/2006/relationships/tags" Target="../tags/tag43.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44.xml"/><Relationship Id="rId5" Type="http://schemas.openxmlformats.org/officeDocument/2006/relationships/image" Target="../media/image99.png"/><Relationship Id="rId4" Type="http://schemas.openxmlformats.org/officeDocument/2006/relationships/image" Target="../media/image98.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xml"/><Relationship Id="rId1" Type="http://schemas.openxmlformats.org/officeDocument/2006/relationships/tags" Target="../tags/tag45.xml"/><Relationship Id="rId4" Type="http://schemas.openxmlformats.org/officeDocument/2006/relationships/image" Target="../media/image100.png"/></Relationships>
</file>

<file path=ppt/slides/_rels/slide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28.xml"/><Relationship Id="rId1" Type="http://schemas.openxmlformats.org/officeDocument/2006/relationships/tags" Target="../tags/tag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7.xml"/><Relationship Id="rId1" Type="http://schemas.openxmlformats.org/officeDocument/2006/relationships/tags" Target="../tags/tag7.xml"/><Relationship Id="rId4" Type="http://schemas.openxmlformats.org/officeDocument/2006/relationships/image" Target="../media/image25.jpg"/></Relationships>
</file>

<file path=ppt/slides/_rels/slide8.xml.rels><?xml version="1.0" encoding="UTF-8" standalone="yes"?>
<Relationships xmlns="http://schemas.openxmlformats.org/package/2006/relationships"><Relationship Id="rId8" Type="http://schemas.openxmlformats.org/officeDocument/2006/relationships/image" Target="../media/image26.tiff"/><Relationship Id="rId3" Type="http://schemas.openxmlformats.org/officeDocument/2006/relationships/tags" Target="../tags/tag10.xml"/><Relationship Id="rId7" Type="http://schemas.openxmlformats.org/officeDocument/2006/relationships/notesSlide" Target="../notesSlides/notesSlide6.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Layout" Target="../slideLayouts/slideLayout2.xml"/><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jdelijke aanduiding voor tekst 21">
            <a:extLst>
              <a:ext uri="{FF2B5EF4-FFF2-40B4-BE49-F238E27FC236}">
                <a16:creationId xmlns:a16="http://schemas.microsoft.com/office/drawing/2014/main" id="{3B742B8F-1928-4649-A166-240325BCE98F}"/>
              </a:ext>
            </a:extLst>
          </p:cNvPr>
          <p:cNvSpPr>
            <a:spLocks noGrp="1"/>
          </p:cNvSpPr>
          <p:nvPr>
            <p:ph type="body" sz="quarter" idx="13"/>
          </p:nvPr>
        </p:nvSpPr>
        <p:spPr/>
        <p:txBody>
          <a:bodyPr/>
          <a:lstStyle/>
          <a:p>
            <a:endParaRPr lang="nl-NL"/>
          </a:p>
        </p:txBody>
      </p:sp>
      <p:sp>
        <p:nvSpPr>
          <p:cNvPr id="23" name="Tijdelijke aanduiding voor tekst 22">
            <a:extLst>
              <a:ext uri="{FF2B5EF4-FFF2-40B4-BE49-F238E27FC236}">
                <a16:creationId xmlns:a16="http://schemas.microsoft.com/office/drawing/2014/main" id="{5083FC71-5F80-477D-B5D1-DA3265F54826}"/>
              </a:ext>
            </a:extLst>
          </p:cNvPr>
          <p:cNvSpPr>
            <a:spLocks noGrp="1"/>
          </p:cNvSpPr>
          <p:nvPr>
            <p:ph type="body" sz="quarter" idx="15"/>
          </p:nvPr>
        </p:nvSpPr>
        <p:spPr/>
        <p:txBody>
          <a:bodyPr/>
          <a:lstStyle/>
          <a:p>
            <a:endParaRPr lang="nl-NL"/>
          </a:p>
        </p:txBody>
      </p:sp>
    </p:spTree>
    <p:custDataLst>
      <p:tags r:id="rId1"/>
    </p:custDataLst>
    <p:extLst>
      <p:ext uri="{BB962C8B-B14F-4D97-AF65-F5344CB8AC3E}">
        <p14:creationId xmlns:p14="http://schemas.microsoft.com/office/powerpoint/2010/main" val="3498642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D1879357-2D2D-441C-AB05-6F98DF9CA73D}"/>
              </a:ext>
            </a:extLst>
          </p:cNvPr>
          <p:cNvSpPr>
            <a:spLocks noGrp="1"/>
          </p:cNvSpPr>
          <p:nvPr>
            <p:ph type="title"/>
          </p:nvPr>
        </p:nvSpPr>
        <p:spPr/>
        <p:txBody>
          <a:bodyPr/>
          <a:lstStyle/>
          <a:p>
            <a:r>
              <a:rPr lang="en-US" dirty="0"/>
              <a:t>ROTTERDAM ACCOUNTS FOR 60% OVERALL GROWTH HAMBURG-LE HAVRE RANGE</a:t>
            </a:r>
            <a:endParaRPr lang="nl-NL" dirty="0"/>
          </a:p>
        </p:txBody>
      </p:sp>
      <p:sp>
        <p:nvSpPr>
          <p:cNvPr id="9" name="Tijdelijke aanduiding voor verticale tekst 8">
            <a:extLst>
              <a:ext uri="{FF2B5EF4-FFF2-40B4-BE49-F238E27FC236}">
                <a16:creationId xmlns:a16="http://schemas.microsoft.com/office/drawing/2014/main" id="{2ADE5FC1-5D92-4002-8A72-38BA6BC653A7}"/>
              </a:ext>
            </a:extLst>
          </p:cNvPr>
          <p:cNvSpPr>
            <a:spLocks noGrp="1"/>
          </p:cNvSpPr>
          <p:nvPr>
            <p:ph type="body" orient="vert" idx="1"/>
          </p:nvPr>
        </p:nvSpPr>
        <p:spPr>
          <a:xfrm>
            <a:off x="7545389" y="1445760"/>
            <a:ext cx="4405312" cy="4553403"/>
          </a:xfrm>
        </p:spPr>
        <p:txBody>
          <a:bodyPr/>
          <a:lstStyle/>
          <a:p>
            <a:pPr lvl="1"/>
            <a:r>
              <a:rPr lang="nl-NL" dirty="0" err="1"/>
              <a:t>Yearly</a:t>
            </a:r>
            <a:r>
              <a:rPr lang="nl-NL" dirty="0"/>
              <a:t> </a:t>
            </a:r>
            <a:r>
              <a:rPr lang="nl-NL" dirty="0" err="1"/>
              <a:t>throughput</a:t>
            </a:r>
            <a:r>
              <a:rPr lang="nl-NL" dirty="0"/>
              <a:t> HLH-range has </a:t>
            </a:r>
            <a:r>
              <a:rPr lang="nl-NL" dirty="0" err="1"/>
              <a:t>grown</a:t>
            </a:r>
            <a:r>
              <a:rPr lang="nl-NL" dirty="0"/>
              <a:t> </a:t>
            </a:r>
            <a:r>
              <a:rPr lang="nl-NL" dirty="0" err="1"/>
              <a:t>from</a:t>
            </a:r>
            <a:r>
              <a:rPr lang="nl-NL" dirty="0"/>
              <a:t> 41,6 </a:t>
            </a:r>
            <a:r>
              <a:rPr lang="nl-NL" dirty="0" err="1"/>
              <a:t>mln</a:t>
            </a:r>
            <a:r>
              <a:rPr lang="nl-NL" dirty="0"/>
              <a:t> TEU in 2016 to 45 </a:t>
            </a:r>
            <a:r>
              <a:rPr lang="nl-NL" dirty="0" err="1"/>
              <a:t>mln</a:t>
            </a:r>
            <a:r>
              <a:rPr lang="nl-NL" dirty="0"/>
              <a:t> TEU in 2018</a:t>
            </a:r>
          </a:p>
          <a:p>
            <a:pPr lvl="1"/>
            <a:r>
              <a:rPr lang="nl-NL" dirty="0"/>
              <a:t>Over 2 </a:t>
            </a:r>
            <a:r>
              <a:rPr lang="nl-NL" dirty="0" err="1"/>
              <a:t>mln</a:t>
            </a:r>
            <a:r>
              <a:rPr lang="nl-NL" dirty="0"/>
              <a:t> TEU of </a:t>
            </a:r>
            <a:r>
              <a:rPr lang="nl-NL" dirty="0" err="1"/>
              <a:t>the</a:t>
            </a:r>
            <a:r>
              <a:rPr lang="nl-NL" dirty="0"/>
              <a:t> extra  </a:t>
            </a:r>
            <a:br>
              <a:rPr lang="nl-NL" dirty="0"/>
            </a:br>
            <a:r>
              <a:rPr lang="nl-NL" dirty="0"/>
              <a:t>3,4 </a:t>
            </a:r>
            <a:r>
              <a:rPr lang="nl-NL" dirty="0" err="1"/>
              <a:t>mln</a:t>
            </a:r>
            <a:r>
              <a:rPr lang="nl-NL" dirty="0"/>
              <a:t> TEU have been </a:t>
            </a:r>
            <a:r>
              <a:rPr lang="nl-NL" dirty="0" err="1"/>
              <a:t>handled</a:t>
            </a:r>
            <a:r>
              <a:rPr lang="nl-NL" dirty="0"/>
              <a:t> in Rotterdam</a:t>
            </a:r>
          </a:p>
          <a:p>
            <a:pPr lvl="1"/>
            <a:r>
              <a:rPr lang="nl-NL" dirty="0" err="1"/>
              <a:t>Thereby</a:t>
            </a:r>
            <a:r>
              <a:rPr lang="nl-NL" dirty="0"/>
              <a:t> Rotterdam </a:t>
            </a:r>
            <a:r>
              <a:rPr lang="nl-NL" dirty="0" err="1"/>
              <a:t>took</a:t>
            </a:r>
            <a:r>
              <a:rPr lang="nl-NL" dirty="0"/>
              <a:t> 60% of </a:t>
            </a:r>
            <a:r>
              <a:rPr lang="nl-NL" dirty="0" err="1"/>
              <a:t>this</a:t>
            </a:r>
            <a:r>
              <a:rPr lang="nl-NL" dirty="0"/>
              <a:t> overall </a:t>
            </a:r>
            <a:r>
              <a:rPr lang="nl-NL" dirty="0" err="1"/>
              <a:t>growth</a:t>
            </a:r>
            <a:endParaRPr lang="nl-NL" dirty="0"/>
          </a:p>
          <a:p>
            <a:pPr lvl="1"/>
            <a:r>
              <a:rPr lang="nl-NL" dirty="0"/>
              <a:t>Total HLH </a:t>
            </a:r>
            <a:r>
              <a:rPr lang="nl-NL" dirty="0" err="1"/>
              <a:t>figures</a:t>
            </a:r>
            <a:r>
              <a:rPr lang="nl-NL" dirty="0"/>
              <a:t> 2019 </a:t>
            </a:r>
            <a:r>
              <a:rPr lang="nl-NL" dirty="0" err="1"/>
              <a:t>not</a:t>
            </a:r>
            <a:r>
              <a:rPr lang="nl-NL" dirty="0"/>
              <a:t> </a:t>
            </a:r>
            <a:r>
              <a:rPr lang="nl-NL" dirty="0" err="1"/>
              <a:t>yet</a:t>
            </a:r>
            <a:r>
              <a:rPr lang="nl-NL" dirty="0"/>
              <a:t> </a:t>
            </a:r>
            <a:r>
              <a:rPr lang="nl-NL" dirty="0" err="1"/>
              <a:t>finalised</a:t>
            </a:r>
            <a:r>
              <a:rPr lang="nl-NL" dirty="0"/>
              <a:t> (</a:t>
            </a:r>
            <a:r>
              <a:rPr lang="nl-NL" dirty="0" err="1"/>
              <a:t>will</a:t>
            </a:r>
            <a:r>
              <a:rPr lang="nl-NL" dirty="0"/>
              <a:t> follow </a:t>
            </a:r>
            <a:r>
              <a:rPr lang="nl-NL" dirty="0" err="1"/>
              <a:t>soon</a:t>
            </a:r>
            <a:r>
              <a:rPr lang="nl-NL" dirty="0"/>
              <a:t>)</a:t>
            </a:r>
          </a:p>
          <a:p>
            <a:endParaRPr lang="nl-NL" dirty="0"/>
          </a:p>
        </p:txBody>
      </p:sp>
      <p:sp>
        <p:nvSpPr>
          <p:cNvPr id="3" name="Tijdelijke aanduiding voor datum 2">
            <a:extLst>
              <a:ext uri="{FF2B5EF4-FFF2-40B4-BE49-F238E27FC236}">
                <a16:creationId xmlns:a16="http://schemas.microsoft.com/office/drawing/2014/main" id="{27CEC574-CE78-437F-93FB-EB2B7A5EB4CB}"/>
              </a:ext>
            </a:extLst>
          </p:cNvPr>
          <p:cNvSpPr>
            <a:spLocks noGrp="1"/>
          </p:cNvSpPr>
          <p:nvPr>
            <p:ph type="dt" sz="half" idx="10"/>
          </p:nvPr>
        </p:nvSpPr>
        <p:spPr/>
        <p:txBody>
          <a:bodyPr/>
          <a:lstStyle/>
          <a:p>
            <a:fld id="{2CE330BB-020D-4A2A-8827-46D535B99732}" type="datetime4">
              <a:rPr lang="en-GB" smtClean="0"/>
              <a:t>29 May 2020</a:t>
            </a:fld>
            <a:endParaRPr lang="en-GB"/>
          </a:p>
        </p:txBody>
      </p:sp>
      <p:sp>
        <p:nvSpPr>
          <p:cNvPr id="4" name="Tijdelijke aanduiding voor voettekst 3">
            <a:extLst>
              <a:ext uri="{FF2B5EF4-FFF2-40B4-BE49-F238E27FC236}">
                <a16:creationId xmlns:a16="http://schemas.microsoft.com/office/drawing/2014/main" id="{EBB4FBB5-5B89-48B7-A1A3-5F5D433FF10C}"/>
              </a:ext>
            </a:extLst>
          </p:cNvPr>
          <p:cNvSpPr>
            <a:spLocks noGrp="1"/>
          </p:cNvSpPr>
          <p:nvPr>
            <p:ph type="ftr" sz="quarter" idx="11"/>
          </p:nvPr>
        </p:nvSpPr>
        <p:spPr/>
        <p:txBody>
          <a:bodyPr/>
          <a:lstStyle/>
          <a:p>
            <a:r>
              <a:rPr lang="en-GB"/>
              <a:t>|</a:t>
            </a:r>
          </a:p>
        </p:txBody>
      </p:sp>
      <p:sp>
        <p:nvSpPr>
          <p:cNvPr id="5" name="Tijdelijke aanduiding voor dianummer 4">
            <a:extLst>
              <a:ext uri="{FF2B5EF4-FFF2-40B4-BE49-F238E27FC236}">
                <a16:creationId xmlns:a16="http://schemas.microsoft.com/office/drawing/2014/main" id="{33039849-B432-44B4-9F51-01D3C76CF46F}"/>
              </a:ext>
            </a:extLst>
          </p:cNvPr>
          <p:cNvSpPr>
            <a:spLocks noGrp="1"/>
          </p:cNvSpPr>
          <p:nvPr>
            <p:ph type="sldNum" sz="quarter" idx="12"/>
          </p:nvPr>
        </p:nvSpPr>
        <p:spPr/>
        <p:txBody>
          <a:bodyPr/>
          <a:lstStyle/>
          <a:p>
            <a:fld id="{534B5F9C-CFE5-4EC6-9BBB-664E2F56B033}" type="slidenum">
              <a:rPr lang="en-GB" smtClean="0"/>
              <a:t>10</a:t>
            </a:fld>
            <a:endParaRPr lang="en-GB"/>
          </a:p>
        </p:txBody>
      </p:sp>
      <p:sp>
        <p:nvSpPr>
          <p:cNvPr id="11" name="Tijdelijke aanduiding voor verticale tekst 10">
            <a:extLst>
              <a:ext uri="{FF2B5EF4-FFF2-40B4-BE49-F238E27FC236}">
                <a16:creationId xmlns:a16="http://schemas.microsoft.com/office/drawing/2014/main" id="{97D49FAE-940A-429E-9731-99662AADBBF7}"/>
              </a:ext>
            </a:extLst>
          </p:cNvPr>
          <p:cNvSpPr>
            <a:spLocks noGrp="1"/>
          </p:cNvSpPr>
          <p:nvPr>
            <p:ph type="body" orient="vert" idx="4294967295"/>
          </p:nvPr>
        </p:nvSpPr>
        <p:spPr>
          <a:xfrm>
            <a:off x="1041400" y="5259974"/>
            <a:ext cx="7545388" cy="504825"/>
          </a:xfrm>
          <a:noFill/>
        </p:spPr>
        <p:txBody>
          <a:bodyPr/>
          <a:lstStyle/>
          <a:p>
            <a:pPr algn="l"/>
            <a:r>
              <a:rPr lang="nl-NL" sz="800" dirty="0"/>
              <a:t>TEU (x 1.000) </a:t>
            </a:r>
            <a:r>
              <a:rPr lang="nl-NL" sz="800" dirty="0" err="1"/>
              <a:t>since</a:t>
            </a:r>
            <a:r>
              <a:rPr lang="nl-NL" sz="800" dirty="0"/>
              <a:t> 2016</a:t>
            </a:r>
          </a:p>
        </p:txBody>
      </p:sp>
      <p:grpSp>
        <p:nvGrpSpPr>
          <p:cNvPr id="12" name="Groep 11">
            <a:extLst>
              <a:ext uri="{FF2B5EF4-FFF2-40B4-BE49-F238E27FC236}">
                <a16:creationId xmlns:a16="http://schemas.microsoft.com/office/drawing/2014/main" id="{1B5607E1-CC22-4E76-B65B-B0E2EBA83608}"/>
              </a:ext>
            </a:extLst>
          </p:cNvPr>
          <p:cNvGrpSpPr/>
          <p:nvPr/>
        </p:nvGrpSpPr>
        <p:grpSpPr>
          <a:xfrm>
            <a:off x="1136650" y="1895042"/>
            <a:ext cx="5962650" cy="2819400"/>
            <a:chOff x="1136650" y="1895042"/>
            <a:chExt cx="5962650" cy="2819400"/>
          </a:xfrm>
        </p:grpSpPr>
        <p:cxnSp>
          <p:nvCxnSpPr>
            <p:cNvPr id="13" name="Rechte verbindingslijn 12">
              <a:extLst>
                <a:ext uri="{FF2B5EF4-FFF2-40B4-BE49-F238E27FC236}">
                  <a16:creationId xmlns:a16="http://schemas.microsoft.com/office/drawing/2014/main" id="{AB791B32-E5BC-435A-B0EF-21A2AB86BFC7}"/>
                </a:ext>
              </a:extLst>
            </p:cNvPr>
            <p:cNvCxnSpPr>
              <a:cxnSpLocks/>
            </p:cNvCxnSpPr>
            <p:nvPr/>
          </p:nvCxnSpPr>
          <p:spPr>
            <a:xfrm>
              <a:off x="1136650" y="3774642"/>
              <a:ext cx="5962650" cy="0"/>
            </a:xfrm>
            <a:prstGeom prst="line">
              <a:avLst/>
            </a:prstGeom>
            <a:ln w="6350">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4" name="Rechte verbindingslijn 13">
              <a:extLst>
                <a:ext uri="{FF2B5EF4-FFF2-40B4-BE49-F238E27FC236}">
                  <a16:creationId xmlns:a16="http://schemas.microsoft.com/office/drawing/2014/main" id="{F2986757-944E-4E8C-93C2-8D9C908EA12D}"/>
                </a:ext>
              </a:extLst>
            </p:cNvPr>
            <p:cNvCxnSpPr>
              <a:cxnSpLocks/>
            </p:cNvCxnSpPr>
            <p:nvPr/>
          </p:nvCxnSpPr>
          <p:spPr>
            <a:xfrm>
              <a:off x="1136650" y="3304742"/>
              <a:ext cx="5962650" cy="0"/>
            </a:xfrm>
            <a:prstGeom prst="line">
              <a:avLst/>
            </a:prstGeom>
            <a:ln w="6350">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5" name="Rechte verbindingslijn 14">
              <a:extLst>
                <a:ext uri="{FF2B5EF4-FFF2-40B4-BE49-F238E27FC236}">
                  <a16:creationId xmlns:a16="http://schemas.microsoft.com/office/drawing/2014/main" id="{E865E6A0-2A7A-47BD-BCCD-BE1B161A7D76}"/>
                </a:ext>
              </a:extLst>
            </p:cNvPr>
            <p:cNvCxnSpPr>
              <a:cxnSpLocks/>
            </p:cNvCxnSpPr>
            <p:nvPr/>
          </p:nvCxnSpPr>
          <p:spPr>
            <a:xfrm>
              <a:off x="1136650" y="2834842"/>
              <a:ext cx="5962650" cy="0"/>
            </a:xfrm>
            <a:prstGeom prst="line">
              <a:avLst/>
            </a:prstGeom>
            <a:ln w="6350">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572ADCBD-0234-413F-91B1-30DC072E8AE0}"/>
                </a:ext>
              </a:extLst>
            </p:cNvPr>
            <p:cNvCxnSpPr>
              <a:cxnSpLocks/>
            </p:cNvCxnSpPr>
            <p:nvPr/>
          </p:nvCxnSpPr>
          <p:spPr>
            <a:xfrm>
              <a:off x="1136650" y="2364942"/>
              <a:ext cx="5962650" cy="0"/>
            </a:xfrm>
            <a:prstGeom prst="line">
              <a:avLst/>
            </a:prstGeom>
            <a:ln w="6350">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7" name="Rechte verbindingslijn 16">
              <a:extLst>
                <a:ext uri="{FF2B5EF4-FFF2-40B4-BE49-F238E27FC236}">
                  <a16:creationId xmlns:a16="http://schemas.microsoft.com/office/drawing/2014/main" id="{EBF164E4-1B31-4F81-A8DA-9D7F6505BAD8}"/>
                </a:ext>
              </a:extLst>
            </p:cNvPr>
            <p:cNvCxnSpPr>
              <a:cxnSpLocks/>
            </p:cNvCxnSpPr>
            <p:nvPr/>
          </p:nvCxnSpPr>
          <p:spPr>
            <a:xfrm>
              <a:off x="1136650" y="1895042"/>
              <a:ext cx="5962650" cy="0"/>
            </a:xfrm>
            <a:prstGeom prst="line">
              <a:avLst/>
            </a:prstGeom>
            <a:ln w="6350">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DB1AB1BF-8F26-459D-B03F-62B790564228}"/>
                </a:ext>
              </a:extLst>
            </p:cNvPr>
            <p:cNvCxnSpPr>
              <a:cxnSpLocks/>
            </p:cNvCxnSpPr>
            <p:nvPr/>
          </p:nvCxnSpPr>
          <p:spPr>
            <a:xfrm>
              <a:off x="1136650" y="4714442"/>
              <a:ext cx="311150" cy="0"/>
            </a:xfrm>
            <a:prstGeom prst="line">
              <a:avLst/>
            </a:prstGeom>
            <a:ln w="6350">
              <a:solidFill>
                <a:schemeClr val="tx2"/>
              </a:solidFill>
              <a:round/>
            </a:ln>
          </p:spPr>
          <p:style>
            <a:lnRef idx="1">
              <a:schemeClr val="accent1"/>
            </a:lnRef>
            <a:fillRef idx="0">
              <a:schemeClr val="accent1"/>
            </a:fillRef>
            <a:effectRef idx="0">
              <a:schemeClr val="accent1"/>
            </a:effectRef>
            <a:fontRef idx="minor">
              <a:schemeClr val="tx1"/>
            </a:fontRef>
          </p:style>
        </p:cxnSp>
      </p:grpSp>
      <p:graphicFrame>
        <p:nvGraphicFramePr>
          <p:cNvPr id="19" name="Tijdelijke aanduiding voor inhoud 7">
            <a:extLst>
              <a:ext uri="{FF2B5EF4-FFF2-40B4-BE49-F238E27FC236}">
                <a16:creationId xmlns:a16="http://schemas.microsoft.com/office/drawing/2014/main" id="{9BBB20CF-5538-4D13-A9E2-C472753BD187}"/>
              </a:ext>
            </a:extLst>
          </p:cNvPr>
          <p:cNvGraphicFramePr>
            <a:graphicFrameLocks/>
          </p:cNvGraphicFramePr>
          <p:nvPr>
            <p:extLst>
              <p:ext uri="{D42A27DB-BD31-4B8C-83A1-F6EECF244321}">
                <p14:modId xmlns:p14="http://schemas.microsoft.com/office/powerpoint/2010/main" val="3515214012"/>
              </p:ext>
            </p:extLst>
          </p:nvPr>
        </p:nvGraphicFramePr>
        <p:xfrm>
          <a:off x="1" y="1420101"/>
          <a:ext cx="7545536" cy="4017433"/>
        </p:xfrm>
        <a:graphic>
          <a:graphicData uri="http://schemas.openxmlformats.org/drawingml/2006/chart">
            <c:chart xmlns:c="http://schemas.openxmlformats.org/drawingml/2006/chart" xmlns:r="http://schemas.openxmlformats.org/officeDocument/2006/relationships" r:id="rId4"/>
          </a:graphicData>
        </a:graphic>
      </p:graphicFrame>
      <p:cxnSp>
        <p:nvCxnSpPr>
          <p:cNvPr id="20" name="Rechte verbindingslijn 19">
            <a:extLst>
              <a:ext uri="{FF2B5EF4-FFF2-40B4-BE49-F238E27FC236}">
                <a16:creationId xmlns:a16="http://schemas.microsoft.com/office/drawing/2014/main" id="{C5008BF5-E38C-4DC9-A43D-8CDF7F69706F}"/>
              </a:ext>
            </a:extLst>
          </p:cNvPr>
          <p:cNvCxnSpPr>
            <a:cxnSpLocks/>
          </p:cNvCxnSpPr>
          <p:nvPr/>
        </p:nvCxnSpPr>
        <p:spPr>
          <a:xfrm>
            <a:off x="1136650" y="4238192"/>
            <a:ext cx="5962650" cy="0"/>
          </a:xfrm>
          <a:prstGeom prst="line">
            <a:avLst/>
          </a:prstGeom>
          <a:ln w="12700">
            <a:solidFill>
              <a:schemeClr val="tx2"/>
            </a:solidFill>
            <a:roun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432034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F84CD0-A79A-4B10-B836-0AE997B798A1}"/>
              </a:ext>
            </a:extLst>
          </p:cNvPr>
          <p:cNvSpPr>
            <a:spLocks noGrp="1"/>
          </p:cNvSpPr>
          <p:nvPr>
            <p:ph type="title"/>
          </p:nvPr>
        </p:nvSpPr>
        <p:spPr>
          <a:xfrm>
            <a:off x="472587" y="192001"/>
            <a:ext cx="11250000" cy="648000"/>
          </a:xfrm>
        </p:spPr>
        <p:txBody>
          <a:bodyPr/>
          <a:lstStyle/>
          <a:p>
            <a:r>
              <a:rPr lang="nl-NL" dirty="0"/>
              <a:t>WHY ROTTERDAM?</a:t>
            </a:r>
            <a:r>
              <a:rPr lang="nl-NL" dirty="0">
                <a:latin typeface="Futura Std Medium" charset="0"/>
                <a:ea typeface="Futura Std Medium" charset="0"/>
                <a:cs typeface="Futura Std Medium" charset="0"/>
              </a:rPr>
              <a:t> </a:t>
            </a:r>
            <a:br>
              <a:rPr lang="nl-NL" dirty="0">
                <a:latin typeface="Futura Std Medium" charset="0"/>
                <a:ea typeface="Futura Std Medium" charset="0"/>
                <a:cs typeface="Futura Std Medium" charset="0"/>
              </a:rPr>
            </a:br>
            <a:r>
              <a:rPr lang="nl-NL" dirty="0"/>
              <a:t>Unique </a:t>
            </a:r>
            <a:r>
              <a:rPr lang="nl-NL" dirty="0" err="1"/>
              <a:t>role</a:t>
            </a:r>
            <a:r>
              <a:rPr lang="nl-NL" dirty="0"/>
              <a:t> of </a:t>
            </a:r>
            <a:r>
              <a:rPr lang="nl-NL" dirty="0" err="1"/>
              <a:t>the</a:t>
            </a:r>
            <a:r>
              <a:rPr lang="nl-NL" dirty="0"/>
              <a:t> port </a:t>
            </a:r>
            <a:r>
              <a:rPr lang="nl-NL" dirty="0" err="1"/>
              <a:t>authority</a:t>
            </a:r>
            <a:endParaRPr lang="nl-NL" dirty="0"/>
          </a:p>
        </p:txBody>
      </p:sp>
      <p:sp>
        <p:nvSpPr>
          <p:cNvPr id="3" name="Tijdelijke aanduiding voor verticale tekst 2">
            <a:extLst>
              <a:ext uri="{FF2B5EF4-FFF2-40B4-BE49-F238E27FC236}">
                <a16:creationId xmlns:a16="http://schemas.microsoft.com/office/drawing/2014/main" id="{4173DD55-0B2B-4DAB-A5DE-4817E229EB9D}"/>
              </a:ext>
            </a:extLst>
          </p:cNvPr>
          <p:cNvSpPr>
            <a:spLocks noGrp="1"/>
          </p:cNvSpPr>
          <p:nvPr>
            <p:ph type="body" orient="vert" idx="1"/>
          </p:nvPr>
        </p:nvSpPr>
        <p:spPr/>
        <p:txBody>
          <a:bodyPr/>
          <a:lstStyle/>
          <a:p>
            <a:pPr defTabSz="1218956">
              <a:lnSpc>
                <a:spcPct val="100000"/>
              </a:lnSpc>
              <a:spcBef>
                <a:spcPts val="300"/>
              </a:spcBef>
              <a:spcAft>
                <a:spcPts val="300"/>
              </a:spcAft>
            </a:pPr>
            <a:r>
              <a:rPr lang="en-US" b="1" spc="0" dirty="0">
                <a:cs typeface="Arial" panose="020B0604020202020204" pitchFamily="34" charset="0"/>
              </a:rPr>
              <a:t>Port of Rotterdam has a unique position:</a:t>
            </a:r>
          </a:p>
          <a:p>
            <a:pPr marL="809553" indent="-380990" defTabSz="1218956">
              <a:lnSpc>
                <a:spcPct val="100000"/>
              </a:lnSpc>
              <a:spcBef>
                <a:spcPts val="300"/>
              </a:spcBef>
              <a:spcAft>
                <a:spcPts val="300"/>
              </a:spcAft>
              <a:buFont typeface="Arial" panose="020B0604020202020204" pitchFamily="34" charset="0"/>
              <a:buChar char="•"/>
            </a:pPr>
            <a:r>
              <a:rPr lang="nl-NL" spc="0" dirty="0" err="1">
                <a:cs typeface="Arial" panose="020B0604020202020204" pitchFamily="34" charset="0"/>
              </a:rPr>
              <a:t>Not</a:t>
            </a:r>
            <a:r>
              <a:rPr lang="nl-NL" spc="0" dirty="0">
                <a:cs typeface="Arial" panose="020B0604020202020204" pitchFamily="34" charset="0"/>
              </a:rPr>
              <a:t> a direct part of </a:t>
            </a:r>
            <a:r>
              <a:rPr lang="nl-NL" spc="0" dirty="0" err="1">
                <a:cs typeface="Arial" panose="020B0604020202020204" pitchFamily="34" charset="0"/>
              </a:rPr>
              <a:t>the</a:t>
            </a:r>
            <a:r>
              <a:rPr lang="nl-NL" spc="0" dirty="0">
                <a:cs typeface="Arial" panose="020B0604020202020204" pitchFamily="34" charset="0"/>
              </a:rPr>
              <a:t> </a:t>
            </a:r>
            <a:r>
              <a:rPr lang="nl-NL" spc="0" dirty="0" err="1">
                <a:cs typeface="Arial" panose="020B0604020202020204" pitchFamily="34" charset="0"/>
              </a:rPr>
              <a:t>supply</a:t>
            </a:r>
            <a:r>
              <a:rPr lang="nl-NL" spc="0" dirty="0">
                <a:cs typeface="Arial" panose="020B0604020202020204" pitchFamily="34" charset="0"/>
              </a:rPr>
              <a:t> chain but we </a:t>
            </a:r>
            <a:r>
              <a:rPr lang="nl-NL" spc="0" dirty="0" err="1">
                <a:cs typeface="Arial" panose="020B0604020202020204" pitchFamily="34" charset="0"/>
              </a:rPr>
              <a:t>know</a:t>
            </a:r>
            <a:r>
              <a:rPr lang="nl-NL" spc="0" dirty="0">
                <a:cs typeface="Arial" panose="020B0604020202020204" pitchFamily="34" charset="0"/>
              </a:rPr>
              <a:t> </a:t>
            </a:r>
            <a:r>
              <a:rPr lang="nl-NL" spc="0" dirty="0" err="1">
                <a:cs typeface="Arial" panose="020B0604020202020204" pitchFamily="34" charset="0"/>
              </a:rPr>
              <a:t>all</a:t>
            </a:r>
            <a:r>
              <a:rPr lang="nl-NL" spc="0" dirty="0">
                <a:cs typeface="Arial" panose="020B0604020202020204" pitchFamily="34" charset="0"/>
              </a:rPr>
              <a:t> </a:t>
            </a:r>
            <a:r>
              <a:rPr lang="nl-NL" spc="0" dirty="0" err="1">
                <a:cs typeface="Arial" panose="020B0604020202020204" pitchFamily="34" charset="0"/>
              </a:rPr>
              <a:t>parties</a:t>
            </a:r>
            <a:endParaRPr lang="nl-NL" spc="0" dirty="0">
              <a:cs typeface="Arial" panose="020B0604020202020204" pitchFamily="34" charset="0"/>
            </a:endParaRPr>
          </a:p>
          <a:p>
            <a:pPr marL="809553" indent="-380990" defTabSz="1218956">
              <a:lnSpc>
                <a:spcPct val="100000"/>
              </a:lnSpc>
              <a:spcBef>
                <a:spcPts val="300"/>
              </a:spcBef>
              <a:spcAft>
                <a:spcPts val="300"/>
              </a:spcAft>
              <a:buFont typeface="Arial" panose="020B0604020202020204" pitchFamily="34" charset="0"/>
              <a:buChar char="•"/>
            </a:pPr>
            <a:r>
              <a:rPr lang="nl-NL" spc="0" dirty="0">
                <a:cs typeface="Arial" panose="020B0604020202020204" pitchFamily="34" charset="0"/>
              </a:rPr>
              <a:t>Neutral </a:t>
            </a:r>
            <a:r>
              <a:rPr lang="nl-NL" spc="0" dirty="0" err="1">
                <a:cs typeface="Arial" panose="020B0604020202020204" pitchFamily="34" charset="0"/>
              </a:rPr>
              <a:t>position</a:t>
            </a:r>
            <a:r>
              <a:rPr lang="nl-NL" spc="0" dirty="0">
                <a:cs typeface="Arial" panose="020B0604020202020204" pitchFamily="34" charset="0"/>
              </a:rPr>
              <a:t> </a:t>
            </a:r>
            <a:r>
              <a:rPr lang="nl-NL" spc="0" dirty="0" err="1">
                <a:cs typeface="Arial" panose="020B0604020202020204" pitchFamily="34" charset="0"/>
              </a:rPr>
              <a:t>towards</a:t>
            </a:r>
            <a:r>
              <a:rPr lang="nl-NL" spc="0" dirty="0">
                <a:cs typeface="Arial" panose="020B0604020202020204" pitchFamily="34" charset="0"/>
              </a:rPr>
              <a:t> </a:t>
            </a:r>
            <a:r>
              <a:rPr lang="nl-NL" spc="0" dirty="0" err="1">
                <a:cs typeface="Arial" panose="020B0604020202020204" pitchFamily="34" charset="0"/>
              </a:rPr>
              <a:t>supply</a:t>
            </a:r>
            <a:r>
              <a:rPr lang="nl-NL" spc="0" dirty="0">
                <a:cs typeface="Arial" panose="020B0604020202020204" pitchFamily="34" charset="0"/>
              </a:rPr>
              <a:t> </a:t>
            </a:r>
            <a:r>
              <a:rPr lang="nl-NL" spc="0" dirty="0" err="1">
                <a:cs typeface="Arial" panose="020B0604020202020204" pitchFamily="34" charset="0"/>
              </a:rPr>
              <a:t>chains</a:t>
            </a:r>
            <a:r>
              <a:rPr lang="nl-NL" spc="0" dirty="0">
                <a:cs typeface="Arial" panose="020B0604020202020204" pitchFamily="34" charset="0"/>
              </a:rPr>
              <a:t> </a:t>
            </a:r>
          </a:p>
          <a:p>
            <a:pPr marL="809553" indent="-380990" defTabSz="1218956">
              <a:lnSpc>
                <a:spcPct val="100000"/>
              </a:lnSpc>
              <a:spcBef>
                <a:spcPts val="300"/>
              </a:spcBef>
              <a:spcAft>
                <a:spcPts val="300"/>
              </a:spcAft>
              <a:buFont typeface="Arial" panose="020B0604020202020204" pitchFamily="34" charset="0"/>
              <a:buChar char="•"/>
            </a:pPr>
            <a:r>
              <a:rPr lang="nl-NL" spc="0" dirty="0">
                <a:cs typeface="Arial" panose="020B0604020202020204" pitchFamily="34" charset="0"/>
              </a:rPr>
              <a:t>Relevant data </a:t>
            </a:r>
            <a:r>
              <a:rPr lang="nl-NL" spc="0" dirty="0" err="1">
                <a:cs typeface="Arial" panose="020B0604020202020204" pitchFamily="34" charset="0"/>
              </a:rPr>
              <a:t>for</a:t>
            </a:r>
            <a:r>
              <a:rPr lang="nl-NL" spc="0" dirty="0">
                <a:cs typeface="Arial" panose="020B0604020202020204" pitchFamily="34" charset="0"/>
              </a:rPr>
              <a:t> </a:t>
            </a:r>
            <a:r>
              <a:rPr lang="nl-NL" spc="0" dirty="0" err="1">
                <a:cs typeface="Arial" panose="020B0604020202020204" pitchFamily="34" charset="0"/>
              </a:rPr>
              <a:t>supply</a:t>
            </a:r>
            <a:r>
              <a:rPr lang="nl-NL" spc="0" dirty="0">
                <a:cs typeface="Arial" panose="020B0604020202020204" pitchFamily="34" charset="0"/>
              </a:rPr>
              <a:t> chain </a:t>
            </a:r>
            <a:r>
              <a:rPr lang="nl-NL" spc="0" dirty="0" err="1">
                <a:cs typeface="Arial" panose="020B0604020202020204" pitchFamily="34" charset="0"/>
              </a:rPr>
              <a:t>optimisation</a:t>
            </a:r>
            <a:endParaRPr lang="nl-NL" spc="0" dirty="0">
              <a:cs typeface="Arial" panose="020B0604020202020204" pitchFamily="34" charset="0"/>
            </a:endParaRPr>
          </a:p>
          <a:p>
            <a:pPr marL="809553" indent="-380990" defTabSz="1218956">
              <a:lnSpc>
                <a:spcPct val="100000"/>
              </a:lnSpc>
              <a:spcBef>
                <a:spcPts val="300"/>
              </a:spcBef>
              <a:spcAft>
                <a:spcPts val="300"/>
              </a:spcAft>
              <a:buFont typeface="Arial" panose="020B0604020202020204" pitchFamily="34" charset="0"/>
              <a:buChar char="•"/>
            </a:pPr>
            <a:r>
              <a:rPr lang="nl-NL" spc="0" dirty="0" err="1">
                <a:cs typeface="Arial" panose="020B0604020202020204" pitchFamily="34" charset="0"/>
              </a:rPr>
              <a:t>Enabler</a:t>
            </a:r>
            <a:r>
              <a:rPr lang="nl-NL" spc="0" dirty="0">
                <a:cs typeface="Arial" panose="020B0604020202020204" pitchFamily="34" charset="0"/>
              </a:rPr>
              <a:t> in </a:t>
            </a:r>
            <a:r>
              <a:rPr lang="nl-NL" spc="0" dirty="0" err="1">
                <a:cs typeface="Arial" panose="020B0604020202020204" pitchFamily="34" charset="0"/>
              </a:rPr>
              <a:t>bringing</a:t>
            </a:r>
            <a:r>
              <a:rPr lang="nl-NL" spc="0" dirty="0">
                <a:cs typeface="Arial" panose="020B0604020202020204" pitchFamily="34" charset="0"/>
              </a:rPr>
              <a:t> </a:t>
            </a:r>
            <a:r>
              <a:rPr lang="nl-NL" spc="0" dirty="0" err="1">
                <a:cs typeface="Arial" panose="020B0604020202020204" pitchFamily="34" charset="0"/>
              </a:rPr>
              <a:t>parties</a:t>
            </a:r>
            <a:r>
              <a:rPr lang="nl-NL" spc="0" dirty="0">
                <a:cs typeface="Arial" panose="020B0604020202020204" pitchFamily="34" charset="0"/>
              </a:rPr>
              <a:t> </a:t>
            </a:r>
            <a:r>
              <a:rPr lang="nl-NL" spc="0" dirty="0" err="1">
                <a:cs typeface="Arial" panose="020B0604020202020204" pitchFamily="34" charset="0"/>
              </a:rPr>
              <a:t>together</a:t>
            </a:r>
            <a:endParaRPr lang="nl-NL" spc="0" dirty="0">
              <a:cs typeface="Arial" panose="020B0604020202020204" pitchFamily="34" charset="0"/>
            </a:endParaRPr>
          </a:p>
          <a:p>
            <a:pPr marL="171394" indent="-171394" defTabSz="1218956">
              <a:lnSpc>
                <a:spcPct val="100000"/>
              </a:lnSpc>
              <a:spcBef>
                <a:spcPts val="300"/>
              </a:spcBef>
              <a:spcAft>
                <a:spcPts val="300"/>
              </a:spcAft>
              <a:buFont typeface="Arial" panose="020B0604020202020204" pitchFamily="34" charset="0"/>
              <a:buChar char="•"/>
            </a:pPr>
            <a:endParaRPr lang="nl-NL" spc="0" dirty="0">
              <a:cs typeface="Arial" panose="020B0604020202020204" pitchFamily="34" charset="0"/>
            </a:endParaRPr>
          </a:p>
          <a:p>
            <a:pPr defTabSz="1218956">
              <a:lnSpc>
                <a:spcPct val="100000"/>
              </a:lnSpc>
              <a:spcBef>
                <a:spcPts val="300"/>
              </a:spcBef>
              <a:spcAft>
                <a:spcPts val="300"/>
              </a:spcAft>
            </a:pPr>
            <a:r>
              <a:rPr lang="en-US" b="1" spc="0" dirty="0">
                <a:cs typeface="Arial" panose="020B0604020202020204" pitchFamily="34" charset="0"/>
              </a:rPr>
              <a:t>Providing added value in:</a:t>
            </a:r>
          </a:p>
          <a:p>
            <a:pPr marL="771463" lvl="1" indent="-342900" defTabSz="1218956">
              <a:lnSpc>
                <a:spcPct val="100000"/>
              </a:lnSpc>
              <a:spcBef>
                <a:spcPts val="300"/>
              </a:spcBef>
              <a:spcAft>
                <a:spcPts val="300"/>
              </a:spcAft>
            </a:pPr>
            <a:r>
              <a:rPr lang="nl-NL" spc="0" dirty="0">
                <a:cs typeface="Arial" panose="020B0604020202020204" pitchFamily="34" charset="0"/>
              </a:rPr>
              <a:t>Matchmaking </a:t>
            </a:r>
          </a:p>
          <a:p>
            <a:pPr marL="771463" lvl="1" indent="-342900" defTabSz="1218956">
              <a:lnSpc>
                <a:spcPct val="100000"/>
              </a:lnSpc>
              <a:spcBef>
                <a:spcPts val="300"/>
              </a:spcBef>
              <a:spcAft>
                <a:spcPts val="300"/>
              </a:spcAft>
            </a:pPr>
            <a:r>
              <a:rPr lang="nl-NL" spc="0" dirty="0">
                <a:cs typeface="Arial" panose="020B0604020202020204" pitchFamily="34" charset="0"/>
              </a:rPr>
              <a:t>Building data </a:t>
            </a:r>
            <a:r>
              <a:rPr lang="nl-NL" spc="0" dirty="0" err="1">
                <a:cs typeface="Arial" panose="020B0604020202020204" pitchFamily="34" charset="0"/>
              </a:rPr>
              <a:t>positions</a:t>
            </a:r>
            <a:endParaRPr lang="nl-NL" spc="0" dirty="0">
              <a:cs typeface="Arial" panose="020B0604020202020204" pitchFamily="34" charset="0"/>
            </a:endParaRPr>
          </a:p>
          <a:p>
            <a:pPr marL="771463" lvl="1" indent="-342900" defTabSz="1218956">
              <a:lnSpc>
                <a:spcPct val="100000"/>
              </a:lnSpc>
              <a:spcBef>
                <a:spcPts val="300"/>
              </a:spcBef>
              <a:spcAft>
                <a:spcPts val="300"/>
              </a:spcAft>
            </a:pPr>
            <a:r>
              <a:rPr lang="nl-NL" spc="0" dirty="0" err="1">
                <a:cs typeface="Arial" panose="020B0604020202020204" pitchFamily="34" charset="0"/>
              </a:rPr>
              <a:t>Initiating</a:t>
            </a:r>
            <a:r>
              <a:rPr lang="nl-NL" spc="0" dirty="0">
                <a:cs typeface="Arial" panose="020B0604020202020204" pitchFamily="34" charset="0"/>
              </a:rPr>
              <a:t>, </a:t>
            </a:r>
            <a:r>
              <a:rPr lang="nl-NL" spc="0" dirty="0" err="1">
                <a:cs typeface="Arial" panose="020B0604020202020204" pitchFamily="34" charset="0"/>
              </a:rPr>
              <a:t>innovating</a:t>
            </a:r>
            <a:r>
              <a:rPr lang="nl-NL" spc="0" dirty="0">
                <a:cs typeface="Arial" panose="020B0604020202020204" pitchFamily="34" charset="0"/>
              </a:rPr>
              <a:t> </a:t>
            </a:r>
            <a:r>
              <a:rPr lang="nl-NL" spc="0" dirty="0" err="1">
                <a:cs typeface="Arial" panose="020B0604020202020204" pitchFamily="34" charset="0"/>
              </a:rPr>
              <a:t>and</a:t>
            </a:r>
            <a:r>
              <a:rPr lang="nl-NL" spc="0" dirty="0">
                <a:cs typeface="Arial" panose="020B0604020202020204" pitchFamily="34" charset="0"/>
              </a:rPr>
              <a:t> </a:t>
            </a:r>
            <a:r>
              <a:rPr lang="nl-NL" spc="0" dirty="0" err="1">
                <a:cs typeface="Arial" panose="020B0604020202020204" pitchFamily="34" charset="0"/>
              </a:rPr>
              <a:t>investing</a:t>
            </a:r>
            <a:r>
              <a:rPr lang="nl-NL" spc="0" dirty="0">
                <a:cs typeface="Arial" panose="020B0604020202020204" pitchFamily="34" charset="0"/>
              </a:rPr>
              <a:t> </a:t>
            </a:r>
          </a:p>
          <a:p>
            <a:pPr marL="771463" lvl="1" indent="-342900" defTabSz="1218956">
              <a:lnSpc>
                <a:spcPct val="100000"/>
              </a:lnSpc>
              <a:spcBef>
                <a:spcPts val="300"/>
              </a:spcBef>
              <a:spcAft>
                <a:spcPts val="300"/>
              </a:spcAft>
            </a:pPr>
            <a:r>
              <a:rPr lang="nl-NL" spc="0" dirty="0">
                <a:cs typeface="Arial" panose="020B0604020202020204" pitchFamily="34" charset="0"/>
              </a:rPr>
              <a:t>Co-</a:t>
            </a:r>
            <a:r>
              <a:rPr lang="nl-NL" spc="0" dirty="0" err="1">
                <a:cs typeface="Arial" panose="020B0604020202020204" pitchFamily="34" charset="0"/>
              </a:rPr>
              <a:t>creation</a:t>
            </a:r>
            <a:r>
              <a:rPr lang="nl-NL" spc="0" dirty="0">
                <a:cs typeface="Arial" panose="020B0604020202020204" pitchFamily="34" charset="0"/>
              </a:rPr>
              <a:t> of (digital) </a:t>
            </a:r>
            <a:r>
              <a:rPr lang="nl-NL" spc="0" dirty="0" err="1">
                <a:cs typeface="Arial" panose="020B0604020202020204" pitchFamily="34" charset="0"/>
              </a:rPr>
              <a:t>supply</a:t>
            </a:r>
            <a:r>
              <a:rPr lang="nl-NL" spc="0" dirty="0">
                <a:cs typeface="Arial" panose="020B0604020202020204" pitchFamily="34" charset="0"/>
              </a:rPr>
              <a:t> chain </a:t>
            </a:r>
            <a:r>
              <a:rPr lang="nl-NL" spc="0" dirty="0" err="1">
                <a:cs typeface="Arial" panose="020B0604020202020204" pitchFamily="34" charset="0"/>
              </a:rPr>
              <a:t>solutions</a:t>
            </a:r>
            <a:endParaRPr lang="nl-NL" spc="0" dirty="0">
              <a:cs typeface="Arial" panose="020B0604020202020204" pitchFamily="34" charset="0"/>
            </a:endParaRPr>
          </a:p>
          <a:p>
            <a:endParaRPr lang="nl-NL" dirty="0"/>
          </a:p>
        </p:txBody>
      </p:sp>
      <p:sp>
        <p:nvSpPr>
          <p:cNvPr id="4" name="Tijdelijke aanduiding voor datum 3">
            <a:extLst>
              <a:ext uri="{FF2B5EF4-FFF2-40B4-BE49-F238E27FC236}">
                <a16:creationId xmlns:a16="http://schemas.microsoft.com/office/drawing/2014/main" id="{AA65AD27-80EC-4482-9547-22D77F8A74B0}"/>
              </a:ext>
            </a:extLst>
          </p:cNvPr>
          <p:cNvSpPr>
            <a:spLocks noGrp="1"/>
          </p:cNvSpPr>
          <p:nvPr>
            <p:ph type="dt" sz="half" idx="10"/>
          </p:nvPr>
        </p:nvSpPr>
        <p:spPr/>
        <p:txBody>
          <a:bodyPr/>
          <a:lstStyle/>
          <a:p>
            <a:fld id="{C57D90EC-A41E-42F2-9120-62426C9CDFCD}" type="datetime4">
              <a:rPr lang="en-GB" smtClean="0"/>
              <a:t>29 May 2020</a:t>
            </a:fld>
            <a:endParaRPr lang="en-GB" dirty="0"/>
          </a:p>
        </p:txBody>
      </p:sp>
      <p:sp>
        <p:nvSpPr>
          <p:cNvPr id="5" name="Tijdelijke aanduiding voor voettekst 4">
            <a:extLst>
              <a:ext uri="{FF2B5EF4-FFF2-40B4-BE49-F238E27FC236}">
                <a16:creationId xmlns:a16="http://schemas.microsoft.com/office/drawing/2014/main" id="{FC5A1B21-81C3-4CD8-AA11-4DDD87BB88E7}"/>
              </a:ext>
            </a:extLst>
          </p:cNvPr>
          <p:cNvSpPr>
            <a:spLocks noGrp="1"/>
          </p:cNvSpPr>
          <p:nvPr>
            <p:ph type="ftr" sz="quarter" idx="11"/>
          </p:nvPr>
        </p:nvSpPr>
        <p:spPr/>
        <p:txBody>
          <a:bodyPr/>
          <a:lstStyle/>
          <a:p>
            <a:r>
              <a:rPr lang="en-GB"/>
              <a:t>|</a:t>
            </a:r>
            <a:endParaRPr lang="en-GB" dirty="0"/>
          </a:p>
        </p:txBody>
      </p:sp>
      <p:sp>
        <p:nvSpPr>
          <p:cNvPr id="6" name="Tijdelijke aanduiding voor dianummer 5">
            <a:extLst>
              <a:ext uri="{FF2B5EF4-FFF2-40B4-BE49-F238E27FC236}">
                <a16:creationId xmlns:a16="http://schemas.microsoft.com/office/drawing/2014/main" id="{97BFFC8C-239A-4FBA-8447-E389FA326A7D}"/>
              </a:ext>
            </a:extLst>
          </p:cNvPr>
          <p:cNvSpPr>
            <a:spLocks noGrp="1"/>
          </p:cNvSpPr>
          <p:nvPr>
            <p:ph type="sldNum" sz="quarter" idx="12"/>
          </p:nvPr>
        </p:nvSpPr>
        <p:spPr/>
        <p:txBody>
          <a:bodyPr/>
          <a:lstStyle/>
          <a:p>
            <a:fld id="{534B5F9C-CFE5-4EC6-9BBB-664E2F56B033}" type="slidenum">
              <a:rPr lang="en-GB" smtClean="0"/>
              <a:t>11</a:t>
            </a:fld>
            <a:endParaRPr lang="en-GB" dirty="0"/>
          </a:p>
        </p:txBody>
      </p:sp>
      <p:pic>
        <p:nvPicPr>
          <p:cNvPr id="8" name="Afbeelding 7">
            <a:extLst>
              <a:ext uri="{FF2B5EF4-FFF2-40B4-BE49-F238E27FC236}">
                <a16:creationId xmlns:a16="http://schemas.microsoft.com/office/drawing/2014/main" id="{42AD4AD3-9184-4DD6-AA61-1A65F44FEC1A}"/>
              </a:ext>
            </a:extLst>
          </p:cNvPr>
          <p:cNvPicPr>
            <a:picLocks noChangeAspect="1"/>
          </p:cNvPicPr>
          <p:nvPr/>
        </p:nvPicPr>
        <p:blipFill rotWithShape="1">
          <a:blip r:embed="rId3"/>
          <a:srcRect l="11703" r="7006"/>
          <a:stretch/>
        </p:blipFill>
        <p:spPr>
          <a:xfrm>
            <a:off x="8621485" y="1696550"/>
            <a:ext cx="3275273" cy="4000500"/>
          </a:xfrm>
          <a:prstGeom prst="rect">
            <a:avLst/>
          </a:prstGeom>
        </p:spPr>
      </p:pic>
    </p:spTree>
    <p:custDataLst>
      <p:tags r:id="rId1"/>
    </p:custDataLst>
    <p:extLst>
      <p:ext uri="{BB962C8B-B14F-4D97-AF65-F5344CB8AC3E}">
        <p14:creationId xmlns:p14="http://schemas.microsoft.com/office/powerpoint/2010/main" val="147514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Tijdelijke aanduiding voor afbeelding 4">
            <a:extLst>
              <a:ext uri="{FF2B5EF4-FFF2-40B4-BE49-F238E27FC236}">
                <a16:creationId xmlns:a16="http://schemas.microsoft.com/office/drawing/2014/main" id="{51F27630-8E46-4E26-A221-8B752FCB4352}"/>
              </a:ext>
            </a:extLst>
          </p:cNvPr>
          <p:cNvPicPr>
            <a:picLocks noGrp="1" noChangeAspect="1"/>
          </p:cNvPicPr>
          <p:nvPr>
            <p:ph type="pic" idx="13"/>
          </p:nvPr>
        </p:nvPicPr>
        <p:blipFill rotWithShape="1">
          <a:blip r:embed="rId3" cstate="print">
            <a:extLst>
              <a:ext uri="{28A0092B-C50C-407E-A947-70E740481C1C}">
                <a14:useLocalDpi xmlns:a14="http://schemas.microsoft.com/office/drawing/2010/main" val="0"/>
              </a:ext>
            </a:extLst>
          </a:blip>
          <a:srcRect l="1352" t="6674" r="886" b="6674"/>
          <a:stretch/>
        </p:blipFill>
        <p:spPr>
          <a:xfrm>
            <a:off x="-28479" y="-96982"/>
            <a:ext cx="12220479" cy="6086082"/>
          </a:xfrm>
        </p:spPr>
      </p:pic>
      <p:sp>
        <p:nvSpPr>
          <p:cNvPr id="15" name="Titel 9">
            <a:extLst>
              <a:ext uri="{FF2B5EF4-FFF2-40B4-BE49-F238E27FC236}">
                <a16:creationId xmlns:a16="http://schemas.microsoft.com/office/drawing/2014/main" id="{A23B89E6-A8B5-46CF-B4C4-C8CACA1BD5D6}"/>
              </a:ext>
            </a:extLst>
          </p:cNvPr>
          <p:cNvSpPr>
            <a:spLocks noGrp="1"/>
          </p:cNvSpPr>
          <p:nvPr>
            <p:ph type="title"/>
          </p:nvPr>
        </p:nvSpPr>
        <p:spPr/>
        <p:txBody>
          <a:bodyPr/>
          <a:lstStyle/>
          <a:p>
            <a:r>
              <a:rPr lang="en-GB" dirty="0">
                <a:solidFill>
                  <a:schemeClr val="bg1"/>
                </a:solidFill>
              </a:rPr>
              <a:t>Optimising supply chains through digitisation</a:t>
            </a:r>
          </a:p>
        </p:txBody>
      </p:sp>
      <p:sp>
        <p:nvSpPr>
          <p:cNvPr id="20" name="Tijdelijke aanduiding voor datum 3">
            <a:extLst>
              <a:ext uri="{FF2B5EF4-FFF2-40B4-BE49-F238E27FC236}">
                <a16:creationId xmlns:a16="http://schemas.microsoft.com/office/drawing/2014/main" id="{F78D9EA8-FF41-4037-8920-FCF0EDBBE16E}"/>
              </a:ext>
            </a:extLst>
          </p:cNvPr>
          <p:cNvSpPr>
            <a:spLocks noGrp="1"/>
          </p:cNvSpPr>
          <p:nvPr>
            <p:ph type="dt" sz="half" idx="10"/>
          </p:nvPr>
        </p:nvSpPr>
        <p:spPr/>
        <p:txBody>
          <a:bodyPr/>
          <a:lstStyle/>
          <a:p>
            <a:fld id="{C307209B-CE52-4183-B18A-4B135273C403}" type="datetime4">
              <a:rPr lang="nl-NL" smtClean="0"/>
              <a:pPr/>
              <a:t>29 mei 2020</a:t>
            </a:fld>
            <a:endParaRPr lang="en-GB" dirty="0"/>
          </a:p>
        </p:txBody>
      </p:sp>
      <p:sp>
        <p:nvSpPr>
          <p:cNvPr id="16" name="Tijdelijke aanduiding voor voettekst 4">
            <a:extLst>
              <a:ext uri="{FF2B5EF4-FFF2-40B4-BE49-F238E27FC236}">
                <a16:creationId xmlns:a16="http://schemas.microsoft.com/office/drawing/2014/main" id="{BAFC7162-E2B4-449C-BCA9-2D5D528A7CEF}"/>
              </a:ext>
            </a:extLst>
          </p:cNvPr>
          <p:cNvSpPr>
            <a:spLocks noGrp="1"/>
          </p:cNvSpPr>
          <p:nvPr>
            <p:ph type="ftr" sz="quarter" idx="11"/>
          </p:nvPr>
        </p:nvSpPr>
        <p:spPr/>
        <p:txBody>
          <a:bodyPr/>
          <a:lstStyle/>
          <a:p>
            <a:r>
              <a:rPr lang="en-GB" dirty="0"/>
              <a:t>|</a:t>
            </a:r>
          </a:p>
        </p:txBody>
      </p:sp>
      <p:sp>
        <p:nvSpPr>
          <p:cNvPr id="17" name="Tijdelijke aanduiding voor dianummer 5">
            <a:extLst>
              <a:ext uri="{FF2B5EF4-FFF2-40B4-BE49-F238E27FC236}">
                <a16:creationId xmlns:a16="http://schemas.microsoft.com/office/drawing/2014/main" id="{4578A798-D489-4518-93E8-1859A952502A}"/>
              </a:ext>
            </a:extLst>
          </p:cNvPr>
          <p:cNvSpPr>
            <a:spLocks noGrp="1"/>
          </p:cNvSpPr>
          <p:nvPr>
            <p:ph type="sldNum" sz="quarter" idx="12"/>
          </p:nvPr>
        </p:nvSpPr>
        <p:spPr/>
        <p:txBody>
          <a:bodyPr/>
          <a:lstStyle/>
          <a:p>
            <a:fld id="{534B5F9C-CFE5-4EC6-9BBB-664E2F56B033}" type="slidenum">
              <a:rPr lang="en-GB" smtClean="0"/>
              <a:pPr/>
              <a:t>12</a:t>
            </a:fld>
            <a:endParaRPr lang="en-GB"/>
          </a:p>
        </p:txBody>
      </p:sp>
    </p:spTree>
    <p:extLst>
      <p:ext uri="{BB962C8B-B14F-4D97-AF65-F5344CB8AC3E}">
        <p14:creationId xmlns:p14="http://schemas.microsoft.com/office/powerpoint/2010/main" val="3552537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2D1744-813E-4A3D-86E2-B903CC44F063}"/>
              </a:ext>
            </a:extLst>
          </p:cNvPr>
          <p:cNvSpPr>
            <a:spLocks noGrp="1"/>
          </p:cNvSpPr>
          <p:nvPr>
            <p:ph type="title"/>
          </p:nvPr>
        </p:nvSpPr>
        <p:spPr/>
        <p:txBody>
          <a:bodyPr/>
          <a:lstStyle/>
          <a:p>
            <a:r>
              <a:rPr lang="nl-NL" dirty="0"/>
              <a:t>DEVELOPMENTS DEEPSEA CONTAINER MARKET</a:t>
            </a:r>
          </a:p>
        </p:txBody>
      </p:sp>
      <p:sp>
        <p:nvSpPr>
          <p:cNvPr id="4" name="Tijdelijke aanduiding voor datum 3">
            <a:extLst>
              <a:ext uri="{FF2B5EF4-FFF2-40B4-BE49-F238E27FC236}">
                <a16:creationId xmlns:a16="http://schemas.microsoft.com/office/drawing/2014/main" id="{1550C04F-1C81-4493-A2B5-14B0C6A42748}"/>
              </a:ext>
            </a:extLst>
          </p:cNvPr>
          <p:cNvSpPr>
            <a:spLocks noGrp="1"/>
          </p:cNvSpPr>
          <p:nvPr>
            <p:ph type="dt" sz="half" idx="10"/>
          </p:nvPr>
        </p:nvSpPr>
        <p:spPr/>
        <p:txBody>
          <a:bodyPr/>
          <a:lstStyle/>
          <a:p>
            <a:fld id="{824C7DA5-542C-4ECF-85E1-F72A79F11B4C}" type="datetime4">
              <a:rPr lang="en-GB" smtClean="0"/>
              <a:t>29 May 2020</a:t>
            </a:fld>
            <a:endParaRPr lang="en-GB" dirty="0"/>
          </a:p>
        </p:txBody>
      </p:sp>
      <p:sp>
        <p:nvSpPr>
          <p:cNvPr id="5" name="Tijdelijke aanduiding voor voettekst 4">
            <a:extLst>
              <a:ext uri="{FF2B5EF4-FFF2-40B4-BE49-F238E27FC236}">
                <a16:creationId xmlns:a16="http://schemas.microsoft.com/office/drawing/2014/main" id="{6992C840-1C98-4A19-83A9-22BFBA439866}"/>
              </a:ext>
            </a:extLst>
          </p:cNvPr>
          <p:cNvSpPr>
            <a:spLocks noGrp="1"/>
          </p:cNvSpPr>
          <p:nvPr>
            <p:ph type="ftr" sz="quarter" idx="11"/>
          </p:nvPr>
        </p:nvSpPr>
        <p:spPr/>
        <p:txBody>
          <a:bodyPr/>
          <a:lstStyle/>
          <a:p>
            <a:r>
              <a:rPr lang="en-GB"/>
              <a:t>|</a:t>
            </a:r>
            <a:endParaRPr lang="en-GB" dirty="0"/>
          </a:p>
        </p:txBody>
      </p:sp>
      <p:sp>
        <p:nvSpPr>
          <p:cNvPr id="6" name="Tijdelijke aanduiding voor dianummer 5">
            <a:extLst>
              <a:ext uri="{FF2B5EF4-FFF2-40B4-BE49-F238E27FC236}">
                <a16:creationId xmlns:a16="http://schemas.microsoft.com/office/drawing/2014/main" id="{0F3B02D0-5F8E-46AF-A5F3-511F547203FA}"/>
              </a:ext>
            </a:extLst>
          </p:cNvPr>
          <p:cNvSpPr>
            <a:spLocks noGrp="1"/>
          </p:cNvSpPr>
          <p:nvPr>
            <p:ph type="sldNum" sz="quarter" idx="12"/>
          </p:nvPr>
        </p:nvSpPr>
        <p:spPr/>
        <p:txBody>
          <a:bodyPr/>
          <a:lstStyle/>
          <a:p>
            <a:fld id="{534B5F9C-CFE5-4EC6-9BBB-664E2F56B033}" type="slidenum">
              <a:rPr lang="en-GB" smtClean="0"/>
              <a:t>13</a:t>
            </a:fld>
            <a:endParaRPr lang="en-GB" dirty="0"/>
          </a:p>
        </p:txBody>
      </p:sp>
      <p:sp>
        <p:nvSpPr>
          <p:cNvPr id="7" name="Tijdelijke aanduiding voor verticale tekst 1">
            <a:extLst>
              <a:ext uri="{FF2B5EF4-FFF2-40B4-BE49-F238E27FC236}">
                <a16:creationId xmlns:a16="http://schemas.microsoft.com/office/drawing/2014/main" id="{9C010DFB-E0FC-48A2-A340-A6A62218EDFD}"/>
              </a:ext>
            </a:extLst>
          </p:cNvPr>
          <p:cNvSpPr>
            <a:spLocks noGrp="1"/>
          </p:cNvSpPr>
          <p:nvPr>
            <p:ph type="body" orient="vert" idx="1"/>
          </p:nvPr>
        </p:nvSpPr>
        <p:spPr>
          <a:xfrm>
            <a:off x="559054" y="1437070"/>
            <a:ext cx="7041910" cy="4552950"/>
          </a:xfrm>
          <a:prstGeom prst="rect">
            <a:avLst/>
          </a:prstGeom>
        </p:spPr>
        <p:txBody>
          <a:bodyPr/>
          <a:lstStyle/>
          <a:p>
            <a:pPr marL="341698" indent="-341698">
              <a:buFont typeface="Arial" panose="020B0604020202020204" pitchFamily="34" charset="0"/>
              <a:buChar char="•"/>
            </a:pPr>
            <a:r>
              <a:rPr lang="en-US" dirty="0"/>
              <a:t>Scaling up fleet capacity and market share</a:t>
            </a:r>
          </a:p>
          <a:p>
            <a:pPr marL="341698" indent="-341698">
              <a:buFont typeface="Arial" panose="020B0604020202020204" pitchFamily="34" charset="0"/>
              <a:buChar char="•"/>
            </a:pPr>
            <a:r>
              <a:rPr lang="en-US" dirty="0"/>
              <a:t>Rotterdam often first / last port of call</a:t>
            </a:r>
          </a:p>
          <a:p>
            <a:pPr marL="341698" indent="-341698">
              <a:buFont typeface="Arial" panose="020B0604020202020204" pitchFamily="34" charset="0"/>
              <a:buChar char="•"/>
            </a:pPr>
            <a:r>
              <a:rPr lang="en-US" dirty="0"/>
              <a:t>High commitment between carriers and terminals in Rotterdam</a:t>
            </a:r>
          </a:p>
          <a:p>
            <a:pPr marL="341698" indent="-341698">
              <a:buFont typeface="Arial" panose="020B0604020202020204" pitchFamily="34" charset="0"/>
              <a:buChar char="•"/>
            </a:pPr>
            <a:r>
              <a:rPr lang="en-US" dirty="0"/>
              <a:t>Shift from shipping company to logistics company</a:t>
            </a:r>
          </a:p>
          <a:p>
            <a:pPr marL="341698" indent="-341698">
              <a:buFont typeface="Arial" panose="020B0604020202020204" pitchFamily="34" charset="0"/>
              <a:buChar char="•"/>
            </a:pPr>
            <a:r>
              <a:rPr lang="en-US" dirty="0"/>
              <a:t>Fleet investments under IMO 2020</a:t>
            </a:r>
          </a:p>
          <a:p>
            <a:pPr marL="341698" indent="-341698">
              <a:buFont typeface="Arial" panose="020B0604020202020204" pitchFamily="34" charset="0"/>
              <a:buChar char="•"/>
            </a:pPr>
            <a:r>
              <a:rPr lang="en-US" dirty="0"/>
              <a:t>Digital solutions on cost efficiency and customer excellence</a:t>
            </a:r>
          </a:p>
          <a:p>
            <a:pPr marL="341698" indent="-341698">
              <a:buFont typeface="Arial" panose="020B0604020202020204" pitchFamily="34" charset="0"/>
              <a:buChar char="•"/>
            </a:pPr>
            <a:r>
              <a:rPr lang="en-US" dirty="0"/>
              <a:t>More use of transshipment in Rotterdam</a:t>
            </a:r>
          </a:p>
          <a:p>
            <a:pPr marL="341698" indent="-341698">
              <a:buFont typeface="Arial" panose="020B0604020202020204" pitchFamily="34" charset="0"/>
              <a:buChar char="•"/>
            </a:pPr>
            <a:endParaRPr lang="en-US" dirty="0"/>
          </a:p>
          <a:p>
            <a:pPr marL="341698" indent="-341698">
              <a:buFont typeface="Arial" panose="020B0604020202020204" pitchFamily="34" charset="0"/>
              <a:buChar char="•"/>
            </a:pPr>
            <a:endParaRPr lang="en-US" dirty="0"/>
          </a:p>
          <a:p>
            <a:pPr marL="341698" indent="-341698">
              <a:buFont typeface="Arial" panose="020B0604020202020204" pitchFamily="34" charset="0"/>
              <a:buChar char="•"/>
            </a:pPr>
            <a:endParaRPr lang="en-US" dirty="0"/>
          </a:p>
        </p:txBody>
      </p:sp>
      <p:pic>
        <p:nvPicPr>
          <p:cNvPr id="10" name="Afbeelding 9">
            <a:extLst>
              <a:ext uri="{FF2B5EF4-FFF2-40B4-BE49-F238E27FC236}">
                <a16:creationId xmlns:a16="http://schemas.microsoft.com/office/drawing/2014/main" id="{D8E5A77F-961C-461A-BAC8-5B6665E2CF6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26385" y="1325496"/>
            <a:ext cx="3685208" cy="5532504"/>
          </a:xfrm>
          <a:prstGeom prst="rect">
            <a:avLst/>
          </a:prstGeom>
        </p:spPr>
      </p:pic>
    </p:spTree>
    <p:custDataLst>
      <p:tags r:id="rId1"/>
    </p:custDataLst>
    <p:extLst>
      <p:ext uri="{BB962C8B-B14F-4D97-AF65-F5344CB8AC3E}">
        <p14:creationId xmlns:p14="http://schemas.microsoft.com/office/powerpoint/2010/main" val="3466254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fgeronde rechthoek 7"/>
          <p:cNvSpPr/>
          <p:nvPr/>
        </p:nvSpPr>
        <p:spPr>
          <a:xfrm>
            <a:off x="-234904" y="-1500773"/>
            <a:ext cx="12526670" cy="7473056"/>
          </a:xfrm>
          <a:prstGeom prst="roundRect">
            <a:avLst>
              <a:gd name="adj" fmla="val 1389"/>
            </a:avLst>
          </a:prstGeom>
          <a:blipFill dpi="0" rotWithShape="1">
            <a:blip r:embed="rId4" cstate="email">
              <a:extLst>
                <a:ext uri="{28A0092B-C50C-407E-A947-70E740481C1C}">
                  <a14:useLocalDpi xmlns:a14="http://schemas.microsoft.com/office/drawing/2010/main"/>
                </a:ext>
              </a:extLst>
            </a:blip>
            <a:srcRect/>
            <a:stretch>
              <a:fillRect t="20000" b="-18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sz="3200" dirty="0"/>
          </a:p>
        </p:txBody>
      </p:sp>
      <p:sp>
        <p:nvSpPr>
          <p:cNvPr id="2" name="Title 1"/>
          <p:cNvSpPr>
            <a:spLocks noGrp="1"/>
          </p:cNvSpPr>
          <p:nvPr>
            <p:ph type="title"/>
          </p:nvPr>
        </p:nvSpPr>
        <p:spPr>
          <a:prstGeom prst="rect">
            <a:avLst/>
          </a:prstGeom>
        </p:spPr>
        <p:txBody>
          <a:bodyPr/>
          <a:lstStyle/>
          <a:p>
            <a:r>
              <a:rPr lang="en-US" dirty="0"/>
              <a:t>ALLIANCE PER</a:t>
            </a:r>
            <a:br>
              <a:rPr lang="en-US" dirty="0"/>
            </a:br>
            <a:r>
              <a:rPr lang="en-US" dirty="0"/>
              <a:t>DEEP SEA TERMINAL</a:t>
            </a:r>
            <a:endParaRPr lang="nl-NL" dirty="0"/>
          </a:p>
        </p:txBody>
      </p:sp>
      <p:sp>
        <p:nvSpPr>
          <p:cNvPr id="3" name="Rectangle 2"/>
          <p:cNvSpPr/>
          <p:nvPr/>
        </p:nvSpPr>
        <p:spPr>
          <a:xfrm>
            <a:off x="5463377" y="4782734"/>
            <a:ext cx="1886376" cy="10275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1600" b="1" dirty="0">
                <a:solidFill>
                  <a:schemeClr val="tx2"/>
                </a:solidFill>
                <a:ea typeface="Futura Std Book" charset="0"/>
                <a:cs typeface="Futura Std Book" charset="0"/>
                <a:sym typeface="Arial"/>
              </a:rPr>
              <a:t>RWG</a:t>
            </a:r>
            <a:br>
              <a:rPr lang="nl-NL" sz="1600" b="1" dirty="0">
                <a:solidFill>
                  <a:schemeClr val="tx2"/>
                </a:solidFill>
                <a:ea typeface="Futura Std Book" charset="0"/>
                <a:cs typeface="Futura Std Book" charset="0"/>
                <a:sym typeface="Arial"/>
              </a:rPr>
            </a:br>
            <a:r>
              <a:rPr lang="nl-NL" sz="1600" dirty="0">
                <a:solidFill>
                  <a:schemeClr val="tx2"/>
                </a:solidFill>
                <a:ea typeface="Futura Std Book" charset="0"/>
                <a:cs typeface="Futura Std Book" charset="0"/>
                <a:sym typeface="Arial"/>
              </a:rPr>
              <a:t>The </a:t>
            </a:r>
            <a:r>
              <a:rPr lang="nl-NL" sz="1600" dirty="0">
                <a:solidFill>
                  <a:schemeClr val="tx2"/>
                </a:solidFill>
                <a:ea typeface="Futura Std Medium" charset="0"/>
                <a:cs typeface="Futura Std Medium" charset="0"/>
                <a:sym typeface="Arial"/>
              </a:rPr>
              <a:t>Alliance</a:t>
            </a:r>
          </a:p>
          <a:p>
            <a:r>
              <a:rPr lang="nl-NL" sz="1600" dirty="0">
                <a:solidFill>
                  <a:schemeClr val="tx2"/>
                </a:solidFill>
                <a:ea typeface="Futura Std Medium" charset="0"/>
                <a:cs typeface="Futura Std Medium" charset="0"/>
                <a:sym typeface="Arial"/>
              </a:rPr>
              <a:t>Ocean Alliance</a:t>
            </a:r>
          </a:p>
        </p:txBody>
      </p:sp>
      <p:sp>
        <p:nvSpPr>
          <p:cNvPr id="15" name="Rectangle 14"/>
          <p:cNvSpPr/>
          <p:nvPr/>
        </p:nvSpPr>
        <p:spPr>
          <a:xfrm>
            <a:off x="9324693" y="492143"/>
            <a:ext cx="1934523" cy="10275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sz="2133" b="1" dirty="0">
              <a:solidFill>
                <a:schemeClr val="tx2"/>
              </a:solidFill>
              <a:latin typeface="Futura Std Book" charset="0"/>
              <a:ea typeface="Futura Std Book" charset="0"/>
              <a:cs typeface="Futura Std Book" charset="0"/>
              <a:sym typeface="Arial"/>
            </a:endParaRPr>
          </a:p>
          <a:p>
            <a:r>
              <a:rPr lang="nl-NL" sz="1600" b="1" dirty="0">
                <a:solidFill>
                  <a:schemeClr val="tx2"/>
                </a:solidFill>
                <a:ea typeface="Futura Std Book" charset="0"/>
                <a:cs typeface="Futura Std Book" charset="0"/>
                <a:sym typeface="Arial"/>
              </a:rPr>
              <a:t>ECT Delta Terminal</a:t>
            </a:r>
          </a:p>
          <a:p>
            <a:r>
              <a:rPr lang="nl-NL" sz="1600" dirty="0">
                <a:solidFill>
                  <a:schemeClr val="tx2"/>
                </a:solidFill>
                <a:sym typeface="Arial"/>
              </a:rPr>
              <a:t>The Alliance</a:t>
            </a:r>
          </a:p>
          <a:p>
            <a:r>
              <a:rPr lang="nl-NL" sz="1600" dirty="0">
                <a:solidFill>
                  <a:schemeClr val="tx2"/>
                </a:solidFill>
                <a:ea typeface="Futura Std Book" charset="0"/>
                <a:cs typeface="Futura Std Book" charset="0"/>
                <a:sym typeface="Arial"/>
              </a:rPr>
              <a:t>2M</a:t>
            </a:r>
            <a:br>
              <a:rPr lang="nl-NL" sz="2133" b="1" dirty="0">
                <a:solidFill>
                  <a:schemeClr val="tx2"/>
                </a:solidFill>
                <a:latin typeface="Futura Std Book" charset="0"/>
                <a:ea typeface="Futura Std Book" charset="0"/>
                <a:cs typeface="Futura Std Book" charset="0"/>
                <a:sym typeface="Arial"/>
              </a:rPr>
            </a:br>
            <a:r>
              <a:rPr lang="nl-NL" sz="2133" dirty="0">
                <a:solidFill>
                  <a:schemeClr val="tx2"/>
                </a:solidFill>
                <a:latin typeface="Futura Std Medium" charset="0"/>
                <a:ea typeface="Futura Std Medium" charset="0"/>
                <a:cs typeface="Futura Std Medium" charset="0"/>
                <a:sym typeface="Arial"/>
              </a:rPr>
              <a:t> </a:t>
            </a:r>
          </a:p>
        </p:txBody>
      </p:sp>
      <p:sp>
        <p:nvSpPr>
          <p:cNvPr id="16" name="Rectangle 15"/>
          <p:cNvSpPr/>
          <p:nvPr/>
        </p:nvSpPr>
        <p:spPr>
          <a:xfrm>
            <a:off x="2553063" y="2199765"/>
            <a:ext cx="1886376" cy="10275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1600" b="1" dirty="0" err="1">
                <a:solidFill>
                  <a:schemeClr val="tx2"/>
                </a:solidFill>
                <a:ea typeface="Futura Std Book" charset="0"/>
                <a:cs typeface="Futura Std Book" charset="0"/>
                <a:sym typeface="Arial"/>
              </a:rPr>
              <a:t>Euromax</a:t>
            </a:r>
            <a:r>
              <a:rPr lang="nl-NL" sz="1600" dirty="0">
                <a:solidFill>
                  <a:schemeClr val="tx2"/>
                </a:solidFill>
                <a:ea typeface="Futura Std Medium" charset="0"/>
                <a:cs typeface="Futura Std Medium" charset="0"/>
                <a:sym typeface="Arial"/>
              </a:rPr>
              <a:t> </a:t>
            </a:r>
            <a:br>
              <a:rPr lang="nl-NL" sz="1600" dirty="0">
                <a:solidFill>
                  <a:schemeClr val="tx2"/>
                </a:solidFill>
                <a:ea typeface="Futura Std Medium" charset="0"/>
                <a:cs typeface="Futura Std Medium" charset="0"/>
                <a:sym typeface="Arial"/>
              </a:rPr>
            </a:br>
            <a:r>
              <a:rPr lang="nl-NL" sz="1600" dirty="0">
                <a:solidFill>
                  <a:schemeClr val="tx2"/>
                </a:solidFill>
                <a:ea typeface="Futura Std Medium" charset="0"/>
                <a:cs typeface="Futura Std Medium" charset="0"/>
                <a:sym typeface="Arial"/>
              </a:rPr>
              <a:t>Ocean Alliance</a:t>
            </a:r>
          </a:p>
          <a:p>
            <a:endParaRPr lang="nl-NL" sz="2133" dirty="0">
              <a:solidFill>
                <a:schemeClr val="tx2"/>
              </a:solidFill>
              <a:latin typeface="Futura Std Medium" charset="0"/>
              <a:ea typeface="Futura Std Medium" charset="0"/>
              <a:cs typeface="Futura Std Medium" charset="0"/>
              <a:sym typeface="Arial"/>
            </a:endParaRPr>
          </a:p>
        </p:txBody>
      </p:sp>
      <p:sp>
        <p:nvSpPr>
          <p:cNvPr id="18" name="Rectangle 17"/>
          <p:cNvSpPr/>
          <p:nvPr/>
        </p:nvSpPr>
        <p:spPr>
          <a:xfrm>
            <a:off x="6926800" y="492143"/>
            <a:ext cx="1934523" cy="10275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1600" b="1" dirty="0">
                <a:solidFill>
                  <a:schemeClr val="tx2"/>
                </a:solidFill>
                <a:ea typeface="Futura Std Book" charset="0"/>
                <a:cs typeface="Futura Std Book" charset="0"/>
                <a:sym typeface="Arial"/>
              </a:rPr>
              <a:t>APMT-R</a:t>
            </a:r>
            <a:br>
              <a:rPr lang="nl-NL" sz="1600" dirty="0">
                <a:solidFill>
                  <a:schemeClr val="tx2"/>
                </a:solidFill>
                <a:ea typeface="Futura Std Medium" charset="0"/>
                <a:cs typeface="Futura Std Medium" charset="0"/>
                <a:sym typeface="Arial"/>
              </a:rPr>
            </a:br>
            <a:r>
              <a:rPr lang="nl-NL" sz="1600" dirty="0">
                <a:solidFill>
                  <a:schemeClr val="tx2"/>
                </a:solidFill>
                <a:ea typeface="Futura Std Medium" charset="0"/>
                <a:cs typeface="Futura Std Medium" charset="0"/>
                <a:sym typeface="Arial"/>
              </a:rPr>
              <a:t>2M</a:t>
            </a:r>
          </a:p>
        </p:txBody>
      </p:sp>
      <p:sp>
        <p:nvSpPr>
          <p:cNvPr id="19" name="Rectangle 18"/>
          <p:cNvSpPr/>
          <p:nvPr/>
        </p:nvSpPr>
        <p:spPr>
          <a:xfrm>
            <a:off x="7692903" y="4146622"/>
            <a:ext cx="1886376" cy="10275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1600" b="1" dirty="0">
                <a:solidFill>
                  <a:schemeClr val="tx2"/>
                </a:solidFill>
                <a:ea typeface="Futura Std Book" charset="0"/>
                <a:cs typeface="Futura Std Book" charset="0"/>
                <a:sym typeface="Arial"/>
              </a:rPr>
              <a:t>APMT-II</a:t>
            </a:r>
            <a:br>
              <a:rPr lang="nl-NL" sz="1600" b="1" dirty="0">
                <a:solidFill>
                  <a:schemeClr val="tx2"/>
                </a:solidFill>
                <a:ea typeface="Futura Std Book" charset="0"/>
                <a:cs typeface="Futura Std Book" charset="0"/>
                <a:sym typeface="Arial"/>
              </a:rPr>
            </a:br>
            <a:r>
              <a:rPr lang="nl-NL" sz="1600" dirty="0">
                <a:solidFill>
                  <a:schemeClr val="tx2"/>
                </a:solidFill>
                <a:ea typeface="Futura Std Medium" charset="0"/>
                <a:cs typeface="Futura Std Medium" charset="0"/>
                <a:sym typeface="Arial"/>
              </a:rPr>
              <a:t>2M</a:t>
            </a:r>
          </a:p>
        </p:txBody>
      </p:sp>
      <p:sp>
        <p:nvSpPr>
          <p:cNvPr id="28" name="Rectangle 27"/>
          <p:cNvSpPr/>
          <p:nvPr/>
        </p:nvSpPr>
        <p:spPr>
          <a:xfrm>
            <a:off x="2778978" y="2199765"/>
            <a:ext cx="2735592" cy="719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29" name="Rectangle 28"/>
          <p:cNvSpPr/>
          <p:nvPr/>
        </p:nvSpPr>
        <p:spPr>
          <a:xfrm rot="5400000">
            <a:off x="8137791" y="1717980"/>
            <a:ext cx="1367644" cy="835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31" name="Rectangle 30"/>
          <p:cNvSpPr/>
          <p:nvPr/>
        </p:nvSpPr>
        <p:spPr>
          <a:xfrm rot="5400000">
            <a:off x="6857245" y="4264659"/>
            <a:ext cx="1744565" cy="732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32" name="Rectangle 31"/>
          <p:cNvSpPr/>
          <p:nvPr/>
        </p:nvSpPr>
        <p:spPr>
          <a:xfrm rot="5400000">
            <a:off x="4816180" y="4774112"/>
            <a:ext cx="1367644" cy="732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20" name="Rectangle 28">
            <a:extLst>
              <a:ext uri="{FF2B5EF4-FFF2-40B4-BE49-F238E27FC236}">
                <a16:creationId xmlns:a16="http://schemas.microsoft.com/office/drawing/2014/main" id="{CA255B50-75D3-4B23-B63E-24833DAD534B}"/>
              </a:ext>
            </a:extLst>
          </p:cNvPr>
          <p:cNvSpPr/>
          <p:nvPr/>
        </p:nvSpPr>
        <p:spPr>
          <a:xfrm rot="5400000">
            <a:off x="8690615" y="1717980"/>
            <a:ext cx="1367644" cy="835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5" name="Tijdelijke aanduiding voor datum 4">
            <a:extLst>
              <a:ext uri="{FF2B5EF4-FFF2-40B4-BE49-F238E27FC236}">
                <a16:creationId xmlns:a16="http://schemas.microsoft.com/office/drawing/2014/main" id="{1C516D33-BED6-4ADA-A84F-834C6FB51ED0}"/>
              </a:ext>
            </a:extLst>
          </p:cNvPr>
          <p:cNvSpPr>
            <a:spLocks noGrp="1"/>
          </p:cNvSpPr>
          <p:nvPr>
            <p:ph type="dt" sz="half" idx="10"/>
          </p:nvPr>
        </p:nvSpPr>
        <p:spPr/>
        <p:txBody>
          <a:bodyPr/>
          <a:lstStyle/>
          <a:p>
            <a:fld id="{BB68B4D4-8D1A-4613-9007-F1936C011FBA}" type="datetime4">
              <a:rPr lang="en-GB" smtClean="0"/>
              <a:t>29 May 2020</a:t>
            </a:fld>
            <a:endParaRPr lang="en-GB"/>
          </a:p>
        </p:txBody>
      </p:sp>
      <p:sp>
        <p:nvSpPr>
          <p:cNvPr id="7" name="Tijdelijke aanduiding voor voettekst 6">
            <a:extLst>
              <a:ext uri="{FF2B5EF4-FFF2-40B4-BE49-F238E27FC236}">
                <a16:creationId xmlns:a16="http://schemas.microsoft.com/office/drawing/2014/main" id="{DE1BDAF4-841E-4CC5-84F0-B35C5837BD52}"/>
              </a:ext>
            </a:extLst>
          </p:cNvPr>
          <p:cNvSpPr>
            <a:spLocks noGrp="1"/>
          </p:cNvSpPr>
          <p:nvPr>
            <p:ph type="ftr" sz="quarter" idx="11"/>
          </p:nvPr>
        </p:nvSpPr>
        <p:spPr/>
        <p:txBody>
          <a:bodyPr/>
          <a:lstStyle/>
          <a:p>
            <a:r>
              <a:rPr lang="en-GB"/>
              <a:t>|</a:t>
            </a:r>
          </a:p>
        </p:txBody>
      </p:sp>
      <p:sp>
        <p:nvSpPr>
          <p:cNvPr id="8" name="Tijdelijke aanduiding voor dianummer 7">
            <a:extLst>
              <a:ext uri="{FF2B5EF4-FFF2-40B4-BE49-F238E27FC236}">
                <a16:creationId xmlns:a16="http://schemas.microsoft.com/office/drawing/2014/main" id="{F15434A4-E472-4166-BB59-9659C85BC6D9}"/>
              </a:ext>
            </a:extLst>
          </p:cNvPr>
          <p:cNvSpPr>
            <a:spLocks noGrp="1"/>
          </p:cNvSpPr>
          <p:nvPr>
            <p:ph type="sldNum" sz="quarter" idx="12"/>
          </p:nvPr>
        </p:nvSpPr>
        <p:spPr/>
        <p:txBody>
          <a:bodyPr/>
          <a:lstStyle/>
          <a:p>
            <a:fld id="{534B5F9C-CFE5-4EC6-9BBB-664E2F56B033}" type="slidenum">
              <a:rPr lang="en-GB" smtClean="0"/>
              <a:t>14</a:t>
            </a:fld>
            <a:endParaRPr lang="en-GB"/>
          </a:p>
        </p:txBody>
      </p:sp>
      <p:graphicFrame>
        <p:nvGraphicFramePr>
          <p:cNvPr id="17" name="Tabel 16">
            <a:extLst>
              <a:ext uri="{FF2B5EF4-FFF2-40B4-BE49-F238E27FC236}">
                <a16:creationId xmlns:a16="http://schemas.microsoft.com/office/drawing/2014/main" id="{07C1F77C-DAD7-48D4-B2DF-7642A9145850}"/>
              </a:ext>
            </a:extLst>
          </p:cNvPr>
          <p:cNvGraphicFramePr>
            <a:graphicFrameLocks noGrp="1"/>
          </p:cNvGraphicFramePr>
          <p:nvPr>
            <p:extLst>
              <p:ext uri="{D42A27DB-BD31-4B8C-83A1-F6EECF244321}">
                <p14:modId xmlns:p14="http://schemas.microsoft.com/office/powerpoint/2010/main" val="957481528"/>
              </p:ext>
            </p:extLst>
          </p:nvPr>
        </p:nvGraphicFramePr>
        <p:xfrm>
          <a:off x="197059" y="3785772"/>
          <a:ext cx="4270769" cy="2024494"/>
        </p:xfrm>
        <a:graphic>
          <a:graphicData uri="http://schemas.openxmlformats.org/drawingml/2006/table">
            <a:tbl>
              <a:tblPr firstRow="1" bandRow="1">
                <a:effectLst>
                  <a:outerShdw blurRad="50800" dist="38100" dir="5400000" algn="t" rotWithShape="0">
                    <a:prstClr val="black">
                      <a:alpha val="40000"/>
                    </a:prstClr>
                  </a:outerShdw>
                </a:effectLst>
                <a:tableStyleId>{93296810-A885-4BE3-A3E7-6D5BEEA58F35}</a:tableStyleId>
              </a:tblPr>
              <a:tblGrid>
                <a:gridCol w="1083808">
                  <a:extLst>
                    <a:ext uri="{9D8B030D-6E8A-4147-A177-3AD203B41FA5}">
                      <a16:colId xmlns:a16="http://schemas.microsoft.com/office/drawing/2014/main" val="20000"/>
                    </a:ext>
                  </a:extLst>
                </a:gridCol>
                <a:gridCol w="632960">
                  <a:extLst>
                    <a:ext uri="{9D8B030D-6E8A-4147-A177-3AD203B41FA5}">
                      <a16:colId xmlns:a16="http://schemas.microsoft.com/office/drawing/2014/main" val="20001"/>
                    </a:ext>
                  </a:extLst>
                </a:gridCol>
                <a:gridCol w="989850">
                  <a:extLst>
                    <a:ext uri="{9D8B030D-6E8A-4147-A177-3AD203B41FA5}">
                      <a16:colId xmlns:a16="http://schemas.microsoft.com/office/drawing/2014/main" val="20002"/>
                    </a:ext>
                  </a:extLst>
                </a:gridCol>
                <a:gridCol w="795652">
                  <a:extLst>
                    <a:ext uri="{9D8B030D-6E8A-4147-A177-3AD203B41FA5}">
                      <a16:colId xmlns:a16="http://schemas.microsoft.com/office/drawing/2014/main" val="20003"/>
                    </a:ext>
                  </a:extLst>
                </a:gridCol>
                <a:gridCol w="768499">
                  <a:extLst>
                    <a:ext uri="{9D8B030D-6E8A-4147-A177-3AD203B41FA5}">
                      <a16:colId xmlns:a16="http://schemas.microsoft.com/office/drawing/2014/main" val="20004"/>
                    </a:ext>
                  </a:extLst>
                </a:gridCol>
              </a:tblGrid>
              <a:tr h="488656">
                <a:tc>
                  <a:txBody>
                    <a:bodyPr/>
                    <a:lstStyle/>
                    <a:p>
                      <a:r>
                        <a:rPr lang="nl-NL" sz="1200" dirty="0">
                          <a:latin typeface="+mn-lt"/>
                        </a:rPr>
                        <a:t>Terminal</a:t>
                      </a:r>
                    </a:p>
                  </a:txBody>
                  <a:tcPr/>
                </a:tc>
                <a:tc>
                  <a:txBody>
                    <a:bodyPr/>
                    <a:lstStyle/>
                    <a:p>
                      <a:pPr algn="r"/>
                      <a:r>
                        <a:rPr lang="nl-NL" sz="1200" dirty="0">
                          <a:latin typeface="+mn-lt"/>
                        </a:rPr>
                        <a:t>Ha</a:t>
                      </a:r>
                    </a:p>
                  </a:txBody>
                  <a:tcPr/>
                </a:tc>
                <a:tc>
                  <a:txBody>
                    <a:bodyPr/>
                    <a:lstStyle/>
                    <a:p>
                      <a:pPr algn="r"/>
                      <a:r>
                        <a:rPr lang="nl-NL" sz="1200" dirty="0" err="1">
                          <a:latin typeface="+mn-lt"/>
                        </a:rPr>
                        <a:t>Capacity</a:t>
                      </a:r>
                      <a:br>
                        <a:rPr lang="nl-NL" sz="1200" dirty="0">
                          <a:latin typeface="+mn-lt"/>
                        </a:rPr>
                      </a:br>
                      <a:r>
                        <a:rPr lang="nl-NL" sz="1200" dirty="0">
                          <a:latin typeface="+mn-lt"/>
                        </a:rPr>
                        <a:t> (mln. TEU)</a:t>
                      </a:r>
                    </a:p>
                  </a:txBody>
                  <a:tcPr/>
                </a:tc>
                <a:tc>
                  <a:txBody>
                    <a:bodyPr/>
                    <a:lstStyle/>
                    <a:p>
                      <a:pPr algn="r"/>
                      <a:r>
                        <a:rPr lang="nl-NL" sz="1200" dirty="0">
                          <a:latin typeface="+mn-lt"/>
                        </a:rPr>
                        <a:t>Cranes</a:t>
                      </a:r>
                    </a:p>
                  </a:txBody>
                  <a:tcPr/>
                </a:tc>
                <a:tc>
                  <a:txBody>
                    <a:bodyPr/>
                    <a:lstStyle/>
                    <a:p>
                      <a:pPr algn="r"/>
                      <a:r>
                        <a:rPr lang="nl-NL" sz="1200" dirty="0">
                          <a:latin typeface="+mn-lt"/>
                        </a:rPr>
                        <a:t>Reefer </a:t>
                      </a:r>
                      <a:r>
                        <a:rPr lang="nl-NL" sz="1200" dirty="0" err="1">
                          <a:latin typeface="+mn-lt"/>
                        </a:rPr>
                        <a:t>plugs</a:t>
                      </a:r>
                      <a:endParaRPr lang="nl-NL" sz="1200" dirty="0">
                        <a:latin typeface="+mn-lt"/>
                      </a:endParaRPr>
                    </a:p>
                  </a:txBody>
                  <a:tcPr/>
                </a:tc>
                <a:extLst>
                  <a:ext uri="{0D108BD9-81ED-4DB2-BD59-A6C34878D82A}">
                    <a16:rowId xmlns:a16="http://schemas.microsoft.com/office/drawing/2014/main" val="10000"/>
                  </a:ext>
                </a:extLst>
              </a:tr>
              <a:tr h="307768">
                <a:tc>
                  <a:txBody>
                    <a:bodyPr/>
                    <a:lstStyle/>
                    <a:p>
                      <a:pPr algn="l"/>
                      <a:r>
                        <a:rPr lang="nl-NL" sz="1200" b="1" dirty="0">
                          <a:solidFill>
                            <a:schemeClr val="tx2"/>
                          </a:solidFill>
                          <a:latin typeface="+mn-lt"/>
                        </a:rPr>
                        <a:t>ECT Delta</a:t>
                      </a:r>
                    </a:p>
                  </a:txBody>
                  <a:tcPr/>
                </a:tc>
                <a:tc>
                  <a:txBody>
                    <a:bodyPr/>
                    <a:lstStyle/>
                    <a:p>
                      <a:pPr algn="r"/>
                      <a:r>
                        <a:rPr lang="nl-NL" sz="1200" dirty="0">
                          <a:solidFill>
                            <a:schemeClr val="tx2"/>
                          </a:solidFill>
                          <a:latin typeface="+mn-lt"/>
                        </a:rPr>
                        <a:t>272</a:t>
                      </a:r>
                    </a:p>
                  </a:txBody>
                  <a:tcPr/>
                </a:tc>
                <a:tc>
                  <a:txBody>
                    <a:bodyPr/>
                    <a:lstStyle/>
                    <a:p>
                      <a:pPr algn="r"/>
                      <a:r>
                        <a:rPr lang="nl-NL" sz="1200" dirty="0">
                          <a:solidFill>
                            <a:schemeClr val="tx2"/>
                          </a:solidFill>
                          <a:latin typeface="+mn-lt"/>
                        </a:rPr>
                        <a:t>5,8</a:t>
                      </a:r>
                    </a:p>
                  </a:txBody>
                  <a:tcPr/>
                </a:tc>
                <a:tc>
                  <a:txBody>
                    <a:bodyPr/>
                    <a:lstStyle/>
                    <a:p>
                      <a:pPr algn="r"/>
                      <a:r>
                        <a:rPr lang="nl-NL" sz="1200" dirty="0">
                          <a:solidFill>
                            <a:schemeClr val="tx2"/>
                          </a:solidFill>
                          <a:latin typeface="+mn-lt"/>
                        </a:rPr>
                        <a:t>38</a:t>
                      </a:r>
                    </a:p>
                  </a:txBody>
                  <a:tcPr/>
                </a:tc>
                <a:tc>
                  <a:txBody>
                    <a:bodyPr/>
                    <a:lstStyle/>
                    <a:p>
                      <a:pPr algn="r"/>
                      <a:r>
                        <a:rPr lang="nl-NL" sz="1200" dirty="0">
                          <a:solidFill>
                            <a:schemeClr val="tx2"/>
                          </a:solidFill>
                          <a:latin typeface="+mn-lt"/>
                        </a:rPr>
                        <a:t>3,250</a:t>
                      </a:r>
                    </a:p>
                  </a:txBody>
                  <a:tcPr/>
                </a:tc>
                <a:extLst>
                  <a:ext uri="{0D108BD9-81ED-4DB2-BD59-A6C34878D82A}">
                    <a16:rowId xmlns:a16="http://schemas.microsoft.com/office/drawing/2014/main" val="10001"/>
                  </a:ext>
                </a:extLst>
              </a:tr>
              <a:tr h="307768">
                <a:tc>
                  <a:txBody>
                    <a:bodyPr/>
                    <a:lstStyle/>
                    <a:p>
                      <a:pPr algn="l"/>
                      <a:r>
                        <a:rPr lang="nl-NL" sz="1200" b="1" dirty="0">
                          <a:solidFill>
                            <a:schemeClr val="tx2"/>
                          </a:solidFill>
                          <a:latin typeface="+mn-lt"/>
                        </a:rPr>
                        <a:t>Euromax</a:t>
                      </a:r>
                    </a:p>
                  </a:txBody>
                  <a:tcPr/>
                </a:tc>
                <a:tc>
                  <a:txBody>
                    <a:bodyPr/>
                    <a:lstStyle/>
                    <a:p>
                      <a:pPr algn="r"/>
                      <a:r>
                        <a:rPr lang="nl-NL" sz="1200" dirty="0">
                          <a:solidFill>
                            <a:schemeClr val="tx2"/>
                          </a:solidFill>
                          <a:latin typeface="+mn-lt"/>
                        </a:rPr>
                        <a:t>84</a:t>
                      </a:r>
                    </a:p>
                  </a:txBody>
                  <a:tcPr/>
                </a:tc>
                <a:tc>
                  <a:txBody>
                    <a:bodyPr/>
                    <a:lstStyle/>
                    <a:p>
                      <a:pPr algn="r"/>
                      <a:r>
                        <a:rPr lang="nl-NL" sz="1200" dirty="0">
                          <a:solidFill>
                            <a:schemeClr val="tx2"/>
                          </a:solidFill>
                          <a:latin typeface="+mn-lt"/>
                        </a:rPr>
                        <a:t>2,3</a:t>
                      </a:r>
                    </a:p>
                  </a:txBody>
                  <a:tcPr/>
                </a:tc>
                <a:tc>
                  <a:txBody>
                    <a:bodyPr/>
                    <a:lstStyle/>
                    <a:p>
                      <a:pPr algn="r"/>
                      <a:r>
                        <a:rPr lang="nl-NL" sz="1200" dirty="0">
                          <a:solidFill>
                            <a:schemeClr val="tx2"/>
                          </a:solidFill>
                          <a:latin typeface="+mn-lt"/>
                        </a:rPr>
                        <a:t>16</a:t>
                      </a:r>
                    </a:p>
                  </a:txBody>
                  <a:tcPr/>
                </a:tc>
                <a:tc>
                  <a:txBody>
                    <a:bodyPr/>
                    <a:lstStyle/>
                    <a:p>
                      <a:pPr algn="r"/>
                      <a:r>
                        <a:rPr lang="nl-NL" sz="1200" dirty="0">
                          <a:solidFill>
                            <a:schemeClr val="tx2"/>
                          </a:solidFill>
                          <a:latin typeface="+mn-lt"/>
                        </a:rPr>
                        <a:t>1,776</a:t>
                      </a:r>
                    </a:p>
                  </a:txBody>
                  <a:tcPr/>
                </a:tc>
                <a:extLst>
                  <a:ext uri="{0D108BD9-81ED-4DB2-BD59-A6C34878D82A}">
                    <a16:rowId xmlns:a16="http://schemas.microsoft.com/office/drawing/2014/main" val="10002"/>
                  </a:ext>
                </a:extLst>
              </a:tr>
              <a:tr h="307768">
                <a:tc>
                  <a:txBody>
                    <a:bodyPr/>
                    <a:lstStyle/>
                    <a:p>
                      <a:pPr algn="l"/>
                      <a:r>
                        <a:rPr lang="nl-NL" sz="1200" b="1" dirty="0">
                          <a:solidFill>
                            <a:schemeClr val="tx2"/>
                          </a:solidFill>
                          <a:latin typeface="+mn-lt"/>
                        </a:rPr>
                        <a:t>APMT-R</a:t>
                      </a:r>
                    </a:p>
                  </a:txBody>
                  <a:tcPr/>
                </a:tc>
                <a:tc>
                  <a:txBody>
                    <a:bodyPr/>
                    <a:lstStyle/>
                    <a:p>
                      <a:pPr algn="r"/>
                      <a:r>
                        <a:rPr lang="nl-NL" sz="1200" dirty="0">
                          <a:solidFill>
                            <a:schemeClr val="tx2"/>
                          </a:solidFill>
                          <a:latin typeface="+mn-lt"/>
                        </a:rPr>
                        <a:t>100</a:t>
                      </a:r>
                    </a:p>
                  </a:txBody>
                  <a:tcPr/>
                </a:tc>
                <a:tc>
                  <a:txBody>
                    <a:bodyPr/>
                    <a:lstStyle/>
                    <a:p>
                      <a:pPr algn="r"/>
                      <a:r>
                        <a:rPr lang="nl-NL" sz="1200" dirty="0">
                          <a:solidFill>
                            <a:schemeClr val="tx2"/>
                          </a:solidFill>
                          <a:latin typeface="+mn-lt"/>
                        </a:rPr>
                        <a:t>3,35</a:t>
                      </a:r>
                    </a:p>
                  </a:txBody>
                  <a:tcPr/>
                </a:tc>
                <a:tc>
                  <a:txBody>
                    <a:bodyPr/>
                    <a:lstStyle/>
                    <a:p>
                      <a:pPr algn="r"/>
                      <a:r>
                        <a:rPr lang="nl-NL" sz="1200" dirty="0">
                          <a:solidFill>
                            <a:schemeClr val="tx2"/>
                          </a:solidFill>
                          <a:latin typeface="+mn-lt"/>
                        </a:rPr>
                        <a:t>14</a:t>
                      </a:r>
                    </a:p>
                  </a:txBody>
                  <a:tcPr/>
                </a:tc>
                <a:tc>
                  <a:txBody>
                    <a:bodyPr/>
                    <a:lstStyle/>
                    <a:p>
                      <a:pPr algn="r"/>
                      <a:r>
                        <a:rPr lang="nl-NL" sz="1200" dirty="0">
                          <a:solidFill>
                            <a:schemeClr val="tx2"/>
                          </a:solidFill>
                          <a:latin typeface="+mn-lt"/>
                        </a:rPr>
                        <a:t>2,250</a:t>
                      </a:r>
                    </a:p>
                  </a:txBody>
                  <a:tcPr/>
                </a:tc>
                <a:extLst>
                  <a:ext uri="{0D108BD9-81ED-4DB2-BD59-A6C34878D82A}">
                    <a16:rowId xmlns:a16="http://schemas.microsoft.com/office/drawing/2014/main" val="10003"/>
                  </a:ext>
                </a:extLst>
              </a:tr>
              <a:tr h="304766">
                <a:tc>
                  <a:txBody>
                    <a:bodyPr/>
                    <a:lstStyle/>
                    <a:p>
                      <a:pPr algn="l"/>
                      <a:r>
                        <a:rPr lang="nl-NL" sz="1200" b="1" dirty="0">
                          <a:solidFill>
                            <a:schemeClr val="tx2"/>
                          </a:solidFill>
                          <a:latin typeface="+mn-lt"/>
                        </a:rPr>
                        <a:t>APMT-MVII</a:t>
                      </a:r>
                    </a:p>
                  </a:txBody>
                  <a:tcPr/>
                </a:tc>
                <a:tc>
                  <a:txBody>
                    <a:bodyPr/>
                    <a:lstStyle/>
                    <a:p>
                      <a:pPr algn="r"/>
                      <a:r>
                        <a:rPr lang="nl-NL" sz="1200" dirty="0">
                          <a:solidFill>
                            <a:schemeClr val="tx2"/>
                          </a:solidFill>
                          <a:latin typeface="+mn-lt"/>
                        </a:rPr>
                        <a:t>86</a:t>
                      </a:r>
                    </a:p>
                  </a:txBody>
                  <a:tcPr/>
                </a:tc>
                <a:tc>
                  <a:txBody>
                    <a:bodyPr/>
                    <a:lstStyle/>
                    <a:p>
                      <a:pPr algn="r"/>
                      <a:r>
                        <a:rPr lang="nl-NL" sz="1200" dirty="0">
                          <a:solidFill>
                            <a:schemeClr val="tx2"/>
                          </a:solidFill>
                          <a:latin typeface="+mn-lt"/>
                        </a:rPr>
                        <a:t>2,7</a:t>
                      </a:r>
                    </a:p>
                  </a:txBody>
                  <a:tcPr/>
                </a:tc>
                <a:tc>
                  <a:txBody>
                    <a:bodyPr/>
                    <a:lstStyle/>
                    <a:p>
                      <a:pPr algn="r"/>
                      <a:r>
                        <a:rPr lang="nl-NL" sz="1200" dirty="0">
                          <a:solidFill>
                            <a:schemeClr val="tx2"/>
                          </a:solidFill>
                          <a:latin typeface="+mn-lt"/>
                        </a:rPr>
                        <a:t>10</a:t>
                      </a:r>
                    </a:p>
                  </a:txBody>
                  <a:tcPr/>
                </a:tc>
                <a:tc>
                  <a:txBody>
                    <a:bodyPr/>
                    <a:lstStyle/>
                    <a:p>
                      <a:pPr algn="r"/>
                      <a:r>
                        <a:rPr lang="nl-NL" sz="1200" dirty="0">
                          <a:solidFill>
                            <a:schemeClr val="tx2"/>
                          </a:solidFill>
                          <a:latin typeface="+mn-lt"/>
                        </a:rPr>
                        <a:t>3,600</a:t>
                      </a:r>
                    </a:p>
                  </a:txBody>
                  <a:tcPr/>
                </a:tc>
                <a:extLst>
                  <a:ext uri="{0D108BD9-81ED-4DB2-BD59-A6C34878D82A}">
                    <a16:rowId xmlns:a16="http://schemas.microsoft.com/office/drawing/2014/main" val="10004"/>
                  </a:ext>
                </a:extLst>
              </a:tr>
              <a:tr h="307768">
                <a:tc>
                  <a:txBody>
                    <a:bodyPr/>
                    <a:lstStyle/>
                    <a:p>
                      <a:pPr algn="l"/>
                      <a:r>
                        <a:rPr lang="nl-NL" sz="1200" b="1" dirty="0">
                          <a:solidFill>
                            <a:schemeClr val="tx2"/>
                          </a:solidFill>
                          <a:latin typeface="+mn-lt"/>
                        </a:rPr>
                        <a:t>RWG</a:t>
                      </a:r>
                    </a:p>
                  </a:txBody>
                  <a:tcPr/>
                </a:tc>
                <a:tc>
                  <a:txBody>
                    <a:bodyPr/>
                    <a:lstStyle/>
                    <a:p>
                      <a:pPr algn="r"/>
                      <a:r>
                        <a:rPr lang="nl-NL" sz="1200" dirty="0">
                          <a:solidFill>
                            <a:schemeClr val="tx2"/>
                          </a:solidFill>
                          <a:latin typeface="+mn-lt"/>
                        </a:rPr>
                        <a:t>108</a:t>
                      </a:r>
                    </a:p>
                  </a:txBody>
                  <a:tcPr/>
                </a:tc>
                <a:tc>
                  <a:txBody>
                    <a:bodyPr/>
                    <a:lstStyle/>
                    <a:p>
                      <a:pPr algn="r"/>
                      <a:r>
                        <a:rPr lang="nl-NL" sz="1200" dirty="0">
                          <a:solidFill>
                            <a:schemeClr val="tx2"/>
                          </a:solidFill>
                          <a:latin typeface="+mn-lt"/>
                        </a:rPr>
                        <a:t>2,35</a:t>
                      </a:r>
                    </a:p>
                  </a:txBody>
                  <a:tcPr/>
                </a:tc>
                <a:tc>
                  <a:txBody>
                    <a:bodyPr/>
                    <a:lstStyle/>
                    <a:p>
                      <a:pPr algn="r"/>
                      <a:r>
                        <a:rPr lang="nl-NL" sz="1200" dirty="0">
                          <a:solidFill>
                            <a:schemeClr val="tx2"/>
                          </a:solidFill>
                          <a:latin typeface="+mn-lt"/>
                        </a:rPr>
                        <a:t>14</a:t>
                      </a:r>
                    </a:p>
                  </a:txBody>
                  <a:tcPr/>
                </a:tc>
                <a:tc>
                  <a:txBody>
                    <a:bodyPr/>
                    <a:lstStyle/>
                    <a:p>
                      <a:pPr algn="r"/>
                      <a:r>
                        <a:rPr lang="nl-NL" sz="1200" dirty="0">
                          <a:solidFill>
                            <a:schemeClr val="tx2"/>
                          </a:solidFill>
                          <a:latin typeface="+mn-lt"/>
                        </a:rPr>
                        <a:t>1,700</a:t>
                      </a:r>
                    </a:p>
                  </a:txBody>
                  <a:tcPr/>
                </a:tc>
                <a:extLst>
                  <a:ext uri="{0D108BD9-81ED-4DB2-BD59-A6C34878D82A}">
                    <a16:rowId xmlns:a16="http://schemas.microsoft.com/office/drawing/2014/main" val="10005"/>
                  </a:ext>
                </a:extLst>
              </a:tr>
            </a:tbl>
          </a:graphicData>
        </a:graphic>
      </p:graphicFrame>
    </p:spTree>
    <p:custDataLst>
      <p:tags r:id="rId1"/>
    </p:custDataLst>
    <p:extLst>
      <p:ext uri="{BB962C8B-B14F-4D97-AF65-F5344CB8AC3E}">
        <p14:creationId xmlns:p14="http://schemas.microsoft.com/office/powerpoint/2010/main" val="6017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a14="http://schemas.microsoft.com/office/drawing/2010/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fgeronde rechthoek 7"/>
          <p:cNvSpPr/>
          <p:nvPr/>
        </p:nvSpPr>
        <p:spPr>
          <a:xfrm>
            <a:off x="-182270" y="-1491357"/>
            <a:ext cx="12531634" cy="7465437"/>
          </a:xfrm>
          <a:prstGeom prst="roundRect">
            <a:avLst>
              <a:gd name="adj" fmla="val 1389"/>
            </a:avLst>
          </a:prstGeom>
          <a:blipFill dpi="0" rotWithShape="1">
            <a:blip r:embed="rId4" cstate="email">
              <a:extLst>
                <a:ext uri="{28A0092B-C50C-407E-A947-70E740481C1C}">
                  <a14:useLocalDpi xmlns:a14="http://schemas.microsoft.com/office/drawing/2010/main"/>
                </a:ext>
              </a:extLst>
            </a:blip>
            <a:srcRect/>
            <a:stretch>
              <a:fillRect t="20000" b="-18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sz="3200" dirty="0"/>
          </a:p>
        </p:txBody>
      </p:sp>
      <p:sp>
        <p:nvSpPr>
          <p:cNvPr id="2" name="Title 1"/>
          <p:cNvSpPr>
            <a:spLocks noGrp="1"/>
          </p:cNvSpPr>
          <p:nvPr>
            <p:ph type="title"/>
          </p:nvPr>
        </p:nvSpPr>
        <p:spPr>
          <a:prstGeom prst="rect">
            <a:avLst/>
          </a:prstGeom>
        </p:spPr>
        <p:txBody>
          <a:bodyPr/>
          <a:lstStyle/>
          <a:p>
            <a:r>
              <a:rPr lang="en-US" dirty="0"/>
              <a:t>SHAREHOLDERS PER</a:t>
            </a:r>
            <a:br>
              <a:rPr lang="en-US" dirty="0"/>
            </a:br>
            <a:r>
              <a:rPr lang="en-US" dirty="0"/>
              <a:t>DEEP SEA TERMINAL</a:t>
            </a:r>
            <a:endParaRPr lang="nl-NL" dirty="0"/>
          </a:p>
        </p:txBody>
      </p:sp>
      <p:sp>
        <p:nvSpPr>
          <p:cNvPr id="4" name="Tijdelijke aanduiding voor inhoud 3">
            <a:extLst>
              <a:ext uri="{FF2B5EF4-FFF2-40B4-BE49-F238E27FC236}">
                <a16:creationId xmlns:a16="http://schemas.microsoft.com/office/drawing/2014/main" id="{2A4852E5-8979-4317-A351-4B6EBCF6D3B2}"/>
              </a:ext>
            </a:extLst>
          </p:cNvPr>
          <p:cNvSpPr>
            <a:spLocks noGrp="1"/>
          </p:cNvSpPr>
          <p:nvPr>
            <p:ph idx="14"/>
          </p:nvPr>
        </p:nvSpPr>
        <p:spPr/>
        <p:txBody>
          <a:bodyPr/>
          <a:lstStyle/>
          <a:p>
            <a:endParaRPr lang="nl-NL" dirty="0"/>
          </a:p>
        </p:txBody>
      </p:sp>
      <p:sp>
        <p:nvSpPr>
          <p:cNvPr id="3" name="Rectangle 2"/>
          <p:cNvSpPr/>
          <p:nvPr/>
        </p:nvSpPr>
        <p:spPr>
          <a:xfrm>
            <a:off x="2583799" y="4657128"/>
            <a:ext cx="2951560" cy="10695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sz="1200" b="1" dirty="0">
              <a:solidFill>
                <a:schemeClr val="tx2"/>
              </a:solidFill>
              <a:ea typeface="Futura Std Book" charset="0"/>
              <a:cs typeface="Futura Std Book" charset="0"/>
              <a:sym typeface="Arial"/>
            </a:endParaRPr>
          </a:p>
          <a:p>
            <a:endParaRPr lang="nl-NL" sz="1200" b="1" dirty="0">
              <a:solidFill>
                <a:schemeClr val="tx2"/>
              </a:solidFill>
              <a:ea typeface="Futura Std Book" charset="0"/>
              <a:cs typeface="Futura Std Book" charset="0"/>
              <a:sym typeface="Arial"/>
            </a:endParaRPr>
          </a:p>
          <a:p>
            <a:endParaRPr lang="nl-NL" sz="1200" b="1" dirty="0">
              <a:solidFill>
                <a:schemeClr val="tx2"/>
              </a:solidFill>
              <a:ea typeface="Futura Std Book" charset="0"/>
              <a:cs typeface="Futura Std Book" charset="0"/>
              <a:sym typeface="Arial"/>
            </a:endParaRPr>
          </a:p>
          <a:p>
            <a:r>
              <a:rPr lang="nl-NL" sz="1200" b="1" dirty="0">
                <a:solidFill>
                  <a:schemeClr val="tx2"/>
                </a:solidFill>
                <a:ea typeface="Futura Std Book" charset="0"/>
                <a:cs typeface="Futura Std Book" charset="0"/>
                <a:sym typeface="Arial"/>
              </a:rPr>
              <a:t>RWG</a:t>
            </a:r>
          </a:p>
          <a:p>
            <a:r>
              <a:rPr lang="nl-NL" sz="1200" dirty="0">
                <a:solidFill>
                  <a:schemeClr val="tx2"/>
                </a:solidFill>
                <a:ea typeface="Futura Std Medium" charset="0"/>
                <a:cs typeface="Futura Std Medium" charset="0"/>
                <a:sym typeface="Arial"/>
              </a:rPr>
              <a:t>DP World 30%</a:t>
            </a:r>
            <a:br>
              <a:rPr lang="nl-NL" sz="1200" dirty="0">
                <a:solidFill>
                  <a:schemeClr val="tx2"/>
                </a:solidFill>
                <a:ea typeface="Futura Std Medium" charset="0"/>
                <a:cs typeface="Futura Std Medium" charset="0"/>
                <a:sym typeface="Arial"/>
              </a:rPr>
            </a:br>
            <a:r>
              <a:rPr lang="nl-NL" sz="1200" dirty="0">
                <a:solidFill>
                  <a:schemeClr val="tx2"/>
                </a:solidFill>
                <a:ea typeface="Futura Std Medium" charset="0"/>
                <a:cs typeface="Futura Std Medium" charset="0"/>
                <a:sym typeface="Arial"/>
              </a:rPr>
              <a:t>MOL: 20% (The Alliance)</a:t>
            </a:r>
          </a:p>
          <a:p>
            <a:r>
              <a:rPr lang="nl-NL" sz="1200" dirty="0">
                <a:solidFill>
                  <a:schemeClr val="tx2"/>
                </a:solidFill>
                <a:ea typeface="Futura Std Medium" charset="0"/>
                <a:cs typeface="Futura Std Medium" charset="0"/>
                <a:sym typeface="Arial"/>
              </a:rPr>
              <a:t>HMM: 20% (slot charter </a:t>
            </a:r>
            <a:r>
              <a:rPr lang="nl-NL" sz="1200" dirty="0" err="1">
                <a:solidFill>
                  <a:schemeClr val="tx2"/>
                </a:solidFill>
                <a:ea typeface="Futura Std Medium" charset="0"/>
                <a:cs typeface="Futura Std Medium" charset="0"/>
                <a:sym typeface="Arial"/>
              </a:rPr>
              <a:t>with</a:t>
            </a:r>
            <a:r>
              <a:rPr lang="nl-NL" sz="1200" dirty="0">
                <a:solidFill>
                  <a:schemeClr val="tx2"/>
                </a:solidFill>
                <a:ea typeface="Futura Std Medium" charset="0"/>
                <a:cs typeface="Futura Std Medium" charset="0"/>
                <a:sym typeface="Arial"/>
              </a:rPr>
              <a:t> 2M)</a:t>
            </a:r>
            <a:br>
              <a:rPr lang="nl-NL" sz="1200" dirty="0">
                <a:solidFill>
                  <a:schemeClr val="tx2"/>
                </a:solidFill>
                <a:ea typeface="Futura Std Medium" charset="0"/>
                <a:cs typeface="Futura Std Medium" charset="0"/>
                <a:sym typeface="Arial"/>
              </a:rPr>
            </a:br>
            <a:r>
              <a:rPr lang="nl-NL" sz="1200" dirty="0">
                <a:solidFill>
                  <a:schemeClr val="tx2"/>
                </a:solidFill>
                <a:ea typeface="Futura Std Medium" charset="0"/>
                <a:cs typeface="Futura Std Medium" charset="0"/>
                <a:sym typeface="Arial"/>
              </a:rPr>
              <a:t>CMA-CGM*: 30% (Ocean Alliance)</a:t>
            </a:r>
          </a:p>
          <a:p>
            <a:br>
              <a:rPr lang="nl-NL" sz="1600" b="1" dirty="0">
                <a:solidFill>
                  <a:schemeClr val="tx2"/>
                </a:solidFill>
                <a:latin typeface="Futura Std Medium"/>
                <a:ea typeface="Futura Std Book" charset="0"/>
                <a:cs typeface="Futura Std Book" charset="0"/>
                <a:sym typeface="Arial"/>
              </a:rPr>
            </a:br>
            <a:endParaRPr lang="nl-NL" sz="1600" dirty="0">
              <a:solidFill>
                <a:schemeClr val="tx2"/>
              </a:solidFill>
              <a:latin typeface="Futura Std Medium"/>
              <a:ea typeface="Futura Std Medium" charset="0"/>
              <a:cs typeface="Futura Std Medium" charset="0"/>
              <a:sym typeface="Arial"/>
            </a:endParaRPr>
          </a:p>
        </p:txBody>
      </p:sp>
      <p:sp>
        <p:nvSpPr>
          <p:cNvPr id="15" name="Rectangle 14"/>
          <p:cNvSpPr/>
          <p:nvPr/>
        </p:nvSpPr>
        <p:spPr>
          <a:xfrm>
            <a:off x="9325599" y="492142"/>
            <a:ext cx="2688300" cy="113876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1200" b="1" dirty="0">
                <a:solidFill>
                  <a:schemeClr val="tx2"/>
                </a:solidFill>
                <a:ea typeface="Futura Std Book" charset="0"/>
                <a:cs typeface="Futura Std Book" charset="0"/>
                <a:sym typeface="Arial"/>
              </a:rPr>
              <a:t>ECT Delta Terminal</a:t>
            </a:r>
            <a:br>
              <a:rPr lang="nl-NL" sz="1200" b="1" dirty="0">
                <a:solidFill>
                  <a:schemeClr val="tx2"/>
                </a:solidFill>
                <a:ea typeface="Futura Std Book" charset="0"/>
                <a:cs typeface="Futura Std Book" charset="0"/>
                <a:sym typeface="Arial"/>
              </a:rPr>
            </a:br>
            <a:r>
              <a:rPr lang="nl-NL" sz="1200" dirty="0" err="1">
                <a:solidFill>
                  <a:schemeClr val="tx2"/>
                </a:solidFill>
                <a:ea typeface="Futura Std Medium" charset="0"/>
                <a:cs typeface="Futura Std Medium" charset="0"/>
                <a:sym typeface="Arial"/>
              </a:rPr>
              <a:t>Hutchison</a:t>
            </a:r>
            <a:r>
              <a:rPr lang="nl-NL" sz="1200" dirty="0">
                <a:solidFill>
                  <a:schemeClr val="tx2"/>
                </a:solidFill>
                <a:ea typeface="Futura Std Medium" charset="0"/>
                <a:cs typeface="Futura Std Medium" charset="0"/>
                <a:sym typeface="Arial"/>
              </a:rPr>
              <a:t> Port Holdings</a:t>
            </a:r>
            <a:br>
              <a:rPr lang="nl-NL" sz="1200" dirty="0">
                <a:solidFill>
                  <a:schemeClr val="tx2"/>
                </a:solidFill>
                <a:ea typeface="Futura Std Medium" charset="0"/>
                <a:cs typeface="Futura Std Medium" charset="0"/>
                <a:sym typeface="Arial"/>
              </a:rPr>
            </a:br>
            <a:r>
              <a:rPr lang="nl-NL" sz="1200" dirty="0">
                <a:solidFill>
                  <a:schemeClr val="tx2"/>
                </a:solidFill>
                <a:ea typeface="Futura Std Medium" charset="0"/>
                <a:cs typeface="Futura Std Medium" charset="0"/>
                <a:sym typeface="Arial"/>
              </a:rPr>
              <a:t>NYK line  (4,5%)</a:t>
            </a:r>
            <a:br>
              <a:rPr lang="nl-NL" sz="1200" dirty="0">
                <a:solidFill>
                  <a:schemeClr val="tx2"/>
                </a:solidFill>
                <a:ea typeface="Futura Std Medium" charset="0"/>
                <a:cs typeface="Futura Std Medium" charset="0"/>
                <a:sym typeface="Arial"/>
              </a:rPr>
            </a:br>
            <a:r>
              <a:rPr lang="nl-NL" sz="1200" dirty="0">
                <a:solidFill>
                  <a:schemeClr val="tx2"/>
                </a:solidFill>
                <a:ea typeface="Futura Std Medium" charset="0"/>
                <a:cs typeface="Futura Std Medium" charset="0"/>
                <a:sym typeface="Arial"/>
              </a:rPr>
              <a:t>Employees (2%)</a:t>
            </a:r>
          </a:p>
        </p:txBody>
      </p:sp>
      <p:sp>
        <p:nvSpPr>
          <p:cNvPr id="16" name="Rectangle 15"/>
          <p:cNvSpPr/>
          <p:nvPr/>
        </p:nvSpPr>
        <p:spPr>
          <a:xfrm>
            <a:off x="697423" y="2199765"/>
            <a:ext cx="2951560" cy="10275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l-NL" sz="1200" dirty="0">
              <a:solidFill>
                <a:schemeClr val="tx2"/>
              </a:solidFill>
              <a:ea typeface="Futura Std Medium" charset="0"/>
              <a:cs typeface="Futura Std Medium" charset="0"/>
              <a:sym typeface="Arial"/>
            </a:endParaRPr>
          </a:p>
          <a:p>
            <a:r>
              <a:rPr lang="nl-NL" sz="1200" b="1" dirty="0" err="1">
                <a:solidFill>
                  <a:schemeClr val="tx2"/>
                </a:solidFill>
                <a:ea typeface="Futura Std Book" charset="0"/>
                <a:cs typeface="Futura Std Book" charset="0"/>
                <a:sym typeface="Arial"/>
              </a:rPr>
              <a:t>Euromax</a:t>
            </a:r>
            <a:r>
              <a:rPr lang="nl-NL" sz="1200" dirty="0">
                <a:solidFill>
                  <a:schemeClr val="tx2"/>
                </a:solidFill>
                <a:ea typeface="Futura Std Medium" charset="0"/>
                <a:cs typeface="Futura Std Medium" charset="0"/>
                <a:sym typeface="Arial"/>
              </a:rPr>
              <a:t> </a:t>
            </a:r>
            <a:br>
              <a:rPr lang="nl-NL" sz="1200" dirty="0">
                <a:solidFill>
                  <a:schemeClr val="tx2"/>
                </a:solidFill>
                <a:ea typeface="Futura Std Medium" charset="0"/>
                <a:cs typeface="Futura Std Medium" charset="0"/>
                <a:sym typeface="Arial"/>
              </a:rPr>
            </a:br>
            <a:r>
              <a:rPr lang="nl-NL" sz="1200" dirty="0">
                <a:solidFill>
                  <a:schemeClr val="tx2"/>
                </a:solidFill>
                <a:ea typeface="Futura Std Medium" charset="0"/>
                <a:cs typeface="Futura Std Medium" charset="0"/>
                <a:sym typeface="Arial"/>
              </a:rPr>
              <a:t>ECT: 65%</a:t>
            </a:r>
            <a:br>
              <a:rPr lang="nl-NL" sz="1200" dirty="0">
                <a:solidFill>
                  <a:schemeClr val="tx2"/>
                </a:solidFill>
                <a:ea typeface="Futura Std Medium" charset="0"/>
                <a:cs typeface="Futura Std Medium" charset="0"/>
                <a:sym typeface="Arial"/>
              </a:rPr>
            </a:br>
            <a:r>
              <a:rPr lang="nl-NL" sz="1200" dirty="0">
                <a:solidFill>
                  <a:schemeClr val="tx2"/>
                </a:solidFill>
                <a:ea typeface="Futura Std Medium" charset="0"/>
                <a:cs typeface="Futura Std Medium" charset="0"/>
                <a:sym typeface="Arial"/>
              </a:rPr>
              <a:t>COSCO: 35% (Ocean Alliance)</a:t>
            </a:r>
          </a:p>
          <a:p>
            <a:endParaRPr lang="nl-NL" sz="2133" dirty="0">
              <a:solidFill>
                <a:schemeClr val="tx2"/>
              </a:solidFill>
              <a:ea typeface="Futura Std Medium" charset="0"/>
              <a:cs typeface="Futura Std Medium" charset="0"/>
              <a:sym typeface="Arial"/>
            </a:endParaRPr>
          </a:p>
        </p:txBody>
      </p:sp>
      <p:sp>
        <p:nvSpPr>
          <p:cNvPr id="18" name="Rectangle 17"/>
          <p:cNvSpPr/>
          <p:nvPr/>
        </p:nvSpPr>
        <p:spPr>
          <a:xfrm>
            <a:off x="5901473" y="671490"/>
            <a:ext cx="2951560" cy="10935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1200" b="1" dirty="0">
                <a:solidFill>
                  <a:schemeClr val="tx2"/>
                </a:solidFill>
                <a:ea typeface="Futura Std Book" charset="0"/>
                <a:cs typeface="Futura Std Book" charset="0"/>
                <a:sym typeface="Arial"/>
              </a:rPr>
              <a:t>APMT-R</a:t>
            </a:r>
            <a:br>
              <a:rPr lang="nl-NL" sz="1200" dirty="0">
                <a:solidFill>
                  <a:schemeClr val="tx2"/>
                </a:solidFill>
                <a:ea typeface="Futura Std Medium" charset="0"/>
                <a:cs typeface="Futura Std Medium" charset="0"/>
                <a:sym typeface="Arial"/>
              </a:rPr>
            </a:br>
            <a:r>
              <a:rPr lang="nl-NL" sz="1200" dirty="0">
                <a:solidFill>
                  <a:schemeClr val="tx2"/>
                </a:solidFill>
                <a:ea typeface="Futura Std Medium" charset="0"/>
                <a:cs typeface="Futura Std Medium" charset="0"/>
                <a:sym typeface="Arial"/>
              </a:rPr>
              <a:t>APM Terminals</a:t>
            </a:r>
          </a:p>
        </p:txBody>
      </p:sp>
      <p:sp>
        <p:nvSpPr>
          <p:cNvPr id="19" name="Rectangle 18"/>
          <p:cNvSpPr/>
          <p:nvPr/>
        </p:nvSpPr>
        <p:spPr>
          <a:xfrm>
            <a:off x="7370175" y="4339358"/>
            <a:ext cx="2951560" cy="10798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1200" b="1" dirty="0">
                <a:solidFill>
                  <a:schemeClr val="tx2"/>
                </a:solidFill>
                <a:ea typeface="Futura Std Book" charset="0"/>
                <a:cs typeface="Futura Std Book" charset="0"/>
                <a:sym typeface="Arial"/>
              </a:rPr>
              <a:t>APMT-II</a:t>
            </a:r>
            <a:br>
              <a:rPr lang="nl-NL" sz="1200" b="1" dirty="0">
                <a:solidFill>
                  <a:schemeClr val="tx2"/>
                </a:solidFill>
                <a:ea typeface="Futura Std Book" charset="0"/>
                <a:cs typeface="Futura Std Book" charset="0"/>
                <a:sym typeface="Arial"/>
              </a:rPr>
            </a:br>
            <a:r>
              <a:rPr lang="nl-NL" sz="1200" dirty="0">
                <a:solidFill>
                  <a:schemeClr val="tx2"/>
                </a:solidFill>
                <a:ea typeface="Futura Std Medium" charset="0"/>
                <a:cs typeface="Futura Std Medium" charset="0"/>
                <a:sym typeface="Arial"/>
              </a:rPr>
              <a:t>APM Terminals</a:t>
            </a:r>
            <a:br>
              <a:rPr lang="nl-NL" sz="1200" dirty="0">
                <a:solidFill>
                  <a:schemeClr val="tx2"/>
                </a:solidFill>
                <a:ea typeface="Futura Std Medium" charset="0"/>
                <a:cs typeface="Futura Std Medium" charset="0"/>
                <a:sym typeface="Arial"/>
              </a:rPr>
            </a:br>
            <a:r>
              <a:rPr lang="nl-NL" sz="1200" dirty="0" err="1">
                <a:solidFill>
                  <a:schemeClr val="tx2"/>
                </a:solidFill>
                <a:ea typeface="Futura Std Medium" charset="0"/>
                <a:cs typeface="Futura Std Medium" charset="0"/>
                <a:sym typeface="Arial"/>
              </a:rPr>
              <a:t>Maersk</a:t>
            </a:r>
            <a:r>
              <a:rPr lang="nl-NL" sz="1200" dirty="0">
                <a:solidFill>
                  <a:schemeClr val="tx2"/>
                </a:solidFill>
                <a:ea typeface="Futura Std Medium" charset="0"/>
                <a:cs typeface="Futura Std Medium" charset="0"/>
                <a:sym typeface="Arial"/>
              </a:rPr>
              <a:t> Line (2M)</a:t>
            </a:r>
          </a:p>
        </p:txBody>
      </p:sp>
      <p:sp>
        <p:nvSpPr>
          <p:cNvPr id="28" name="Rectangle 27"/>
          <p:cNvSpPr/>
          <p:nvPr/>
        </p:nvSpPr>
        <p:spPr>
          <a:xfrm>
            <a:off x="2696331" y="2199765"/>
            <a:ext cx="2735592" cy="719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29" name="Rectangle 28"/>
          <p:cNvSpPr/>
          <p:nvPr/>
        </p:nvSpPr>
        <p:spPr>
          <a:xfrm rot="5400000">
            <a:off x="8137791" y="1717980"/>
            <a:ext cx="1367644" cy="835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31" name="Rectangle 30"/>
          <p:cNvSpPr/>
          <p:nvPr/>
        </p:nvSpPr>
        <p:spPr>
          <a:xfrm rot="5400000">
            <a:off x="6528372" y="4475210"/>
            <a:ext cx="1744565" cy="609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32" name="Rectangle 31"/>
          <p:cNvSpPr/>
          <p:nvPr/>
        </p:nvSpPr>
        <p:spPr>
          <a:xfrm rot="5400000">
            <a:off x="4815546" y="4774746"/>
            <a:ext cx="1367644" cy="719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20" name="Rectangle 28">
            <a:extLst>
              <a:ext uri="{FF2B5EF4-FFF2-40B4-BE49-F238E27FC236}">
                <a16:creationId xmlns:a16="http://schemas.microsoft.com/office/drawing/2014/main" id="{CA255B50-75D3-4B23-B63E-24833DAD534B}"/>
              </a:ext>
            </a:extLst>
          </p:cNvPr>
          <p:cNvSpPr/>
          <p:nvPr/>
        </p:nvSpPr>
        <p:spPr>
          <a:xfrm rot="5400000">
            <a:off x="8690615" y="1717980"/>
            <a:ext cx="1367644" cy="835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5" name="Tijdelijke aanduiding voor datum 4">
            <a:extLst>
              <a:ext uri="{FF2B5EF4-FFF2-40B4-BE49-F238E27FC236}">
                <a16:creationId xmlns:a16="http://schemas.microsoft.com/office/drawing/2014/main" id="{7BD96506-C0BE-41CF-BEA3-284802FF14AB}"/>
              </a:ext>
            </a:extLst>
          </p:cNvPr>
          <p:cNvSpPr>
            <a:spLocks noGrp="1"/>
          </p:cNvSpPr>
          <p:nvPr>
            <p:ph type="dt" sz="half" idx="10"/>
          </p:nvPr>
        </p:nvSpPr>
        <p:spPr/>
        <p:txBody>
          <a:bodyPr/>
          <a:lstStyle/>
          <a:p>
            <a:fld id="{5A60F7DA-E81D-4BA6-98F8-C3367F414CCE}" type="datetime4">
              <a:rPr lang="en-GB" smtClean="0"/>
              <a:t>29 May 2020</a:t>
            </a:fld>
            <a:endParaRPr lang="en-GB" dirty="0"/>
          </a:p>
        </p:txBody>
      </p:sp>
      <p:sp>
        <p:nvSpPr>
          <p:cNvPr id="7" name="Tijdelijke aanduiding voor voettekst 6">
            <a:extLst>
              <a:ext uri="{FF2B5EF4-FFF2-40B4-BE49-F238E27FC236}">
                <a16:creationId xmlns:a16="http://schemas.microsoft.com/office/drawing/2014/main" id="{5D788CFA-CE70-4859-8965-50AEEB9DAC3C}"/>
              </a:ext>
            </a:extLst>
          </p:cNvPr>
          <p:cNvSpPr>
            <a:spLocks noGrp="1"/>
          </p:cNvSpPr>
          <p:nvPr>
            <p:ph type="ftr" sz="quarter" idx="11"/>
          </p:nvPr>
        </p:nvSpPr>
        <p:spPr/>
        <p:txBody>
          <a:bodyPr/>
          <a:lstStyle/>
          <a:p>
            <a:r>
              <a:rPr lang="en-GB"/>
              <a:t>|</a:t>
            </a:r>
          </a:p>
        </p:txBody>
      </p:sp>
      <p:sp>
        <p:nvSpPr>
          <p:cNvPr id="8" name="Tijdelijke aanduiding voor dianummer 7">
            <a:extLst>
              <a:ext uri="{FF2B5EF4-FFF2-40B4-BE49-F238E27FC236}">
                <a16:creationId xmlns:a16="http://schemas.microsoft.com/office/drawing/2014/main" id="{9C77DD59-4E0A-4ADE-8492-67E6BDDAFBE7}"/>
              </a:ext>
            </a:extLst>
          </p:cNvPr>
          <p:cNvSpPr>
            <a:spLocks noGrp="1"/>
          </p:cNvSpPr>
          <p:nvPr>
            <p:ph type="sldNum" sz="quarter" idx="12"/>
          </p:nvPr>
        </p:nvSpPr>
        <p:spPr/>
        <p:txBody>
          <a:bodyPr/>
          <a:lstStyle/>
          <a:p>
            <a:fld id="{534B5F9C-CFE5-4EC6-9BBB-664E2F56B033}" type="slidenum">
              <a:rPr lang="en-GB" smtClean="0"/>
              <a:t>15</a:t>
            </a:fld>
            <a:endParaRPr lang="en-GB"/>
          </a:p>
        </p:txBody>
      </p:sp>
    </p:spTree>
    <p:custDataLst>
      <p:tags r:id="rId1"/>
    </p:custDataLst>
    <p:extLst>
      <p:ext uri="{BB962C8B-B14F-4D97-AF65-F5344CB8AC3E}">
        <p14:creationId xmlns:p14="http://schemas.microsoft.com/office/powerpoint/2010/main" val="3987802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a14="http://schemas.microsoft.com/office/drawing/2010/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5742675" y="3765086"/>
            <a:ext cx="2736000" cy="100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0" name="Rectangle 9"/>
          <p:cNvSpPr/>
          <p:nvPr/>
        </p:nvSpPr>
        <p:spPr>
          <a:xfrm>
            <a:off x="8762035" y="3780150"/>
            <a:ext cx="2736000" cy="100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1" name="Rectangle 10"/>
          <p:cNvSpPr/>
          <p:nvPr/>
        </p:nvSpPr>
        <p:spPr>
          <a:xfrm>
            <a:off x="5742675" y="4837503"/>
            <a:ext cx="2736000" cy="100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2" name="Rectangle 11"/>
          <p:cNvSpPr/>
          <p:nvPr/>
        </p:nvSpPr>
        <p:spPr>
          <a:xfrm>
            <a:off x="8762035" y="4853402"/>
            <a:ext cx="2736000" cy="100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2" name="Title 1"/>
          <p:cNvSpPr>
            <a:spLocks noGrp="1"/>
          </p:cNvSpPr>
          <p:nvPr>
            <p:ph type="title"/>
          </p:nvPr>
        </p:nvSpPr>
        <p:spPr/>
        <p:txBody>
          <a:bodyPr/>
          <a:lstStyle/>
          <a:p>
            <a:r>
              <a:rPr lang="en-US" dirty="0"/>
              <a:t>IMPACT OF LARGER CALL SIZES</a:t>
            </a:r>
            <a:br>
              <a:rPr lang="en-US" dirty="0"/>
            </a:br>
            <a:r>
              <a:rPr lang="en-US" dirty="0"/>
              <a:t>what does this mean for logistics?</a:t>
            </a:r>
            <a:endParaRPr lang="nl-NL" dirty="0"/>
          </a:p>
        </p:txBody>
      </p:sp>
      <p:sp>
        <p:nvSpPr>
          <p:cNvPr id="3" name="Tijdelijke aanduiding voor verticale tekst 2"/>
          <p:cNvSpPr>
            <a:spLocks noGrp="1"/>
          </p:cNvSpPr>
          <p:nvPr>
            <p:ph type="body" orient="vert" idx="1"/>
          </p:nvPr>
        </p:nvSpPr>
        <p:spPr>
          <a:xfrm>
            <a:off x="5030741" y="1336690"/>
            <a:ext cx="6962189" cy="4548697"/>
          </a:xfrm>
        </p:spPr>
        <p:txBody>
          <a:bodyPr>
            <a:noAutofit/>
          </a:bodyPr>
          <a:lstStyle/>
          <a:p>
            <a:pPr>
              <a:lnSpc>
                <a:spcPct val="100000"/>
              </a:lnSpc>
              <a:spcBef>
                <a:spcPts val="300"/>
              </a:spcBef>
              <a:spcAft>
                <a:spcPts val="300"/>
              </a:spcAft>
              <a:buClr>
                <a:srgbClr val="009CD6"/>
              </a:buClr>
              <a:buSzPct val="125000"/>
            </a:pPr>
            <a:r>
              <a:rPr lang="en-GB" b="1" dirty="0"/>
              <a:t>Seaside growth:</a:t>
            </a:r>
          </a:p>
          <a:p>
            <a:pPr lvl="1">
              <a:lnSpc>
                <a:spcPct val="100000"/>
              </a:lnSpc>
              <a:spcBef>
                <a:spcPts val="300"/>
              </a:spcBef>
              <a:spcAft>
                <a:spcPts val="300"/>
              </a:spcAft>
              <a:buClr>
                <a:schemeClr val="tx2"/>
              </a:buClr>
              <a:buSzPct val="100000"/>
            </a:pPr>
            <a:r>
              <a:rPr lang="en-GB" sz="1800" dirty="0"/>
              <a:t>23,000 TEU vessel (load/discharge in Europe: 40,000 TEU)</a:t>
            </a:r>
          </a:p>
          <a:p>
            <a:pPr lvl="1">
              <a:lnSpc>
                <a:spcPct val="100000"/>
              </a:lnSpc>
              <a:spcBef>
                <a:spcPts val="300"/>
              </a:spcBef>
              <a:spcAft>
                <a:spcPts val="300"/>
              </a:spcAft>
              <a:buClr>
                <a:schemeClr val="tx2"/>
              </a:buClr>
              <a:buSzPct val="100000"/>
            </a:pPr>
            <a:r>
              <a:rPr lang="en-GB" sz="1800" dirty="0"/>
              <a:t>Call size Rotterdam: 10,000 TEU </a:t>
            </a:r>
            <a:r>
              <a:rPr lang="en-GB" sz="1800" dirty="0">
                <a:sym typeface="Wingdings" panose="05000000000000000000" pitchFamily="2" charset="2"/>
              </a:rPr>
              <a:t> 6.000 MOVES</a:t>
            </a:r>
          </a:p>
          <a:p>
            <a:pPr lvl="1">
              <a:lnSpc>
                <a:spcPct val="100000"/>
              </a:lnSpc>
              <a:spcBef>
                <a:spcPts val="300"/>
              </a:spcBef>
              <a:spcAft>
                <a:spcPts val="300"/>
              </a:spcAft>
              <a:buClr>
                <a:schemeClr val="tx2"/>
              </a:buClr>
              <a:buSzPct val="100000"/>
            </a:pPr>
            <a:r>
              <a:rPr lang="en-GB" sz="1800" dirty="0"/>
              <a:t>Modal split: rail=8% / barge=28% / road=34% / feeder=30 %</a:t>
            </a:r>
          </a:p>
          <a:p>
            <a:pPr>
              <a:lnSpc>
                <a:spcPct val="100000"/>
              </a:lnSpc>
              <a:spcBef>
                <a:spcPts val="300"/>
              </a:spcBef>
              <a:spcAft>
                <a:spcPts val="300"/>
              </a:spcAft>
              <a:buClr>
                <a:srgbClr val="009CD6"/>
              </a:buClr>
              <a:buSzPct val="125000"/>
            </a:pPr>
            <a:endParaRPr lang="en-GB" b="1" dirty="0"/>
          </a:p>
          <a:p>
            <a:pPr>
              <a:lnSpc>
                <a:spcPct val="100000"/>
              </a:lnSpc>
              <a:spcBef>
                <a:spcPts val="300"/>
              </a:spcBef>
              <a:spcAft>
                <a:spcPts val="300"/>
              </a:spcAft>
              <a:buClr>
                <a:srgbClr val="009CD6"/>
              </a:buClr>
              <a:buSzPct val="125000"/>
            </a:pPr>
            <a:r>
              <a:rPr lang="en-GB" b="1" dirty="0"/>
              <a:t>Hinterland traffic:</a:t>
            </a:r>
            <a:endParaRPr lang="en-GB" dirty="0"/>
          </a:p>
        </p:txBody>
      </p:sp>
      <p:pic>
        <p:nvPicPr>
          <p:cNvPr id="25" name="Tijdelijke aanduiding voor afbeelding 24">
            <a:extLst>
              <a:ext uri="{FF2B5EF4-FFF2-40B4-BE49-F238E27FC236}">
                <a16:creationId xmlns:a16="http://schemas.microsoft.com/office/drawing/2014/main" id="{BFBBAE84-DEEB-43B0-A88A-24B709983238}"/>
              </a:ext>
            </a:extLst>
          </p:cNvPr>
          <p:cNvPicPr>
            <a:picLocks noGrp="1" noChangeAspect="1"/>
          </p:cNvPicPr>
          <p:nvPr>
            <p:ph type="pic" idx="13"/>
          </p:nvPr>
        </p:nvPicPr>
        <p:blipFill>
          <a:blip r:embed="rId4">
            <a:extLst>
              <a:ext uri="{28A0092B-C50C-407E-A947-70E740481C1C}">
                <a14:useLocalDpi xmlns:a14="http://schemas.microsoft.com/office/drawing/2010/main" val="0"/>
              </a:ext>
            </a:extLst>
          </a:blip>
          <a:srcRect t="8318" b="8318"/>
          <a:stretch>
            <a:fillRect/>
          </a:stretch>
        </p:blipFill>
        <p:spPr/>
      </p:pic>
      <p:pic>
        <p:nvPicPr>
          <p:cNvPr id="4" name="Picture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62966" y="4080206"/>
            <a:ext cx="766037" cy="407888"/>
          </a:xfrm>
          <a:prstGeom prst="rect">
            <a:avLst/>
          </a:prstGeom>
        </p:spPr>
      </p:pic>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091691" y="5033832"/>
            <a:ext cx="707229" cy="581284"/>
          </a:xfrm>
          <a:prstGeom prst="rect">
            <a:avLst/>
          </a:prstGeom>
        </p:spPr>
      </p:pic>
      <p:pic>
        <p:nvPicPr>
          <p:cNvPr id="7" name="Picture 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934470" y="5045353"/>
            <a:ext cx="522617" cy="592300"/>
          </a:xfrm>
          <a:prstGeom prst="rect">
            <a:avLst/>
          </a:prstGeom>
        </p:spPr>
      </p:pic>
      <p:pic>
        <p:nvPicPr>
          <p:cNvPr id="8" name="Picture 7"/>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934470" y="4014340"/>
            <a:ext cx="479791" cy="581284"/>
          </a:xfrm>
          <a:prstGeom prst="rect">
            <a:avLst/>
          </a:prstGeom>
        </p:spPr>
      </p:pic>
      <p:sp>
        <p:nvSpPr>
          <p:cNvPr id="13" name="TextBox 12"/>
          <p:cNvSpPr txBox="1"/>
          <p:nvPr/>
        </p:nvSpPr>
        <p:spPr>
          <a:xfrm>
            <a:off x="6599547" y="3935650"/>
            <a:ext cx="1872619" cy="738664"/>
          </a:xfrm>
          <a:prstGeom prst="rect">
            <a:avLst/>
          </a:prstGeom>
          <a:noFill/>
        </p:spPr>
        <p:txBody>
          <a:bodyPr wrap="square" rtlCol="0">
            <a:spAutoFit/>
          </a:bodyPr>
          <a:lstStyle/>
          <a:p>
            <a:r>
              <a:rPr lang="en-GB" sz="1400" b="1" dirty="0">
                <a:solidFill>
                  <a:schemeClr val="tx2"/>
                </a:solidFill>
                <a:ea typeface="Futura Std Book" charset="0"/>
                <a:cs typeface="Futura Std Book" charset="0"/>
              </a:rPr>
              <a:t>RAIL</a:t>
            </a:r>
            <a:r>
              <a:rPr lang="en-GB" sz="1400" dirty="0">
                <a:solidFill>
                  <a:schemeClr val="tx2"/>
                </a:solidFill>
                <a:ea typeface="Futura Std Book" charset="0"/>
                <a:cs typeface="Futura Std Book" charset="0"/>
              </a:rPr>
              <a:t> </a:t>
            </a:r>
          </a:p>
          <a:p>
            <a:r>
              <a:rPr lang="en-GB" sz="1400" dirty="0">
                <a:solidFill>
                  <a:schemeClr val="tx2"/>
                </a:solidFill>
                <a:ea typeface="Futura Std Book" charset="0"/>
                <a:cs typeface="Futura Std Book" charset="0"/>
              </a:rPr>
              <a:t>800 TEU equals </a:t>
            </a:r>
          </a:p>
          <a:p>
            <a:r>
              <a:rPr lang="en-GB" sz="1400" dirty="0">
                <a:solidFill>
                  <a:schemeClr val="tx2"/>
                </a:solidFill>
                <a:ea typeface="Futura Std Book" charset="0"/>
                <a:cs typeface="Futura Std Book" charset="0"/>
              </a:rPr>
              <a:t>10 trains</a:t>
            </a:r>
          </a:p>
        </p:txBody>
      </p:sp>
      <p:sp>
        <p:nvSpPr>
          <p:cNvPr id="14" name="TextBox 13"/>
          <p:cNvSpPr txBox="1"/>
          <p:nvPr/>
        </p:nvSpPr>
        <p:spPr>
          <a:xfrm>
            <a:off x="9900212" y="3914818"/>
            <a:ext cx="1926064" cy="738664"/>
          </a:xfrm>
          <a:prstGeom prst="rect">
            <a:avLst/>
          </a:prstGeom>
          <a:noFill/>
        </p:spPr>
        <p:txBody>
          <a:bodyPr wrap="square" rtlCol="0">
            <a:spAutoFit/>
          </a:bodyPr>
          <a:lstStyle/>
          <a:p>
            <a:r>
              <a:rPr lang="en-GB" sz="1400" b="1" dirty="0">
                <a:solidFill>
                  <a:schemeClr val="tx2"/>
                </a:solidFill>
                <a:ea typeface="Futura Std Book" charset="0"/>
                <a:cs typeface="Futura Std Book" charset="0"/>
              </a:rPr>
              <a:t>BARGE</a:t>
            </a:r>
            <a:r>
              <a:rPr lang="en-GB" sz="1400" dirty="0">
                <a:solidFill>
                  <a:schemeClr val="tx2"/>
                </a:solidFill>
                <a:ea typeface="Futura Std Book" charset="0"/>
                <a:cs typeface="Futura Std Book" charset="0"/>
              </a:rPr>
              <a:t> </a:t>
            </a:r>
          </a:p>
          <a:p>
            <a:r>
              <a:rPr lang="en-GB" sz="1400" dirty="0">
                <a:solidFill>
                  <a:schemeClr val="tx2"/>
                </a:solidFill>
                <a:ea typeface="Futura Std Book" charset="0"/>
                <a:cs typeface="Futura Std Book" charset="0"/>
              </a:rPr>
              <a:t>2,800 TEU equals       28 barge calls</a:t>
            </a:r>
          </a:p>
        </p:txBody>
      </p:sp>
      <p:sp>
        <p:nvSpPr>
          <p:cNvPr id="15" name="TextBox 14"/>
          <p:cNvSpPr txBox="1"/>
          <p:nvPr/>
        </p:nvSpPr>
        <p:spPr>
          <a:xfrm>
            <a:off x="6593040" y="4972171"/>
            <a:ext cx="1885635" cy="738664"/>
          </a:xfrm>
          <a:prstGeom prst="rect">
            <a:avLst/>
          </a:prstGeom>
          <a:noFill/>
        </p:spPr>
        <p:txBody>
          <a:bodyPr wrap="square" rtlCol="0">
            <a:spAutoFit/>
          </a:bodyPr>
          <a:lstStyle/>
          <a:p>
            <a:r>
              <a:rPr lang="en-GB" sz="1400" b="1" dirty="0">
                <a:solidFill>
                  <a:schemeClr val="tx2"/>
                </a:solidFill>
                <a:ea typeface="Futura Std Book" charset="0"/>
                <a:cs typeface="Futura Std Book" charset="0"/>
              </a:rPr>
              <a:t>ROAD</a:t>
            </a:r>
            <a:r>
              <a:rPr lang="en-GB" sz="1400" dirty="0">
                <a:solidFill>
                  <a:schemeClr val="tx2"/>
                </a:solidFill>
                <a:ea typeface="Futura Std Book" charset="0"/>
                <a:cs typeface="Futura Std Book" charset="0"/>
              </a:rPr>
              <a:t> </a:t>
            </a:r>
          </a:p>
          <a:p>
            <a:r>
              <a:rPr lang="en-GB" sz="1400" dirty="0">
                <a:solidFill>
                  <a:schemeClr val="tx2"/>
                </a:solidFill>
                <a:ea typeface="Futura Std Book" charset="0"/>
                <a:cs typeface="Futura Std Book" charset="0"/>
              </a:rPr>
              <a:t>3,400 TEU equals       2,000 trucks</a:t>
            </a:r>
          </a:p>
        </p:txBody>
      </p:sp>
      <p:sp>
        <p:nvSpPr>
          <p:cNvPr id="16" name="TextBox 15"/>
          <p:cNvSpPr txBox="1"/>
          <p:nvPr/>
        </p:nvSpPr>
        <p:spPr>
          <a:xfrm>
            <a:off x="9900212" y="4950456"/>
            <a:ext cx="1967968" cy="738664"/>
          </a:xfrm>
          <a:prstGeom prst="rect">
            <a:avLst/>
          </a:prstGeom>
          <a:noFill/>
        </p:spPr>
        <p:txBody>
          <a:bodyPr wrap="square" rtlCol="0">
            <a:spAutoFit/>
          </a:bodyPr>
          <a:lstStyle/>
          <a:p>
            <a:pPr>
              <a:spcBef>
                <a:spcPts val="300"/>
              </a:spcBef>
              <a:spcAft>
                <a:spcPts val="300"/>
              </a:spcAft>
              <a:buClr>
                <a:srgbClr val="009CD6"/>
              </a:buClr>
              <a:buSzPct val="125000"/>
            </a:pPr>
            <a:r>
              <a:rPr lang="en-GB" sz="1400" b="1" dirty="0">
                <a:solidFill>
                  <a:schemeClr val="tx2"/>
                </a:solidFill>
                <a:ea typeface="Futura Std Book" charset="0"/>
                <a:cs typeface="Futura Std Book" charset="0"/>
              </a:rPr>
              <a:t>FEEDER</a:t>
            </a:r>
            <a:r>
              <a:rPr lang="en-GB" sz="1400" dirty="0">
                <a:solidFill>
                  <a:schemeClr val="tx2"/>
                </a:solidFill>
                <a:ea typeface="Futura Std Book" charset="0"/>
                <a:cs typeface="Futura Std Book" charset="0"/>
              </a:rPr>
              <a:t> </a:t>
            </a:r>
            <a:br>
              <a:rPr lang="en-GB" sz="1400" dirty="0">
                <a:solidFill>
                  <a:schemeClr val="tx2"/>
                </a:solidFill>
                <a:ea typeface="Futura Std Book" charset="0"/>
                <a:cs typeface="Futura Std Book" charset="0"/>
              </a:rPr>
            </a:br>
            <a:r>
              <a:rPr lang="en-GB" sz="1400" dirty="0">
                <a:solidFill>
                  <a:schemeClr val="tx2"/>
                </a:solidFill>
                <a:ea typeface="Futura Std Book" charset="0"/>
                <a:cs typeface="Futura Std Book" charset="0"/>
              </a:rPr>
              <a:t>3,000 TEU equals           5 feeder calls</a:t>
            </a:r>
          </a:p>
        </p:txBody>
      </p:sp>
      <p:sp>
        <p:nvSpPr>
          <p:cNvPr id="18" name="Titel 24"/>
          <p:cNvSpPr txBox="1">
            <a:spLocks/>
          </p:cNvSpPr>
          <p:nvPr/>
        </p:nvSpPr>
        <p:spPr>
          <a:xfrm>
            <a:off x="683548" y="440430"/>
            <a:ext cx="11247071" cy="647831"/>
          </a:xfrm>
          <a:prstGeom prst="rect">
            <a:avLst/>
          </a:prstGeom>
        </p:spPr>
        <p:txBody>
          <a:bodyPr vert="horz" lIns="71981" tIns="143963" rIns="71981" bIns="143963" rtlCol="0" anchor="b">
            <a:noAutofit/>
          </a:bodyPr>
          <a:lstStyle>
            <a:lvl1pPr algn="r" defTabSz="914400" rtl="0" eaLnBrk="1" latinLnBrk="0" hangingPunct="1">
              <a:lnSpc>
                <a:spcPct val="90000"/>
              </a:lnSpc>
              <a:spcBef>
                <a:spcPct val="0"/>
              </a:spcBef>
              <a:buNone/>
              <a:defRPr sz="3200" kern="1200">
                <a:solidFill>
                  <a:schemeClr val="tx2"/>
                </a:solidFill>
                <a:latin typeface="Arial Black" panose="020B0A04020102020204" pitchFamily="34" charset="0"/>
                <a:ea typeface="+mj-ea"/>
                <a:cs typeface="+mj-cs"/>
              </a:defRPr>
            </a:lvl1pPr>
          </a:lstStyle>
          <a:p>
            <a:pPr algn="l"/>
            <a:endParaRPr lang="en-US" sz="1800" dirty="0">
              <a:solidFill>
                <a:srgbClr val="001F4B"/>
              </a:solidFill>
              <a:latin typeface="Arial" charset="0"/>
              <a:ea typeface="Arial" charset="0"/>
              <a:cs typeface="Arial" charset="0"/>
            </a:endParaRPr>
          </a:p>
        </p:txBody>
      </p:sp>
      <p:sp>
        <p:nvSpPr>
          <p:cNvPr id="6" name="Tijdelijke aanduiding voor datum 5">
            <a:extLst>
              <a:ext uri="{FF2B5EF4-FFF2-40B4-BE49-F238E27FC236}">
                <a16:creationId xmlns:a16="http://schemas.microsoft.com/office/drawing/2014/main" id="{65557C24-A303-4D88-AAE0-497E191269FF}"/>
              </a:ext>
            </a:extLst>
          </p:cNvPr>
          <p:cNvSpPr>
            <a:spLocks noGrp="1"/>
          </p:cNvSpPr>
          <p:nvPr>
            <p:ph type="dt" sz="half" idx="10"/>
          </p:nvPr>
        </p:nvSpPr>
        <p:spPr/>
        <p:txBody>
          <a:bodyPr/>
          <a:lstStyle/>
          <a:p>
            <a:fld id="{DA4B20DA-146B-4861-8194-9613BA910526}" type="datetime4">
              <a:rPr lang="en-GB" smtClean="0"/>
              <a:t>29 May 2020</a:t>
            </a:fld>
            <a:endParaRPr lang="en-GB"/>
          </a:p>
        </p:txBody>
      </p:sp>
      <p:sp>
        <p:nvSpPr>
          <p:cNvPr id="17" name="Tijdelijke aanduiding voor voettekst 16">
            <a:extLst>
              <a:ext uri="{FF2B5EF4-FFF2-40B4-BE49-F238E27FC236}">
                <a16:creationId xmlns:a16="http://schemas.microsoft.com/office/drawing/2014/main" id="{4184DC53-69DF-458A-9503-36EC29CB4C6F}"/>
              </a:ext>
            </a:extLst>
          </p:cNvPr>
          <p:cNvSpPr>
            <a:spLocks noGrp="1"/>
          </p:cNvSpPr>
          <p:nvPr>
            <p:ph type="ftr" sz="quarter" idx="11"/>
          </p:nvPr>
        </p:nvSpPr>
        <p:spPr/>
        <p:txBody>
          <a:bodyPr/>
          <a:lstStyle/>
          <a:p>
            <a:r>
              <a:rPr lang="en-GB"/>
              <a:t>|</a:t>
            </a:r>
            <a:endParaRPr lang="en-GB" dirty="0"/>
          </a:p>
        </p:txBody>
      </p:sp>
      <p:sp>
        <p:nvSpPr>
          <p:cNvPr id="19" name="Tijdelijke aanduiding voor dianummer 18">
            <a:extLst>
              <a:ext uri="{FF2B5EF4-FFF2-40B4-BE49-F238E27FC236}">
                <a16:creationId xmlns:a16="http://schemas.microsoft.com/office/drawing/2014/main" id="{305E43D5-1A58-4B96-A40E-FFF644E1D63A}"/>
              </a:ext>
            </a:extLst>
          </p:cNvPr>
          <p:cNvSpPr>
            <a:spLocks noGrp="1"/>
          </p:cNvSpPr>
          <p:nvPr>
            <p:ph type="sldNum" sz="quarter" idx="12"/>
          </p:nvPr>
        </p:nvSpPr>
        <p:spPr/>
        <p:txBody>
          <a:bodyPr/>
          <a:lstStyle/>
          <a:p>
            <a:fld id="{534B5F9C-CFE5-4EC6-9BBB-664E2F56B033}" type="slidenum">
              <a:rPr lang="en-GB" smtClean="0"/>
              <a:t>16</a:t>
            </a:fld>
            <a:endParaRPr lang="en-GB"/>
          </a:p>
        </p:txBody>
      </p:sp>
    </p:spTree>
    <p:custDataLst>
      <p:tags r:id="rId1"/>
    </p:custDataLst>
    <p:extLst>
      <p:ext uri="{BB962C8B-B14F-4D97-AF65-F5344CB8AC3E}">
        <p14:creationId xmlns:p14="http://schemas.microsoft.com/office/powerpoint/2010/main" val="1050812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Afgeronde rechthoek 7"/>
          <p:cNvSpPr/>
          <p:nvPr/>
        </p:nvSpPr>
        <p:spPr>
          <a:xfrm>
            <a:off x="-381000" y="-1777999"/>
            <a:ext cx="14947900" cy="8636000"/>
          </a:xfrm>
          <a:prstGeom prst="roundRect">
            <a:avLst>
              <a:gd name="adj" fmla="val 1389"/>
            </a:avLst>
          </a:prstGeom>
          <a:blipFill dpi="0" rotWithShape="1">
            <a:blip r:embed="rId4" cstate="email">
              <a:duotone>
                <a:schemeClr val="accent1">
                  <a:shade val="45000"/>
                  <a:satMod val="135000"/>
                </a:schemeClr>
                <a:prstClr val="white"/>
              </a:duotone>
              <a:extLst>
                <a:ext uri="{BEBA8EAE-BF5A-486C-A8C5-ECC9F3942E4B}">
                  <a14:imgProps xmlns:a14="http://schemas.microsoft.com/office/drawing/2010/main">
                    <a14:imgLayer r:embed="rId5">
                      <a14:imgEffect>
                        <a14:colorTemperature colorTemp="4700"/>
                      </a14:imgEffect>
                      <a14:imgEffect>
                        <a14:saturation sat="66000"/>
                      </a14:imgEffect>
                    </a14:imgLayer>
                  </a14:imgProps>
                </a:ext>
                <a:ext uri="{28A0092B-C50C-407E-A947-70E740481C1C}">
                  <a14:useLocalDpi xmlns:a14="http://schemas.microsoft.com/office/drawing/2010/main"/>
                </a:ext>
              </a:extLst>
            </a:blip>
            <a:srcRect/>
            <a:stretch>
              <a:fillRect t="20000" b="-20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3199" dirty="0">
                <a:latin typeface="Helvetica" pitchFamily="34" charset="0"/>
              </a:rPr>
              <a:t> </a:t>
            </a:r>
          </a:p>
        </p:txBody>
      </p:sp>
      <p:sp>
        <p:nvSpPr>
          <p:cNvPr id="9" name="Titel 8"/>
          <p:cNvSpPr>
            <a:spLocks noGrp="1"/>
          </p:cNvSpPr>
          <p:nvPr>
            <p:ph type="title"/>
          </p:nvPr>
        </p:nvSpPr>
        <p:spPr>
          <a:prstGeom prst="rect">
            <a:avLst/>
          </a:prstGeom>
        </p:spPr>
        <p:txBody>
          <a:bodyPr>
            <a:noAutofit/>
          </a:bodyPr>
          <a:lstStyle/>
          <a:p>
            <a:r>
              <a:rPr lang="en-US" dirty="0"/>
              <a:t>WAREHOUSING &amp; DISTRIBUTION</a:t>
            </a:r>
            <a:endParaRPr lang="nl-NL" dirty="0"/>
          </a:p>
        </p:txBody>
      </p:sp>
      <p:sp>
        <p:nvSpPr>
          <p:cNvPr id="3" name="Tijdelijke aanduiding voor SmartArt 2">
            <a:extLst>
              <a:ext uri="{FF2B5EF4-FFF2-40B4-BE49-F238E27FC236}">
                <a16:creationId xmlns:a16="http://schemas.microsoft.com/office/drawing/2014/main" id="{D7733005-AD21-4CA6-B299-32715E4C4422}"/>
              </a:ext>
            </a:extLst>
          </p:cNvPr>
          <p:cNvSpPr>
            <a:spLocks noGrp="1"/>
          </p:cNvSpPr>
          <p:nvPr>
            <p:ph type="dgm" sz="quarter" idx="14"/>
          </p:nvPr>
        </p:nvSpPr>
        <p:spPr/>
      </p:sp>
      <p:graphicFrame>
        <p:nvGraphicFramePr>
          <p:cNvPr id="10" name="Tabel 9"/>
          <p:cNvGraphicFramePr>
            <a:graphicFrameLocks noGrp="1"/>
          </p:cNvGraphicFramePr>
          <p:nvPr>
            <p:extLst>
              <p:ext uri="{D42A27DB-BD31-4B8C-83A1-F6EECF244321}">
                <p14:modId xmlns:p14="http://schemas.microsoft.com/office/powerpoint/2010/main" val="3900382632"/>
              </p:ext>
            </p:extLst>
          </p:nvPr>
        </p:nvGraphicFramePr>
        <p:xfrm>
          <a:off x="2990196" y="2352242"/>
          <a:ext cx="2315572" cy="2103024"/>
        </p:xfrm>
        <a:graphic>
          <a:graphicData uri="http://schemas.openxmlformats.org/drawingml/2006/table">
            <a:tbl>
              <a:tblPr firstRow="1" bandRow="1">
                <a:tableStyleId>{00A15C55-8517-42AA-B614-E9B94910E393}</a:tableStyleId>
              </a:tblPr>
              <a:tblGrid>
                <a:gridCol w="2315572">
                  <a:extLst>
                    <a:ext uri="{9D8B030D-6E8A-4147-A177-3AD203B41FA5}">
                      <a16:colId xmlns:a16="http://schemas.microsoft.com/office/drawing/2014/main" val="20000"/>
                    </a:ext>
                  </a:extLst>
                </a:gridCol>
              </a:tblGrid>
              <a:tr h="355576">
                <a:tc>
                  <a:txBody>
                    <a:bodyPr/>
                    <a:lstStyle/>
                    <a:p>
                      <a:pPr marL="0" indent="0" algn="ctr" defTabSz="977402" rtl="0" eaLnBrk="1" latinLnBrk="0" hangingPunct="1">
                        <a:buFont typeface="Arial" panose="020B0604020202020204" pitchFamily="34" charset="0"/>
                        <a:buNone/>
                      </a:pPr>
                      <a:r>
                        <a:rPr lang="nl-NL" sz="1800" b="1" i="0" kern="1200" dirty="0">
                          <a:solidFill>
                            <a:schemeClr val="bg1"/>
                          </a:solidFill>
                          <a:latin typeface="+mn-lt"/>
                          <a:ea typeface="Futura Std Medium" charset="0"/>
                          <a:cs typeface="Futura Std Medium" charset="0"/>
                        </a:rPr>
                        <a:t>Maasvlakte</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640056">
                <a:tc>
                  <a:txBody>
                    <a:bodyPr/>
                    <a:lstStyle/>
                    <a:p>
                      <a:pPr marL="0" marR="0" indent="0" algn="l" defTabSz="977402"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200" b="0" i="0" kern="1200" dirty="0" err="1">
                          <a:solidFill>
                            <a:schemeClr val="tx2"/>
                          </a:solidFill>
                          <a:latin typeface="+mn-lt"/>
                          <a:ea typeface="Futura Std Medium" charset="0"/>
                          <a:cs typeface="Futura Std Medium" charset="0"/>
                        </a:rPr>
                        <a:t>Segments</a:t>
                      </a:r>
                      <a:br>
                        <a:rPr lang="nl-NL" sz="1200" b="0" i="0" kern="1200" dirty="0">
                          <a:solidFill>
                            <a:schemeClr val="tx2"/>
                          </a:solidFill>
                          <a:latin typeface="+mn-lt"/>
                          <a:ea typeface="Futura Std Medium" charset="0"/>
                          <a:cs typeface="Futura Std Medium" charset="0"/>
                        </a:rPr>
                      </a:br>
                      <a:r>
                        <a:rPr lang="nl-NL" sz="1200" b="1" i="0" kern="1200" baseline="0" dirty="0">
                          <a:solidFill>
                            <a:schemeClr val="tx2"/>
                          </a:solidFill>
                          <a:latin typeface="+mn-lt"/>
                          <a:ea typeface="Futura Std Medium" charset="0"/>
                          <a:cs typeface="Futura Std Medium" charset="0"/>
                        </a:rPr>
                        <a:t>Consumer goods, Agrofood, ADR</a:t>
                      </a:r>
                    </a:p>
                  </a:txBody>
                  <a:tcPr marL="91416" marR="91416"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640056">
                <a:tc>
                  <a:txBody>
                    <a:bodyPr/>
                    <a:lstStyle/>
                    <a:p>
                      <a:pPr marL="0" indent="0" algn="l" defTabSz="977402" rtl="0" eaLnBrk="1" latinLnBrk="0" hangingPunct="1">
                        <a:buFont typeface="Arial" panose="020B0604020202020204" pitchFamily="34" charset="0"/>
                        <a:buNone/>
                      </a:pPr>
                      <a:r>
                        <a:rPr lang="nl-NL" sz="1200" b="0" i="0" kern="1200" dirty="0">
                          <a:solidFill>
                            <a:schemeClr val="tx2"/>
                          </a:solidFill>
                          <a:latin typeface="+mn-lt"/>
                          <a:ea typeface="Futura Std Medium" charset="0"/>
                          <a:cs typeface="Futura Std Medium" charset="0"/>
                        </a:rPr>
                        <a:t>Large customers</a:t>
                      </a:r>
                    </a:p>
                    <a:p>
                      <a:r>
                        <a:rPr lang="nl-NL" sz="1200" b="1" i="0" kern="1200" baseline="0" dirty="0">
                          <a:solidFill>
                            <a:schemeClr val="tx2"/>
                          </a:solidFill>
                          <a:latin typeface="+mn-lt"/>
                          <a:ea typeface="Futura Std Medium" charset="0"/>
                          <a:cs typeface="Futura Std Medium" charset="0"/>
                        </a:rPr>
                        <a:t>Kloosterboer, Neele-Vat, Nippon, Prologis, Dudok</a:t>
                      </a:r>
                      <a:endParaRPr lang="nl-NL" sz="1200" b="1" i="0" kern="1200" dirty="0">
                        <a:solidFill>
                          <a:schemeClr val="tx2"/>
                        </a:solidFill>
                        <a:latin typeface="+mn-lt"/>
                        <a:ea typeface="Futura Std Medium" charset="0"/>
                        <a:cs typeface="Futura Std Medium" charset="0"/>
                      </a:endParaRPr>
                    </a:p>
                  </a:txBody>
                  <a:tcPr marL="91416" marR="91416"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r h="457176">
                <a:tc>
                  <a:txBody>
                    <a:bodyPr/>
                    <a:lstStyle/>
                    <a:p>
                      <a:pPr marL="0" indent="0" algn="l" defTabSz="977402" rtl="0" eaLnBrk="1" latinLnBrk="0" hangingPunct="1">
                        <a:buFont typeface="Arial" panose="020B0604020202020204" pitchFamily="34" charset="0"/>
                        <a:buNone/>
                      </a:pPr>
                      <a:r>
                        <a:rPr lang="nl-NL" sz="1200" b="0" i="0" kern="1200" dirty="0">
                          <a:solidFill>
                            <a:schemeClr val="tx2"/>
                          </a:solidFill>
                          <a:latin typeface="+mn-lt"/>
                          <a:ea typeface="Futura Std Medium" charset="0"/>
                          <a:cs typeface="Futura Std Medium" charset="0"/>
                        </a:rPr>
                        <a:t>P</a:t>
                      </a:r>
                      <a:r>
                        <a:rPr lang="nl-NL" sz="1200" b="0" i="0" kern="1200" baseline="0" dirty="0">
                          <a:solidFill>
                            <a:schemeClr val="tx2"/>
                          </a:solidFill>
                          <a:latin typeface="+mn-lt"/>
                          <a:ea typeface="Futura Std Medium" charset="0"/>
                          <a:cs typeface="Futura Std Medium" charset="0"/>
                        </a:rPr>
                        <a:t>lots </a:t>
                      </a:r>
                      <a:r>
                        <a:rPr lang="nl-NL" sz="1200" b="0" i="0" kern="1200" baseline="0" dirty="0" err="1">
                          <a:solidFill>
                            <a:schemeClr val="tx2"/>
                          </a:solidFill>
                          <a:latin typeface="+mn-lt"/>
                          <a:ea typeface="Futura Std Medium" charset="0"/>
                          <a:cs typeface="Futura Std Medium" charset="0"/>
                        </a:rPr>
                        <a:t>issued</a:t>
                      </a:r>
                      <a:endParaRPr lang="nl-NL" sz="1200" b="0" i="0" kern="1200" baseline="0" dirty="0">
                        <a:solidFill>
                          <a:schemeClr val="tx2"/>
                        </a:solidFill>
                        <a:latin typeface="+mn-lt"/>
                        <a:ea typeface="Futura Std Medium" charset="0"/>
                        <a:cs typeface="Futura Std Medium" charset="0"/>
                      </a:endParaRPr>
                    </a:p>
                    <a:p>
                      <a:pPr marL="0" indent="0" algn="l" defTabSz="977402" rtl="0" eaLnBrk="1" latinLnBrk="0" hangingPunct="1">
                        <a:buFont typeface="Arial" panose="020B0604020202020204" pitchFamily="34" charset="0"/>
                        <a:buNone/>
                      </a:pPr>
                      <a:r>
                        <a:rPr lang="nl-NL" sz="1200" b="1" i="0" kern="1200" baseline="0" dirty="0">
                          <a:solidFill>
                            <a:schemeClr val="tx2"/>
                          </a:solidFill>
                          <a:latin typeface="+mn-lt"/>
                          <a:ea typeface="Futura Std Medium" charset="0"/>
                          <a:cs typeface="Futura Std Medium" charset="0"/>
                        </a:rPr>
                        <a:t>2017: 105 ha (259 </a:t>
                      </a:r>
                      <a:r>
                        <a:rPr lang="nl-NL" sz="1200" b="1" i="0" kern="1200" baseline="0" dirty="0" err="1">
                          <a:solidFill>
                            <a:schemeClr val="tx2"/>
                          </a:solidFill>
                          <a:latin typeface="+mn-lt"/>
                          <a:ea typeface="Futura Std Medium" charset="0"/>
                          <a:cs typeface="Futura Std Medium" charset="0"/>
                        </a:rPr>
                        <a:t>ac</a:t>
                      </a:r>
                      <a:r>
                        <a:rPr lang="nl-NL" sz="1200" b="1" i="0" kern="1200" baseline="0" dirty="0">
                          <a:solidFill>
                            <a:schemeClr val="tx2"/>
                          </a:solidFill>
                          <a:latin typeface="+mn-lt"/>
                          <a:ea typeface="Futura Std Medium" charset="0"/>
                          <a:cs typeface="Futura Std Medium" charset="0"/>
                        </a:rPr>
                        <a:t>)</a:t>
                      </a:r>
                      <a:endParaRPr lang="nl-NL" sz="1200" b="1" i="0" kern="1200" dirty="0">
                        <a:solidFill>
                          <a:schemeClr val="tx2"/>
                        </a:solidFill>
                        <a:latin typeface="+mn-lt"/>
                        <a:ea typeface="Futura Std Medium" charset="0"/>
                        <a:cs typeface="Futura Std Medium" charset="0"/>
                      </a:endParaRPr>
                    </a:p>
                  </a:txBody>
                  <a:tcPr marL="91416" marR="91416"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bl>
          </a:graphicData>
        </a:graphic>
      </p:graphicFrame>
      <p:graphicFrame>
        <p:nvGraphicFramePr>
          <p:cNvPr id="24" name="Tabel 23"/>
          <p:cNvGraphicFramePr>
            <a:graphicFrameLocks noGrp="1"/>
          </p:cNvGraphicFramePr>
          <p:nvPr>
            <p:extLst>
              <p:ext uri="{D42A27DB-BD31-4B8C-83A1-F6EECF244321}">
                <p14:modId xmlns:p14="http://schemas.microsoft.com/office/powerpoint/2010/main" val="4161410211"/>
              </p:ext>
            </p:extLst>
          </p:nvPr>
        </p:nvGraphicFramePr>
        <p:xfrm>
          <a:off x="9685133" y="2026867"/>
          <a:ext cx="2282331" cy="2034581"/>
        </p:xfrm>
        <a:graphic>
          <a:graphicData uri="http://schemas.openxmlformats.org/drawingml/2006/table">
            <a:tbl>
              <a:tblPr firstRow="1" bandRow="1">
                <a:tableStyleId>{00A15C55-8517-42AA-B614-E9B94910E393}</a:tableStyleId>
              </a:tblPr>
              <a:tblGrid>
                <a:gridCol w="2282331">
                  <a:extLst>
                    <a:ext uri="{9D8B030D-6E8A-4147-A177-3AD203B41FA5}">
                      <a16:colId xmlns:a16="http://schemas.microsoft.com/office/drawing/2014/main" val="20000"/>
                    </a:ext>
                  </a:extLst>
                </a:gridCol>
              </a:tblGrid>
              <a:tr h="355576">
                <a:tc>
                  <a:txBody>
                    <a:bodyPr/>
                    <a:lstStyle/>
                    <a:p>
                      <a:pPr marL="0" indent="0" algn="ctr" defTabSz="977402" rtl="0" eaLnBrk="1" latinLnBrk="0" hangingPunct="1">
                        <a:buFont typeface="Arial" panose="020B0604020202020204" pitchFamily="34" charset="0"/>
                        <a:buNone/>
                      </a:pPr>
                      <a:r>
                        <a:rPr lang="nl-NL" sz="1800" b="0" i="0" kern="1200" dirty="0">
                          <a:solidFill>
                            <a:schemeClr val="bg1"/>
                          </a:solidFill>
                          <a:latin typeface="+mn-lt"/>
                          <a:ea typeface="Futura Std Medium" charset="0"/>
                          <a:cs typeface="Futura Std Medium" charset="0"/>
                        </a:rPr>
                        <a:t>Eemhaven</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651919">
                <a:tc>
                  <a:txBody>
                    <a:bodyPr/>
                    <a:lstStyle/>
                    <a:p>
                      <a:r>
                        <a:rPr lang="nl-NL" sz="1200" b="0" i="0" kern="1200" dirty="0" err="1">
                          <a:solidFill>
                            <a:schemeClr val="tx2"/>
                          </a:solidFill>
                          <a:latin typeface="+mn-lt"/>
                          <a:ea typeface="Futura Std Medium" charset="0"/>
                          <a:cs typeface="Futura Std Medium" charset="0"/>
                        </a:rPr>
                        <a:t>Segments</a:t>
                      </a:r>
                      <a:br>
                        <a:rPr lang="nl-NL" sz="1200" b="0" i="0" kern="1200" dirty="0">
                          <a:solidFill>
                            <a:schemeClr val="tx2"/>
                          </a:solidFill>
                          <a:latin typeface="+mn-lt"/>
                          <a:ea typeface="Futura Std Medium" charset="0"/>
                          <a:cs typeface="Futura Std Medium" charset="0"/>
                        </a:rPr>
                      </a:br>
                      <a:r>
                        <a:rPr lang="nl-NL" sz="1200" b="1" i="0" baseline="0" dirty="0">
                          <a:solidFill>
                            <a:schemeClr val="tx2"/>
                          </a:solidFill>
                          <a:latin typeface="+mn-lt"/>
                          <a:ea typeface="Futura Std Medium" charset="0"/>
                          <a:cs typeface="Futura Std Medium" charset="0"/>
                        </a:rPr>
                        <a:t>Logistics, ADR, Agrofood, consumer goods </a:t>
                      </a:r>
                      <a:endParaRPr lang="nl-NL" sz="1200" b="1" i="0" dirty="0">
                        <a:solidFill>
                          <a:schemeClr val="tx2"/>
                        </a:solidFill>
                        <a:latin typeface="+mn-lt"/>
                        <a:ea typeface="Futura Std Medium" charset="0"/>
                        <a:cs typeface="Futura Std Medium" charset="0"/>
                      </a:endParaRPr>
                    </a:p>
                  </a:txBody>
                  <a:tcPr marL="91416" marR="91416"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538853">
                <a:tc>
                  <a:txBody>
                    <a:bodyPr/>
                    <a:lstStyle/>
                    <a:p>
                      <a:pPr marL="0" indent="0" algn="l" defTabSz="977402" rtl="0" eaLnBrk="1" latinLnBrk="0" hangingPunct="1">
                        <a:buFont typeface="Arial" panose="020B0604020202020204" pitchFamily="34" charset="0"/>
                        <a:buNone/>
                      </a:pPr>
                      <a:r>
                        <a:rPr lang="nl-NL" sz="1200" b="0" i="0" kern="1200" dirty="0">
                          <a:solidFill>
                            <a:schemeClr val="tx2"/>
                          </a:solidFill>
                          <a:latin typeface="+mn-lt"/>
                          <a:ea typeface="Futura Std Medium" charset="0"/>
                          <a:cs typeface="Futura Std Medium" charset="0"/>
                        </a:rPr>
                        <a:t>Large customers</a:t>
                      </a:r>
                    </a:p>
                    <a:p>
                      <a:r>
                        <a:rPr lang="nl-NL" sz="1200" b="1" i="0" dirty="0">
                          <a:solidFill>
                            <a:schemeClr val="tx2"/>
                          </a:solidFill>
                          <a:latin typeface="+mn-lt"/>
                          <a:ea typeface="Futura Std Medium" charset="0"/>
                          <a:cs typeface="Futura Std Medium" charset="0"/>
                        </a:rPr>
                        <a:t>Eurofrigo, Geodis, Prologis</a:t>
                      </a:r>
                    </a:p>
                  </a:txBody>
                  <a:tcPr marL="91416" marR="91416"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r h="478073">
                <a:tc>
                  <a:txBody>
                    <a:bodyPr/>
                    <a:lstStyle/>
                    <a:p>
                      <a:pPr marL="0" indent="0" algn="l" defTabSz="977402" rtl="0" eaLnBrk="1" latinLnBrk="0" hangingPunct="1">
                        <a:buFont typeface="Arial" panose="020B0604020202020204" pitchFamily="34" charset="0"/>
                        <a:buNone/>
                      </a:pPr>
                      <a:r>
                        <a:rPr lang="nl-NL" sz="1200" b="0" i="0" kern="1200" dirty="0">
                          <a:solidFill>
                            <a:schemeClr val="tx2"/>
                          </a:solidFill>
                          <a:latin typeface="+mn-lt"/>
                          <a:ea typeface="Futura Std Medium" charset="0"/>
                          <a:cs typeface="Futura Std Medium" charset="0"/>
                        </a:rPr>
                        <a:t>P</a:t>
                      </a:r>
                      <a:r>
                        <a:rPr lang="nl-NL" sz="1200" b="0" i="0" kern="1200" baseline="0" dirty="0">
                          <a:solidFill>
                            <a:schemeClr val="tx2"/>
                          </a:solidFill>
                          <a:latin typeface="+mn-lt"/>
                          <a:ea typeface="Futura Std Medium" charset="0"/>
                          <a:cs typeface="Futura Std Medium" charset="0"/>
                        </a:rPr>
                        <a:t>lots </a:t>
                      </a:r>
                      <a:r>
                        <a:rPr lang="nl-NL" sz="1200" b="0" i="0" kern="1200" baseline="0" dirty="0" err="1">
                          <a:solidFill>
                            <a:schemeClr val="tx2"/>
                          </a:solidFill>
                          <a:latin typeface="+mn-lt"/>
                          <a:ea typeface="Futura Std Medium" charset="0"/>
                          <a:cs typeface="Futura Std Medium" charset="0"/>
                        </a:rPr>
                        <a:t>issued</a:t>
                      </a:r>
                      <a:endParaRPr lang="nl-NL" sz="1200" b="0" i="0" kern="1200" baseline="0" dirty="0">
                        <a:solidFill>
                          <a:schemeClr val="tx2"/>
                        </a:solidFill>
                        <a:latin typeface="+mn-lt"/>
                        <a:ea typeface="Futura Std Medium" charset="0"/>
                        <a:cs typeface="Futura Std Medium" charset="0"/>
                      </a:endParaRPr>
                    </a:p>
                    <a:p>
                      <a:pPr marL="0" indent="0" algn="l" defTabSz="977402" rtl="0" eaLnBrk="1" latinLnBrk="0" hangingPunct="1">
                        <a:buFont typeface="Arial" panose="020B0604020202020204" pitchFamily="34" charset="0"/>
                        <a:buNone/>
                      </a:pPr>
                      <a:r>
                        <a:rPr lang="nl-NL" sz="1200" b="1" i="0" kern="1200" baseline="0" dirty="0">
                          <a:solidFill>
                            <a:schemeClr val="tx2"/>
                          </a:solidFill>
                          <a:latin typeface="+mn-lt"/>
                          <a:ea typeface="Futura Std Medium" charset="0"/>
                          <a:cs typeface="Futura Std Medium" charset="0"/>
                        </a:rPr>
                        <a:t>2017: 36 ha (88 </a:t>
                      </a:r>
                      <a:r>
                        <a:rPr lang="nl-NL" sz="1200" b="1" i="0" kern="1200" baseline="0" dirty="0" err="1">
                          <a:solidFill>
                            <a:schemeClr val="tx2"/>
                          </a:solidFill>
                          <a:latin typeface="+mn-lt"/>
                          <a:ea typeface="Futura Std Medium" charset="0"/>
                          <a:cs typeface="Futura Std Medium" charset="0"/>
                        </a:rPr>
                        <a:t>ac</a:t>
                      </a:r>
                      <a:r>
                        <a:rPr lang="nl-NL" sz="1200" b="1" i="0" kern="1200" baseline="0" dirty="0">
                          <a:solidFill>
                            <a:schemeClr val="tx2"/>
                          </a:solidFill>
                          <a:latin typeface="+mn-lt"/>
                          <a:ea typeface="Futura Std Medium" charset="0"/>
                          <a:cs typeface="Futura Std Medium" charset="0"/>
                        </a:rPr>
                        <a:t>)</a:t>
                      </a:r>
                      <a:endParaRPr lang="nl-NL" sz="1200" b="1" i="0" kern="1200" dirty="0">
                        <a:solidFill>
                          <a:schemeClr val="tx2"/>
                        </a:solidFill>
                        <a:latin typeface="+mn-lt"/>
                        <a:ea typeface="Futura Std Medium" charset="0"/>
                        <a:cs typeface="Futura Std Medium" charset="0"/>
                      </a:endParaRPr>
                    </a:p>
                  </a:txBody>
                  <a:tcPr marL="91416" marR="91416"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bl>
          </a:graphicData>
        </a:graphic>
      </p:graphicFrame>
      <p:grpSp>
        <p:nvGrpSpPr>
          <p:cNvPr id="30" name="Groep 29"/>
          <p:cNvGrpSpPr/>
          <p:nvPr/>
        </p:nvGrpSpPr>
        <p:grpSpPr>
          <a:xfrm>
            <a:off x="1221244" y="5061178"/>
            <a:ext cx="1318915" cy="864100"/>
            <a:chOff x="162519" y="4311344"/>
            <a:chExt cx="1319258" cy="846086"/>
          </a:xfrm>
        </p:grpSpPr>
        <p:sp>
          <p:nvSpPr>
            <p:cNvPr id="31" name="Rectangle 28"/>
            <p:cNvSpPr>
              <a:spLocks noChangeAspect="1"/>
            </p:cNvSpPr>
            <p:nvPr/>
          </p:nvSpPr>
          <p:spPr>
            <a:xfrm>
              <a:off x="162519" y="4311348"/>
              <a:ext cx="1319258" cy="470043"/>
            </a:xfrm>
            <a:prstGeom prst="rect">
              <a:avLst/>
            </a:prstGeom>
            <a:solidFill>
              <a:schemeClr val="tx2"/>
            </a:solidFill>
            <a:ln w="9525">
              <a:noFill/>
            </a:ln>
            <a:effectLst/>
          </p:spPr>
          <p:style>
            <a:lnRef idx="1">
              <a:schemeClr val="accent1"/>
            </a:lnRef>
            <a:fillRef idx="3">
              <a:schemeClr val="accent1"/>
            </a:fillRef>
            <a:effectRef idx="2">
              <a:schemeClr val="accent1"/>
            </a:effectRef>
            <a:fontRef idx="minor">
              <a:schemeClr val="lt1"/>
            </a:fontRef>
          </p:style>
          <p:txBody>
            <a:bodyPr lIns="17696" tIns="26553" rIns="17696" bIns="26553" rtlCol="0" anchor="ctr"/>
            <a:lstStyle/>
            <a:p>
              <a:pPr algn="r"/>
              <a:r>
                <a:rPr lang="nl-NL" sz="1400" dirty="0">
                  <a:solidFill>
                    <a:srgbClr val="001F4B"/>
                  </a:solidFill>
                  <a:latin typeface="Futura Std Medium" charset="0"/>
                  <a:cs typeface="Futura Std Medium" charset="0"/>
                </a:rPr>
                <a:t>     </a:t>
              </a:r>
              <a:r>
                <a:rPr lang="nl-NL" sz="1200" dirty="0">
                  <a:solidFill>
                    <a:schemeClr val="bg1"/>
                  </a:solidFill>
                  <a:cs typeface="Futura Std Medium" charset="0"/>
                </a:rPr>
                <a:t>100 Ha</a:t>
              </a:r>
              <a:br>
                <a:rPr lang="nl-NL" sz="1200" dirty="0">
                  <a:solidFill>
                    <a:schemeClr val="bg1"/>
                  </a:solidFill>
                  <a:cs typeface="Futura Std Medium" charset="0"/>
                </a:rPr>
              </a:br>
              <a:r>
                <a:rPr lang="nl-NL" sz="1200" dirty="0">
                  <a:solidFill>
                    <a:schemeClr val="bg1"/>
                  </a:solidFill>
                  <a:cs typeface="Futura Std Medium" charset="0"/>
                </a:rPr>
                <a:t>(247 </a:t>
              </a:r>
              <a:r>
                <a:rPr lang="nl-NL" sz="1200" dirty="0" err="1">
                  <a:solidFill>
                    <a:schemeClr val="bg1"/>
                  </a:solidFill>
                  <a:cs typeface="Futura Std Medium" charset="0"/>
                </a:rPr>
                <a:t>ac</a:t>
              </a:r>
              <a:r>
                <a:rPr lang="nl-NL" sz="1049" dirty="0">
                  <a:solidFill>
                    <a:schemeClr val="bg1"/>
                  </a:solidFill>
                  <a:latin typeface="Futura Std Medium" charset="0"/>
                  <a:cs typeface="Futura Std Medium" charset="0"/>
                </a:rPr>
                <a:t>)</a:t>
              </a:r>
              <a:endParaRPr lang="nl-NL" sz="1400" b="1" dirty="0">
                <a:solidFill>
                  <a:schemeClr val="bg1"/>
                </a:solidFill>
                <a:latin typeface="Futura Std Bold" charset="0"/>
                <a:cs typeface="Futura Std Bold" charset="0"/>
              </a:endParaRPr>
            </a:p>
          </p:txBody>
        </p:sp>
        <p:pic>
          <p:nvPicPr>
            <p:cNvPr id="33" name="Picture 1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69226" y="4311344"/>
              <a:ext cx="557246" cy="470046"/>
            </a:xfrm>
            <a:prstGeom prst="rect">
              <a:avLst/>
            </a:prstGeom>
            <a:ln>
              <a:noFill/>
            </a:ln>
          </p:spPr>
        </p:pic>
        <p:sp>
          <p:nvSpPr>
            <p:cNvPr id="34" name="Rectangle 28"/>
            <p:cNvSpPr>
              <a:spLocks noChangeAspect="1"/>
            </p:cNvSpPr>
            <p:nvPr/>
          </p:nvSpPr>
          <p:spPr>
            <a:xfrm>
              <a:off x="162519" y="4781391"/>
              <a:ext cx="1319258" cy="376039"/>
            </a:xfrm>
            <a:prstGeom prst="rect">
              <a:avLst/>
            </a:prstGeom>
            <a:solidFill>
              <a:srgbClr val="FFD800"/>
            </a:solidFill>
            <a:ln w="9525">
              <a:noFill/>
            </a:ln>
            <a:effectLst/>
          </p:spPr>
          <p:style>
            <a:lnRef idx="1">
              <a:schemeClr val="accent1"/>
            </a:lnRef>
            <a:fillRef idx="3">
              <a:schemeClr val="accent1"/>
            </a:fillRef>
            <a:effectRef idx="2">
              <a:schemeClr val="accent1"/>
            </a:effectRef>
            <a:fontRef idx="minor">
              <a:schemeClr val="lt1"/>
            </a:fontRef>
          </p:style>
          <p:txBody>
            <a:bodyPr lIns="17696" tIns="26553" rIns="17696" bIns="26553" rtlCol="0" anchor="ctr"/>
            <a:lstStyle/>
            <a:p>
              <a:pPr algn="ctr"/>
              <a:r>
                <a:rPr lang="nl-NL" sz="1200" dirty="0">
                  <a:solidFill>
                    <a:srgbClr val="001F4B"/>
                  </a:solidFill>
                  <a:cs typeface="Futura Std Medium" charset="0"/>
                </a:rPr>
                <a:t>New Development</a:t>
              </a:r>
              <a:endParaRPr lang="nl-NL" sz="1200" b="1" dirty="0">
                <a:solidFill>
                  <a:srgbClr val="001F4B"/>
                </a:solidFill>
                <a:cs typeface="Futura Std Bold" charset="0"/>
              </a:endParaRPr>
            </a:p>
          </p:txBody>
        </p:sp>
      </p:grpSp>
      <p:graphicFrame>
        <p:nvGraphicFramePr>
          <p:cNvPr id="18" name="Tabel 17"/>
          <p:cNvGraphicFramePr>
            <a:graphicFrameLocks noGrp="1"/>
          </p:cNvGraphicFramePr>
          <p:nvPr>
            <p:extLst>
              <p:ext uri="{D42A27DB-BD31-4B8C-83A1-F6EECF244321}">
                <p14:modId xmlns:p14="http://schemas.microsoft.com/office/powerpoint/2010/main" val="4074467516"/>
              </p:ext>
            </p:extLst>
          </p:nvPr>
        </p:nvGraphicFramePr>
        <p:xfrm>
          <a:off x="6775991" y="3163250"/>
          <a:ext cx="2315572" cy="2134432"/>
        </p:xfrm>
        <a:graphic>
          <a:graphicData uri="http://schemas.openxmlformats.org/drawingml/2006/table">
            <a:tbl>
              <a:tblPr firstRow="1" bandRow="1">
                <a:tableStyleId>{00A15C55-8517-42AA-B614-E9B94910E393}</a:tableStyleId>
              </a:tblPr>
              <a:tblGrid>
                <a:gridCol w="2315572">
                  <a:extLst>
                    <a:ext uri="{9D8B030D-6E8A-4147-A177-3AD203B41FA5}">
                      <a16:colId xmlns:a16="http://schemas.microsoft.com/office/drawing/2014/main" val="20000"/>
                    </a:ext>
                  </a:extLst>
                </a:gridCol>
              </a:tblGrid>
              <a:tr h="355576">
                <a:tc>
                  <a:txBody>
                    <a:bodyPr/>
                    <a:lstStyle/>
                    <a:p>
                      <a:pPr marL="0" indent="0" algn="ctr" defTabSz="977402" rtl="0" eaLnBrk="1" latinLnBrk="0" hangingPunct="1">
                        <a:buFont typeface="Arial" panose="020B0604020202020204" pitchFamily="34" charset="0"/>
                        <a:buNone/>
                      </a:pPr>
                      <a:r>
                        <a:rPr lang="nl-NL" sz="1800" b="0" i="0" kern="1200" dirty="0">
                          <a:solidFill>
                            <a:schemeClr val="bg1"/>
                          </a:solidFill>
                          <a:latin typeface="+mn-lt"/>
                          <a:ea typeface="Futura Std Medium" charset="0"/>
                          <a:cs typeface="Futura Std Medium" charset="0"/>
                        </a:rPr>
                        <a:t>Botlek</a:t>
                      </a:r>
                      <a:r>
                        <a:rPr lang="nl-NL" sz="1100" kern="1200" dirty="0">
                          <a:solidFill>
                            <a:schemeClr val="tx2"/>
                          </a:solidFill>
                          <a:latin typeface="+mn-lt"/>
                          <a:ea typeface="+mn-ea"/>
                          <a:cs typeface="+mn-cs"/>
                        </a:rPr>
                        <a:t> </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640056">
                <a:tc>
                  <a:txBody>
                    <a:bodyPr/>
                    <a:lstStyle/>
                    <a:p>
                      <a:pPr marL="0" marR="0" indent="0" algn="l" defTabSz="977402"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200" b="0" i="0" kern="1200" dirty="0" err="1">
                          <a:solidFill>
                            <a:schemeClr val="tx2"/>
                          </a:solidFill>
                          <a:latin typeface="+mn-lt"/>
                          <a:ea typeface="Futura Std Medium" charset="0"/>
                          <a:cs typeface="Futura Std Medium" charset="0"/>
                        </a:rPr>
                        <a:t>Segments</a:t>
                      </a:r>
                      <a:br>
                        <a:rPr lang="nl-NL" sz="1200" b="0" i="0" kern="1200" dirty="0">
                          <a:solidFill>
                            <a:schemeClr val="tx2"/>
                          </a:solidFill>
                          <a:latin typeface="+mn-lt"/>
                          <a:ea typeface="Futura Std Medium" charset="0"/>
                          <a:cs typeface="Futura Std Medium" charset="0"/>
                        </a:rPr>
                      </a:br>
                      <a:r>
                        <a:rPr lang="nl-NL" sz="1200" b="1" i="0" kern="1200" baseline="0" dirty="0">
                          <a:solidFill>
                            <a:schemeClr val="tx2"/>
                          </a:solidFill>
                          <a:latin typeface="+mn-lt"/>
                          <a:ea typeface="Futura Std Medium" charset="0"/>
                          <a:cs typeface="Futura Std Medium" charset="0"/>
                        </a:rPr>
                        <a:t>Chemical, ADR, </a:t>
                      </a:r>
                      <a:r>
                        <a:rPr lang="nl-NL" sz="1200" b="1" i="0" kern="1200" baseline="0" dirty="0" err="1">
                          <a:solidFill>
                            <a:schemeClr val="tx2"/>
                          </a:solidFill>
                          <a:latin typeface="+mn-lt"/>
                          <a:ea typeface="Futura Std Medium" charset="0"/>
                          <a:cs typeface="Futura Std Medium" charset="0"/>
                        </a:rPr>
                        <a:t>construction</a:t>
                      </a:r>
                      <a:r>
                        <a:rPr lang="nl-NL" sz="1200" b="1" i="0" kern="1200" baseline="0" dirty="0">
                          <a:solidFill>
                            <a:schemeClr val="tx2"/>
                          </a:solidFill>
                          <a:latin typeface="+mn-lt"/>
                          <a:ea typeface="Futura Std Medium" charset="0"/>
                          <a:cs typeface="Futura Std Medium" charset="0"/>
                        </a:rPr>
                        <a:t>, logistics</a:t>
                      </a:r>
                    </a:p>
                  </a:txBody>
                  <a:tcPr marL="91416" marR="91416"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671464">
                <a:tc>
                  <a:txBody>
                    <a:bodyPr/>
                    <a:lstStyle/>
                    <a:p>
                      <a:pPr marL="0" indent="0" algn="l" defTabSz="977402" rtl="0" eaLnBrk="1" latinLnBrk="0" hangingPunct="1">
                        <a:buFont typeface="Arial" panose="020B0604020202020204" pitchFamily="34" charset="0"/>
                        <a:buNone/>
                      </a:pPr>
                      <a:r>
                        <a:rPr lang="nl-NL" sz="1200" b="0" i="0" kern="1200" dirty="0">
                          <a:solidFill>
                            <a:schemeClr val="tx2"/>
                          </a:solidFill>
                          <a:latin typeface="+mn-lt"/>
                          <a:ea typeface="Futura Std Medium" charset="0"/>
                          <a:cs typeface="Futura Std Medium" charset="0"/>
                        </a:rPr>
                        <a:t>Large customers</a:t>
                      </a:r>
                    </a:p>
                    <a:p>
                      <a:pPr marL="0" marR="0" indent="0" algn="l" defTabSz="914400" rtl="0" eaLnBrk="1" fontAlgn="auto" latinLnBrk="0" hangingPunct="1">
                        <a:lnSpc>
                          <a:spcPct val="100000"/>
                        </a:lnSpc>
                        <a:spcBef>
                          <a:spcPts val="0"/>
                        </a:spcBef>
                        <a:spcAft>
                          <a:spcPts val="0"/>
                        </a:spcAft>
                        <a:buClrTx/>
                        <a:buSzTx/>
                        <a:buFontTx/>
                        <a:buNone/>
                        <a:tabLst/>
                        <a:defRPr/>
                      </a:pPr>
                      <a:r>
                        <a:rPr lang="nl-NL" sz="1200" b="1" i="0" kern="1200" dirty="0">
                          <a:solidFill>
                            <a:schemeClr val="tx2"/>
                          </a:solidFill>
                          <a:latin typeface="+mn-lt"/>
                          <a:ea typeface="Futura Std Medium" charset="0"/>
                          <a:cs typeface="Futura Std Medium" charset="0"/>
                        </a:rPr>
                        <a:t>DB Schenker, De Rijke, Pacorini, Steinweg,</a:t>
                      </a:r>
                      <a:r>
                        <a:rPr lang="nl-NL" sz="1200" b="1" i="0" kern="1200" baseline="0" dirty="0">
                          <a:solidFill>
                            <a:schemeClr val="tx2"/>
                          </a:solidFill>
                          <a:latin typeface="+mn-lt"/>
                          <a:ea typeface="Futura Std Medium" charset="0"/>
                          <a:cs typeface="Futura Std Medium" charset="0"/>
                        </a:rPr>
                        <a:t> KBC</a:t>
                      </a:r>
                      <a:r>
                        <a:rPr lang="nl-NL" sz="1200" b="1" i="0" kern="1200" dirty="0">
                          <a:solidFill>
                            <a:schemeClr val="tx2"/>
                          </a:solidFill>
                          <a:latin typeface="+mn-lt"/>
                          <a:ea typeface="Futura Std Medium" charset="0"/>
                          <a:cs typeface="Futura Std Medium" charset="0"/>
                        </a:rPr>
                        <a:t> </a:t>
                      </a:r>
                    </a:p>
                  </a:txBody>
                  <a:tcPr marL="91416" marR="91416"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r h="457176">
                <a:tc>
                  <a:txBody>
                    <a:bodyPr/>
                    <a:lstStyle/>
                    <a:p>
                      <a:pPr marL="0" marR="0" indent="0" algn="l" defTabSz="977402"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200" b="0" i="0" kern="1200" dirty="0">
                          <a:solidFill>
                            <a:schemeClr val="tx2"/>
                          </a:solidFill>
                          <a:latin typeface="+mn-lt"/>
                          <a:ea typeface="Futura Std Medium" charset="0"/>
                          <a:cs typeface="Futura Std Medium" charset="0"/>
                        </a:rPr>
                        <a:t>P</a:t>
                      </a:r>
                      <a:r>
                        <a:rPr lang="nl-NL" sz="1200" b="0" i="0" kern="1200" baseline="0" dirty="0">
                          <a:solidFill>
                            <a:schemeClr val="tx2"/>
                          </a:solidFill>
                          <a:latin typeface="+mn-lt"/>
                          <a:ea typeface="Futura Std Medium" charset="0"/>
                          <a:cs typeface="Futura Std Medium" charset="0"/>
                        </a:rPr>
                        <a:t>lots </a:t>
                      </a:r>
                      <a:r>
                        <a:rPr lang="nl-NL" sz="1200" b="0" i="0" kern="1200" baseline="0" dirty="0" err="1">
                          <a:solidFill>
                            <a:schemeClr val="tx2"/>
                          </a:solidFill>
                          <a:latin typeface="+mn-lt"/>
                          <a:ea typeface="Futura Std Medium" charset="0"/>
                          <a:cs typeface="Futura Std Medium" charset="0"/>
                        </a:rPr>
                        <a:t>issued</a:t>
                      </a:r>
                      <a:endParaRPr lang="nl-NL" sz="1200" b="0" i="0" kern="1200" baseline="0" dirty="0">
                        <a:solidFill>
                          <a:schemeClr val="tx2"/>
                        </a:solidFill>
                        <a:latin typeface="+mn-lt"/>
                        <a:ea typeface="Futura Std Medium" charset="0"/>
                        <a:cs typeface="Futura Std Medium" charset="0"/>
                      </a:endParaRPr>
                    </a:p>
                    <a:p>
                      <a:pPr marL="0" indent="0" algn="l" defTabSz="977402" rtl="0" eaLnBrk="1" latinLnBrk="0" hangingPunct="1">
                        <a:buFont typeface="Arial" panose="020B0604020202020204" pitchFamily="34" charset="0"/>
                        <a:buNone/>
                      </a:pPr>
                      <a:r>
                        <a:rPr lang="nl-NL" sz="1200" b="1" i="0" kern="1200" baseline="0" dirty="0">
                          <a:solidFill>
                            <a:schemeClr val="tx2"/>
                          </a:solidFill>
                          <a:latin typeface="+mn-lt"/>
                          <a:ea typeface="Futura Std Medium" charset="0"/>
                          <a:cs typeface="Futura Std Medium" charset="0"/>
                        </a:rPr>
                        <a:t>2017: 84 ha  (207 </a:t>
                      </a:r>
                      <a:r>
                        <a:rPr lang="nl-NL" sz="1200" b="1" i="0" kern="1200" baseline="0" dirty="0" err="1">
                          <a:solidFill>
                            <a:schemeClr val="tx2"/>
                          </a:solidFill>
                          <a:latin typeface="+mn-lt"/>
                          <a:ea typeface="Futura Std Medium" charset="0"/>
                          <a:cs typeface="Futura Std Medium" charset="0"/>
                        </a:rPr>
                        <a:t>ac</a:t>
                      </a:r>
                      <a:r>
                        <a:rPr lang="nl-NL" sz="1200" b="1" i="0" kern="1200" baseline="0" dirty="0">
                          <a:solidFill>
                            <a:schemeClr val="tx2"/>
                          </a:solidFill>
                          <a:latin typeface="+mn-lt"/>
                          <a:ea typeface="Futura Std Medium" charset="0"/>
                          <a:cs typeface="Futura Std Medium" charset="0"/>
                        </a:rPr>
                        <a:t>)</a:t>
                      </a:r>
                      <a:endParaRPr lang="nl-NL" sz="1200" b="1" i="0" kern="1200" dirty="0">
                        <a:solidFill>
                          <a:schemeClr val="tx2"/>
                        </a:solidFill>
                        <a:latin typeface="+mn-lt"/>
                        <a:ea typeface="Futura Std Medium" charset="0"/>
                        <a:cs typeface="Futura Std Medium" charset="0"/>
                      </a:endParaRPr>
                    </a:p>
                  </a:txBody>
                  <a:tcPr marL="91416" marR="91416"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bl>
          </a:graphicData>
        </a:graphic>
      </p:graphicFrame>
      <p:sp>
        <p:nvSpPr>
          <p:cNvPr id="27" name="Vrije vorm 71707"/>
          <p:cNvSpPr/>
          <p:nvPr/>
        </p:nvSpPr>
        <p:spPr>
          <a:xfrm rot="20596205">
            <a:off x="732764" y="5297471"/>
            <a:ext cx="487543" cy="569691"/>
          </a:xfrm>
          <a:custGeom>
            <a:avLst/>
            <a:gdLst>
              <a:gd name="connsiteX0" fmla="*/ 7943 w 308084"/>
              <a:gd name="connsiteY0" fmla="*/ 33918 h 314434"/>
              <a:gd name="connsiteX1" fmla="*/ 90695 w 308084"/>
              <a:gd name="connsiteY1" fmla="*/ 290447 h 314434"/>
              <a:gd name="connsiteX2" fmla="*/ 144483 w 308084"/>
              <a:gd name="connsiteY2" fmla="*/ 273897 h 314434"/>
              <a:gd name="connsiteX3" fmla="*/ 305847 w 308084"/>
              <a:gd name="connsiteY3" fmla="*/ 29781 h 314434"/>
              <a:gd name="connsiteX4" fmla="*/ 7943 w 308084"/>
              <a:gd name="connsiteY4" fmla="*/ 33918 h 314434"/>
              <a:gd name="connsiteX0" fmla="*/ 7943 w 308084"/>
              <a:gd name="connsiteY0" fmla="*/ 32934 h 304216"/>
              <a:gd name="connsiteX1" fmla="*/ 90695 w 308084"/>
              <a:gd name="connsiteY1" fmla="*/ 272913 h 304216"/>
              <a:gd name="connsiteX2" fmla="*/ 144483 w 308084"/>
              <a:gd name="connsiteY2" fmla="*/ 272913 h 304216"/>
              <a:gd name="connsiteX3" fmla="*/ 305847 w 308084"/>
              <a:gd name="connsiteY3" fmla="*/ 28797 h 304216"/>
              <a:gd name="connsiteX4" fmla="*/ 7943 w 308084"/>
              <a:gd name="connsiteY4" fmla="*/ 32934 h 304216"/>
              <a:gd name="connsiteX0" fmla="*/ 7943 w 308084"/>
              <a:gd name="connsiteY0" fmla="*/ 26082 h 297364"/>
              <a:gd name="connsiteX1" fmla="*/ 90695 w 308084"/>
              <a:gd name="connsiteY1" fmla="*/ 266061 h 297364"/>
              <a:gd name="connsiteX2" fmla="*/ 144483 w 308084"/>
              <a:gd name="connsiteY2" fmla="*/ 266061 h 297364"/>
              <a:gd name="connsiteX3" fmla="*/ 305847 w 308084"/>
              <a:gd name="connsiteY3" fmla="*/ 34358 h 297364"/>
              <a:gd name="connsiteX4" fmla="*/ 7943 w 308084"/>
              <a:gd name="connsiteY4" fmla="*/ 26082 h 297364"/>
              <a:gd name="connsiteX0" fmla="*/ 7943 w 305868"/>
              <a:gd name="connsiteY0" fmla="*/ 26082 h 297364"/>
              <a:gd name="connsiteX1" fmla="*/ 90695 w 305868"/>
              <a:gd name="connsiteY1" fmla="*/ 266061 h 297364"/>
              <a:gd name="connsiteX2" fmla="*/ 144483 w 305868"/>
              <a:gd name="connsiteY2" fmla="*/ 266061 h 297364"/>
              <a:gd name="connsiteX3" fmla="*/ 305847 w 305868"/>
              <a:gd name="connsiteY3" fmla="*/ 34358 h 297364"/>
              <a:gd name="connsiteX4" fmla="*/ 7943 w 305868"/>
              <a:gd name="connsiteY4" fmla="*/ 26082 h 297364"/>
              <a:gd name="connsiteX0" fmla="*/ 6600 w 279702"/>
              <a:gd name="connsiteY0" fmla="*/ 24068 h 295350"/>
              <a:gd name="connsiteX1" fmla="*/ 89352 w 279702"/>
              <a:gd name="connsiteY1" fmla="*/ 264047 h 295350"/>
              <a:gd name="connsiteX2" fmla="*/ 143140 w 279702"/>
              <a:gd name="connsiteY2" fmla="*/ 264047 h 295350"/>
              <a:gd name="connsiteX3" fmla="*/ 279679 w 279702"/>
              <a:gd name="connsiteY3" fmla="*/ 36482 h 295350"/>
              <a:gd name="connsiteX4" fmla="*/ 6600 w 279702"/>
              <a:gd name="connsiteY4" fmla="*/ 24068 h 295350"/>
              <a:gd name="connsiteX0" fmla="*/ 7073 w 287024"/>
              <a:gd name="connsiteY0" fmla="*/ 20112 h 267522"/>
              <a:gd name="connsiteX1" fmla="*/ 89825 w 287024"/>
              <a:gd name="connsiteY1" fmla="*/ 260091 h 267522"/>
              <a:gd name="connsiteX2" fmla="*/ 193263 w 287024"/>
              <a:gd name="connsiteY2" fmla="*/ 187802 h 267522"/>
              <a:gd name="connsiteX3" fmla="*/ 280152 w 287024"/>
              <a:gd name="connsiteY3" fmla="*/ 32526 h 267522"/>
              <a:gd name="connsiteX4" fmla="*/ 7073 w 287024"/>
              <a:gd name="connsiteY4" fmla="*/ 20112 h 267522"/>
              <a:gd name="connsiteX0" fmla="*/ 7073 w 287024"/>
              <a:gd name="connsiteY0" fmla="*/ 20112 h 267522"/>
              <a:gd name="connsiteX1" fmla="*/ 89825 w 287024"/>
              <a:gd name="connsiteY1" fmla="*/ 260091 h 267522"/>
              <a:gd name="connsiteX2" fmla="*/ 193263 w 287024"/>
              <a:gd name="connsiteY2" fmla="*/ 187802 h 267522"/>
              <a:gd name="connsiteX3" fmla="*/ 280152 w 287024"/>
              <a:gd name="connsiteY3" fmla="*/ 32526 h 267522"/>
              <a:gd name="connsiteX4" fmla="*/ 7073 w 287024"/>
              <a:gd name="connsiteY4" fmla="*/ 20112 h 267522"/>
              <a:gd name="connsiteX0" fmla="*/ 559 w 274796"/>
              <a:gd name="connsiteY0" fmla="*/ 19416 h 266826"/>
              <a:gd name="connsiteX1" fmla="*/ 83311 w 274796"/>
              <a:gd name="connsiteY1" fmla="*/ 259395 h 266826"/>
              <a:gd name="connsiteX2" fmla="*/ 186749 w 274796"/>
              <a:gd name="connsiteY2" fmla="*/ 187106 h 266826"/>
              <a:gd name="connsiteX3" fmla="*/ 273638 w 274796"/>
              <a:gd name="connsiteY3" fmla="*/ 31830 h 266826"/>
              <a:gd name="connsiteX4" fmla="*/ 124686 w 274796"/>
              <a:gd name="connsiteY4" fmla="*/ 16147 h 266826"/>
              <a:gd name="connsiteX5" fmla="*/ 559 w 274796"/>
              <a:gd name="connsiteY5" fmla="*/ 19416 h 266826"/>
              <a:gd name="connsiteX0" fmla="*/ 591 w 270691"/>
              <a:gd name="connsiteY0" fmla="*/ 24078 h 257956"/>
              <a:gd name="connsiteX1" fmla="*/ 79206 w 270691"/>
              <a:gd name="connsiteY1" fmla="*/ 251301 h 257956"/>
              <a:gd name="connsiteX2" fmla="*/ 182644 w 270691"/>
              <a:gd name="connsiteY2" fmla="*/ 179012 h 257956"/>
              <a:gd name="connsiteX3" fmla="*/ 269533 w 270691"/>
              <a:gd name="connsiteY3" fmla="*/ 23736 h 257956"/>
              <a:gd name="connsiteX4" fmla="*/ 120581 w 270691"/>
              <a:gd name="connsiteY4" fmla="*/ 8053 h 257956"/>
              <a:gd name="connsiteX5" fmla="*/ 591 w 270691"/>
              <a:gd name="connsiteY5" fmla="*/ 24078 h 257956"/>
              <a:gd name="connsiteX0" fmla="*/ 591 w 270691"/>
              <a:gd name="connsiteY0" fmla="*/ 24078 h 256828"/>
              <a:gd name="connsiteX1" fmla="*/ 79206 w 270691"/>
              <a:gd name="connsiteY1" fmla="*/ 251301 h 256828"/>
              <a:gd name="connsiteX2" fmla="*/ 182644 w 270691"/>
              <a:gd name="connsiteY2" fmla="*/ 170508 h 256828"/>
              <a:gd name="connsiteX3" fmla="*/ 269533 w 270691"/>
              <a:gd name="connsiteY3" fmla="*/ 23736 h 256828"/>
              <a:gd name="connsiteX4" fmla="*/ 120581 w 270691"/>
              <a:gd name="connsiteY4" fmla="*/ 8053 h 256828"/>
              <a:gd name="connsiteX5" fmla="*/ 591 w 270691"/>
              <a:gd name="connsiteY5" fmla="*/ 24078 h 256828"/>
              <a:gd name="connsiteX0" fmla="*/ 591 w 270691"/>
              <a:gd name="connsiteY0" fmla="*/ 26127 h 254390"/>
              <a:gd name="connsiteX1" fmla="*/ 79206 w 270691"/>
              <a:gd name="connsiteY1" fmla="*/ 249099 h 254390"/>
              <a:gd name="connsiteX2" fmla="*/ 182644 w 270691"/>
              <a:gd name="connsiteY2" fmla="*/ 168306 h 254390"/>
              <a:gd name="connsiteX3" fmla="*/ 269533 w 270691"/>
              <a:gd name="connsiteY3" fmla="*/ 21534 h 254390"/>
              <a:gd name="connsiteX4" fmla="*/ 120581 w 270691"/>
              <a:gd name="connsiteY4" fmla="*/ 5851 h 254390"/>
              <a:gd name="connsiteX5" fmla="*/ 591 w 270691"/>
              <a:gd name="connsiteY5" fmla="*/ 26127 h 254390"/>
              <a:gd name="connsiteX0" fmla="*/ 626 w 266589"/>
              <a:gd name="connsiteY0" fmla="*/ 34589 h 249403"/>
              <a:gd name="connsiteX1" fmla="*/ 75104 w 266589"/>
              <a:gd name="connsiteY1" fmla="*/ 244804 h 249403"/>
              <a:gd name="connsiteX2" fmla="*/ 178542 w 266589"/>
              <a:gd name="connsiteY2" fmla="*/ 164011 h 249403"/>
              <a:gd name="connsiteX3" fmla="*/ 265431 w 266589"/>
              <a:gd name="connsiteY3" fmla="*/ 17239 h 249403"/>
              <a:gd name="connsiteX4" fmla="*/ 116479 w 266589"/>
              <a:gd name="connsiteY4" fmla="*/ 1556 h 249403"/>
              <a:gd name="connsiteX5" fmla="*/ 626 w 266589"/>
              <a:gd name="connsiteY5" fmla="*/ 34589 h 2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589" h="249403">
                <a:moveTo>
                  <a:pt x="626" y="34589"/>
                </a:moveTo>
                <a:cubicBezTo>
                  <a:pt x="-6270" y="75130"/>
                  <a:pt x="45451" y="223234"/>
                  <a:pt x="75104" y="244804"/>
                </a:cubicBezTo>
                <a:cubicBezTo>
                  <a:pt x="104757" y="266374"/>
                  <a:pt x="142683" y="207455"/>
                  <a:pt x="178542" y="164011"/>
                </a:cubicBezTo>
                <a:cubicBezTo>
                  <a:pt x="214401" y="103559"/>
                  <a:pt x="275775" y="44315"/>
                  <a:pt x="265431" y="17239"/>
                </a:cubicBezTo>
                <a:cubicBezTo>
                  <a:pt x="255087" y="-9837"/>
                  <a:pt x="161992" y="3625"/>
                  <a:pt x="116479" y="1556"/>
                </a:cubicBezTo>
                <a:cubicBezTo>
                  <a:pt x="70966" y="-513"/>
                  <a:pt x="7522" y="-5952"/>
                  <a:pt x="626" y="34589"/>
                </a:cubicBezTo>
                <a:close/>
              </a:path>
            </a:pathLst>
          </a:custGeom>
          <a:pattFill prst="wdDnDiag">
            <a:fgClr>
              <a:schemeClr val="bg2"/>
            </a:fgClr>
            <a:bgClr>
              <a:schemeClr val="bg1"/>
            </a:bgClr>
          </a:patt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61797" tIns="80928" rIns="161797" bIns="80928" rtlCol="0" anchor="ctr"/>
          <a:lstStyle/>
          <a:p>
            <a:pPr algn="ctr"/>
            <a:endParaRPr lang="en-US" sz="3200" dirty="0"/>
          </a:p>
        </p:txBody>
      </p:sp>
      <p:sp>
        <p:nvSpPr>
          <p:cNvPr id="2" name="Tijdelijke aanduiding voor datum 1">
            <a:extLst>
              <a:ext uri="{FF2B5EF4-FFF2-40B4-BE49-F238E27FC236}">
                <a16:creationId xmlns:a16="http://schemas.microsoft.com/office/drawing/2014/main" id="{2A901808-C190-4CAB-A070-D55BB3B9C415}"/>
              </a:ext>
            </a:extLst>
          </p:cNvPr>
          <p:cNvSpPr>
            <a:spLocks noGrp="1"/>
          </p:cNvSpPr>
          <p:nvPr>
            <p:ph type="dt" sz="half" idx="10"/>
          </p:nvPr>
        </p:nvSpPr>
        <p:spPr/>
        <p:txBody>
          <a:bodyPr/>
          <a:lstStyle/>
          <a:p>
            <a:fld id="{88A3B017-0F76-4030-BA81-3D7612B0AF58}" type="datetime4">
              <a:rPr lang="en-GB" smtClean="0"/>
              <a:t>29 May 2020</a:t>
            </a:fld>
            <a:endParaRPr lang="en-GB"/>
          </a:p>
        </p:txBody>
      </p:sp>
      <p:sp>
        <p:nvSpPr>
          <p:cNvPr id="4" name="Tijdelijke aanduiding voor voettekst 3">
            <a:extLst>
              <a:ext uri="{FF2B5EF4-FFF2-40B4-BE49-F238E27FC236}">
                <a16:creationId xmlns:a16="http://schemas.microsoft.com/office/drawing/2014/main" id="{85E4FFE6-46C5-42AA-9A9F-2DAC7C7524D4}"/>
              </a:ext>
            </a:extLst>
          </p:cNvPr>
          <p:cNvSpPr>
            <a:spLocks noGrp="1"/>
          </p:cNvSpPr>
          <p:nvPr>
            <p:ph type="ftr" sz="quarter" idx="11"/>
          </p:nvPr>
        </p:nvSpPr>
        <p:spPr/>
        <p:txBody>
          <a:bodyPr/>
          <a:lstStyle/>
          <a:p>
            <a:r>
              <a:rPr lang="en-GB"/>
              <a:t>|</a:t>
            </a:r>
          </a:p>
        </p:txBody>
      </p:sp>
      <p:sp>
        <p:nvSpPr>
          <p:cNvPr id="5" name="Tijdelijke aanduiding voor dianummer 4">
            <a:extLst>
              <a:ext uri="{FF2B5EF4-FFF2-40B4-BE49-F238E27FC236}">
                <a16:creationId xmlns:a16="http://schemas.microsoft.com/office/drawing/2014/main" id="{763D480E-98CB-46EB-B3FD-936D961E2BE6}"/>
              </a:ext>
            </a:extLst>
          </p:cNvPr>
          <p:cNvSpPr>
            <a:spLocks noGrp="1"/>
          </p:cNvSpPr>
          <p:nvPr>
            <p:ph type="sldNum" sz="quarter" idx="12"/>
          </p:nvPr>
        </p:nvSpPr>
        <p:spPr/>
        <p:txBody>
          <a:bodyPr/>
          <a:lstStyle/>
          <a:p>
            <a:fld id="{534B5F9C-CFE5-4EC6-9BBB-664E2F56B033}" type="slidenum">
              <a:rPr lang="en-GB" smtClean="0"/>
              <a:t>17</a:t>
            </a:fld>
            <a:endParaRPr lang="en-GB"/>
          </a:p>
        </p:txBody>
      </p:sp>
    </p:spTree>
    <p:custDataLst>
      <p:tags r:id="rId1"/>
    </p:custDataLst>
    <p:extLst>
      <p:ext uri="{BB962C8B-B14F-4D97-AF65-F5344CB8AC3E}">
        <p14:creationId xmlns:p14="http://schemas.microsoft.com/office/powerpoint/2010/main" val="1914761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a14="http://schemas.microsoft.com/office/drawing/2010/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Rectangle 127"/>
          <p:cNvSpPr/>
          <p:nvPr/>
        </p:nvSpPr>
        <p:spPr>
          <a:xfrm>
            <a:off x="266172" y="1629834"/>
            <a:ext cx="7703136" cy="2447071"/>
          </a:xfrm>
          <a:prstGeom prst="rect">
            <a:avLst/>
          </a:prstGeom>
          <a:gradFill>
            <a:gsLst>
              <a:gs pos="0">
                <a:schemeClr val="accent1">
                  <a:lumMod val="5000"/>
                  <a:lumOff val="95000"/>
                </a:schemeClr>
              </a:gs>
              <a:gs pos="46000">
                <a:schemeClr val="accent1">
                  <a:lumMod val="45000"/>
                  <a:lumOff val="55000"/>
                </a:schemeClr>
              </a:gs>
              <a:gs pos="64000">
                <a:schemeClr val="accent1">
                  <a:lumMod val="45000"/>
                  <a:lumOff val="55000"/>
                </a:schemeClr>
              </a:gs>
              <a:gs pos="100000">
                <a:schemeClr val="accent3"/>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el 8"/>
          <p:cNvSpPr txBox="1">
            <a:spLocks/>
          </p:cNvSpPr>
          <p:nvPr/>
        </p:nvSpPr>
        <p:spPr>
          <a:xfrm>
            <a:off x="474080" y="192846"/>
            <a:ext cx="11247071" cy="647831"/>
          </a:xfrm>
          <a:prstGeom prst="rect">
            <a:avLst/>
          </a:prstGeom>
        </p:spPr>
        <p:txBody>
          <a:bodyPr/>
          <a:lstStyle>
            <a:lvl1pPr algn="l" defTabSz="914400" rtl="0" eaLnBrk="1" latinLnBrk="0" hangingPunct="1">
              <a:lnSpc>
                <a:spcPct val="90000"/>
              </a:lnSpc>
              <a:spcBef>
                <a:spcPct val="0"/>
              </a:spcBef>
              <a:buNone/>
              <a:defRPr sz="3200" kern="1200">
                <a:solidFill>
                  <a:schemeClr val="tx2"/>
                </a:solidFill>
                <a:latin typeface="Arial Black" panose="020B0A04020102020204" pitchFamily="34" charset="0"/>
                <a:ea typeface="+mj-ea"/>
                <a:cs typeface="+mj-cs"/>
              </a:defRPr>
            </a:lvl1pPr>
          </a:lstStyle>
          <a:p>
            <a:endParaRPr lang="nl-NL" sz="3199" dirty="0"/>
          </a:p>
        </p:txBody>
      </p:sp>
      <p:grpSp>
        <p:nvGrpSpPr>
          <p:cNvPr id="101" name="Groep 108"/>
          <p:cNvGrpSpPr/>
          <p:nvPr/>
        </p:nvGrpSpPr>
        <p:grpSpPr>
          <a:xfrm>
            <a:off x="554417" y="2848112"/>
            <a:ext cx="1808655" cy="2483061"/>
            <a:chOff x="683466" y="1601443"/>
            <a:chExt cx="2009127" cy="2328877"/>
          </a:xfrm>
          <a:solidFill>
            <a:schemeClr val="accent6"/>
          </a:solidFill>
        </p:grpSpPr>
        <p:sp>
          <p:nvSpPr>
            <p:cNvPr id="102" name="Afgeronde rechthoek 28"/>
            <p:cNvSpPr/>
            <p:nvPr/>
          </p:nvSpPr>
          <p:spPr>
            <a:xfrm>
              <a:off x="683466" y="2074199"/>
              <a:ext cx="2009127" cy="1856121"/>
            </a:xfrm>
            <a:custGeom>
              <a:avLst/>
              <a:gdLst>
                <a:gd name="connsiteX0" fmla="*/ 0 w 2680447"/>
                <a:gd name="connsiteY0" fmla="*/ 373427 h 2240516"/>
                <a:gd name="connsiteX1" fmla="*/ 373427 w 2680447"/>
                <a:gd name="connsiteY1" fmla="*/ 0 h 2240516"/>
                <a:gd name="connsiteX2" fmla="*/ 2307020 w 2680447"/>
                <a:gd name="connsiteY2" fmla="*/ 0 h 2240516"/>
                <a:gd name="connsiteX3" fmla="*/ 2680447 w 2680447"/>
                <a:gd name="connsiteY3" fmla="*/ 373427 h 2240516"/>
                <a:gd name="connsiteX4" fmla="*/ 2680447 w 2680447"/>
                <a:gd name="connsiteY4" fmla="*/ 1867089 h 2240516"/>
                <a:gd name="connsiteX5" fmla="*/ 2307020 w 2680447"/>
                <a:gd name="connsiteY5" fmla="*/ 2240516 h 2240516"/>
                <a:gd name="connsiteX6" fmla="*/ 373427 w 2680447"/>
                <a:gd name="connsiteY6" fmla="*/ 2240516 h 2240516"/>
                <a:gd name="connsiteX7" fmla="*/ 0 w 2680447"/>
                <a:gd name="connsiteY7" fmla="*/ 1867089 h 2240516"/>
                <a:gd name="connsiteX8" fmla="*/ 0 w 2680447"/>
                <a:gd name="connsiteY8" fmla="*/ 373427 h 2240516"/>
                <a:gd name="connsiteX0" fmla="*/ 0 w 2680447"/>
                <a:gd name="connsiteY0" fmla="*/ 373427 h 2240516"/>
                <a:gd name="connsiteX1" fmla="*/ 2307020 w 2680447"/>
                <a:gd name="connsiteY1" fmla="*/ 0 h 2240516"/>
                <a:gd name="connsiteX2" fmla="*/ 2680447 w 2680447"/>
                <a:gd name="connsiteY2" fmla="*/ 373427 h 2240516"/>
                <a:gd name="connsiteX3" fmla="*/ 2680447 w 2680447"/>
                <a:gd name="connsiteY3" fmla="*/ 1867089 h 2240516"/>
                <a:gd name="connsiteX4" fmla="*/ 2307020 w 2680447"/>
                <a:gd name="connsiteY4" fmla="*/ 2240516 h 2240516"/>
                <a:gd name="connsiteX5" fmla="*/ 373427 w 2680447"/>
                <a:gd name="connsiteY5" fmla="*/ 2240516 h 2240516"/>
                <a:gd name="connsiteX6" fmla="*/ 0 w 2680447"/>
                <a:gd name="connsiteY6" fmla="*/ 1867089 h 2240516"/>
                <a:gd name="connsiteX7" fmla="*/ 0 w 2680447"/>
                <a:gd name="connsiteY7" fmla="*/ 373427 h 2240516"/>
                <a:gd name="connsiteX0" fmla="*/ 0 w 2680447"/>
                <a:gd name="connsiteY0" fmla="*/ 0 h 1867089"/>
                <a:gd name="connsiteX1" fmla="*/ 2680447 w 2680447"/>
                <a:gd name="connsiteY1" fmla="*/ 0 h 1867089"/>
                <a:gd name="connsiteX2" fmla="*/ 2680447 w 2680447"/>
                <a:gd name="connsiteY2" fmla="*/ 1493662 h 1867089"/>
                <a:gd name="connsiteX3" fmla="*/ 2307020 w 2680447"/>
                <a:gd name="connsiteY3" fmla="*/ 1867089 h 1867089"/>
                <a:gd name="connsiteX4" fmla="*/ 373427 w 2680447"/>
                <a:gd name="connsiteY4" fmla="*/ 1867089 h 1867089"/>
                <a:gd name="connsiteX5" fmla="*/ 0 w 2680447"/>
                <a:gd name="connsiteY5" fmla="*/ 1493662 h 1867089"/>
                <a:gd name="connsiteX6" fmla="*/ 0 w 2680447"/>
                <a:gd name="connsiteY6" fmla="*/ 0 h 1867089"/>
                <a:gd name="connsiteX0" fmla="*/ 0 w 2680447"/>
                <a:gd name="connsiteY0" fmla="*/ 110526 h 1977615"/>
                <a:gd name="connsiteX1" fmla="*/ 2680447 w 2680447"/>
                <a:gd name="connsiteY1" fmla="*/ 110526 h 1977615"/>
                <a:gd name="connsiteX2" fmla="*/ 2680447 w 2680447"/>
                <a:gd name="connsiteY2" fmla="*/ 1604188 h 1977615"/>
                <a:gd name="connsiteX3" fmla="*/ 2307020 w 2680447"/>
                <a:gd name="connsiteY3" fmla="*/ 1977615 h 1977615"/>
                <a:gd name="connsiteX4" fmla="*/ 373427 w 2680447"/>
                <a:gd name="connsiteY4" fmla="*/ 1977615 h 1977615"/>
                <a:gd name="connsiteX5" fmla="*/ 0 w 2680447"/>
                <a:gd name="connsiteY5" fmla="*/ 1604188 h 1977615"/>
                <a:gd name="connsiteX6" fmla="*/ 0 w 2680447"/>
                <a:gd name="connsiteY6" fmla="*/ 110526 h 1977615"/>
                <a:gd name="connsiteX0" fmla="*/ 0 w 2680447"/>
                <a:gd name="connsiteY0" fmla="*/ 0 h 1867089"/>
                <a:gd name="connsiteX1" fmla="*/ 2680447 w 2680447"/>
                <a:gd name="connsiteY1" fmla="*/ 0 h 1867089"/>
                <a:gd name="connsiteX2" fmla="*/ 2680447 w 2680447"/>
                <a:gd name="connsiteY2" fmla="*/ 1493662 h 1867089"/>
                <a:gd name="connsiteX3" fmla="*/ 2307020 w 2680447"/>
                <a:gd name="connsiteY3" fmla="*/ 1867089 h 1867089"/>
                <a:gd name="connsiteX4" fmla="*/ 373427 w 2680447"/>
                <a:gd name="connsiteY4" fmla="*/ 1867089 h 1867089"/>
                <a:gd name="connsiteX5" fmla="*/ 0 w 2680447"/>
                <a:gd name="connsiteY5" fmla="*/ 1493662 h 1867089"/>
                <a:gd name="connsiteX6" fmla="*/ 0 w 2680447"/>
                <a:gd name="connsiteY6" fmla="*/ 0 h 186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0447" h="1867089">
                  <a:moveTo>
                    <a:pt x="0" y="0"/>
                  </a:moveTo>
                  <a:lnTo>
                    <a:pt x="2680447" y="0"/>
                  </a:lnTo>
                  <a:lnTo>
                    <a:pt x="2680447" y="1493662"/>
                  </a:lnTo>
                  <a:cubicBezTo>
                    <a:pt x="2680447" y="1699900"/>
                    <a:pt x="2513258" y="1867089"/>
                    <a:pt x="2307020" y="1867089"/>
                  </a:cubicBezTo>
                  <a:lnTo>
                    <a:pt x="373427" y="1867089"/>
                  </a:lnTo>
                  <a:cubicBezTo>
                    <a:pt x="167189" y="1867089"/>
                    <a:pt x="0" y="1699900"/>
                    <a:pt x="0" y="1493662"/>
                  </a:cubicBezTo>
                  <a:lnTo>
                    <a:pt x="0" y="0"/>
                  </a:lnTo>
                  <a:close/>
                </a:path>
              </a:pathLst>
            </a:custGeom>
            <a:grp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nl-NL" sz="1400" dirty="0">
                <a:solidFill>
                  <a:srgbClr val="001F4B"/>
                </a:solidFill>
                <a:latin typeface="Futura Std Medium" charset="0"/>
                <a:ea typeface="Futura Std Medium" charset="0"/>
                <a:cs typeface="Futura Std Medium" charset="0"/>
              </a:endParaRPr>
            </a:p>
            <a:p>
              <a:pPr algn="ctr"/>
              <a:endParaRPr lang="nl-NL" sz="1400" dirty="0">
                <a:solidFill>
                  <a:srgbClr val="001F4B"/>
                </a:solidFill>
                <a:latin typeface="Futura Std Medium" charset="0"/>
                <a:ea typeface="Futura Std Medium" charset="0"/>
                <a:cs typeface="Futura Std Medium" charset="0"/>
              </a:endParaRPr>
            </a:p>
            <a:p>
              <a:pPr algn="ctr"/>
              <a:endParaRPr lang="nl-NL" sz="1400" dirty="0">
                <a:solidFill>
                  <a:srgbClr val="001F4B"/>
                </a:solidFill>
                <a:latin typeface="Futura Std Medium" charset="0"/>
                <a:ea typeface="Futura Std Medium" charset="0"/>
                <a:cs typeface="Futura Std Medium" charset="0"/>
              </a:endParaRPr>
            </a:p>
            <a:p>
              <a:pPr algn="ctr"/>
              <a:r>
                <a:rPr lang="nl-NL" sz="1400" dirty="0">
                  <a:solidFill>
                    <a:schemeClr val="bg1"/>
                  </a:solidFill>
                  <a:ea typeface="Futura Std Medium" charset="0"/>
                  <a:cs typeface="Futura Std Medium" charset="0"/>
                </a:rPr>
                <a:t>4,800 TEU</a:t>
              </a:r>
            </a:p>
            <a:p>
              <a:pPr algn="ctr"/>
              <a:r>
                <a:rPr lang="nl-NL" sz="1400" dirty="0">
                  <a:solidFill>
                    <a:schemeClr val="bg1"/>
                  </a:solidFill>
                  <a:ea typeface="Futura Std Medium" charset="0"/>
                  <a:cs typeface="Futura Std Medium" charset="0"/>
                </a:rPr>
                <a:t>Draft 13.50 m</a:t>
              </a:r>
            </a:p>
          </p:txBody>
        </p:sp>
        <p:grpSp>
          <p:nvGrpSpPr>
            <p:cNvPr id="103" name="Groep 110"/>
            <p:cNvGrpSpPr/>
            <p:nvPr/>
          </p:nvGrpSpPr>
          <p:grpSpPr>
            <a:xfrm>
              <a:off x="729121" y="1601443"/>
              <a:ext cx="1916915" cy="472756"/>
              <a:chOff x="729121" y="1601443"/>
              <a:chExt cx="1916915" cy="472756"/>
            </a:xfrm>
            <a:grpFill/>
          </p:grpSpPr>
          <p:sp>
            <p:nvSpPr>
              <p:cNvPr id="104" name="Rechthoek 111"/>
              <p:cNvSpPr/>
              <p:nvPr/>
            </p:nvSpPr>
            <p:spPr>
              <a:xfrm>
                <a:off x="729121"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nl-NL" sz="1800" dirty="0">
                  <a:solidFill>
                    <a:prstClr val="white"/>
                  </a:solidFill>
                  <a:latin typeface="Futura Std Medium" charset="0"/>
                  <a:ea typeface="Futura Std Medium" charset="0"/>
                  <a:cs typeface="Futura Std Medium" charset="0"/>
                </a:endParaRPr>
              </a:p>
            </p:txBody>
          </p:sp>
          <p:sp>
            <p:nvSpPr>
              <p:cNvPr id="105" name="Rechthoek 112"/>
              <p:cNvSpPr/>
              <p:nvPr/>
            </p:nvSpPr>
            <p:spPr>
              <a:xfrm>
                <a:off x="972537"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nl-NL" sz="1800" dirty="0">
                  <a:solidFill>
                    <a:prstClr val="white"/>
                  </a:solidFill>
                  <a:latin typeface="Futura Std Medium" charset="0"/>
                  <a:ea typeface="Futura Std Medium" charset="0"/>
                  <a:cs typeface="Futura Std Medium" charset="0"/>
                </a:endParaRPr>
              </a:p>
            </p:txBody>
          </p:sp>
          <p:sp>
            <p:nvSpPr>
              <p:cNvPr id="106" name="Rechthoek 113"/>
              <p:cNvSpPr/>
              <p:nvPr/>
            </p:nvSpPr>
            <p:spPr>
              <a:xfrm>
                <a:off x="1216906"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nl-NL" sz="1800" dirty="0">
                  <a:solidFill>
                    <a:prstClr val="white"/>
                  </a:solidFill>
                  <a:latin typeface="Futura Std Medium" charset="0"/>
                  <a:ea typeface="Futura Std Medium" charset="0"/>
                  <a:cs typeface="Futura Std Medium" charset="0"/>
                </a:endParaRPr>
              </a:p>
            </p:txBody>
          </p:sp>
          <p:sp>
            <p:nvSpPr>
              <p:cNvPr id="107" name="Rechthoek 114"/>
              <p:cNvSpPr/>
              <p:nvPr/>
            </p:nvSpPr>
            <p:spPr>
              <a:xfrm>
                <a:off x="1461275"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nl-NL" sz="1800" dirty="0">
                  <a:solidFill>
                    <a:prstClr val="white"/>
                  </a:solidFill>
                  <a:latin typeface="Futura Std Medium" charset="0"/>
                  <a:ea typeface="Futura Std Medium" charset="0"/>
                  <a:cs typeface="Futura Std Medium" charset="0"/>
                </a:endParaRPr>
              </a:p>
            </p:txBody>
          </p:sp>
          <p:sp>
            <p:nvSpPr>
              <p:cNvPr id="108" name="Rechthoek 115"/>
              <p:cNvSpPr/>
              <p:nvPr/>
            </p:nvSpPr>
            <p:spPr>
              <a:xfrm>
                <a:off x="1705644"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nl-NL" sz="1800" dirty="0">
                  <a:solidFill>
                    <a:prstClr val="white"/>
                  </a:solidFill>
                  <a:latin typeface="Futura Std Medium" charset="0"/>
                  <a:ea typeface="Futura Std Medium" charset="0"/>
                  <a:cs typeface="Futura Std Medium" charset="0"/>
                </a:endParaRPr>
              </a:p>
            </p:txBody>
          </p:sp>
          <p:sp>
            <p:nvSpPr>
              <p:cNvPr id="109" name="Rechthoek 116"/>
              <p:cNvSpPr/>
              <p:nvPr/>
            </p:nvSpPr>
            <p:spPr>
              <a:xfrm>
                <a:off x="1950013"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nl-NL" sz="1800" dirty="0">
                  <a:solidFill>
                    <a:prstClr val="white"/>
                  </a:solidFill>
                  <a:latin typeface="Futura Std Medium" charset="0"/>
                  <a:ea typeface="Futura Std Medium" charset="0"/>
                  <a:cs typeface="Futura Std Medium" charset="0"/>
                </a:endParaRPr>
              </a:p>
            </p:txBody>
          </p:sp>
          <p:sp>
            <p:nvSpPr>
              <p:cNvPr id="110" name="Rechthoek 117"/>
              <p:cNvSpPr/>
              <p:nvPr/>
            </p:nvSpPr>
            <p:spPr>
              <a:xfrm>
                <a:off x="2194380"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nl-NL" sz="1800" dirty="0">
                  <a:solidFill>
                    <a:prstClr val="white"/>
                  </a:solidFill>
                  <a:latin typeface="Futura Std Medium" charset="0"/>
                  <a:ea typeface="Futura Std Medium" charset="0"/>
                  <a:cs typeface="Futura Std Medium" charset="0"/>
                </a:endParaRPr>
              </a:p>
            </p:txBody>
          </p:sp>
          <p:sp>
            <p:nvSpPr>
              <p:cNvPr id="111" name="Rechthoek 118"/>
              <p:cNvSpPr/>
              <p:nvPr/>
            </p:nvSpPr>
            <p:spPr>
              <a:xfrm>
                <a:off x="2433031"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nl-NL" sz="1800" dirty="0">
                  <a:solidFill>
                    <a:prstClr val="white"/>
                  </a:solidFill>
                  <a:latin typeface="Futura Std Medium" charset="0"/>
                  <a:ea typeface="Futura Std Medium" charset="0"/>
                  <a:cs typeface="Futura Std Medium" charset="0"/>
                </a:endParaRPr>
              </a:p>
            </p:txBody>
          </p:sp>
          <p:sp>
            <p:nvSpPr>
              <p:cNvPr id="112" name="Rechthoek 119"/>
              <p:cNvSpPr/>
              <p:nvPr/>
            </p:nvSpPr>
            <p:spPr>
              <a:xfrm>
                <a:off x="729121"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nl-NL" sz="1800" dirty="0">
                  <a:solidFill>
                    <a:prstClr val="white"/>
                  </a:solidFill>
                  <a:latin typeface="Futura Std Medium" charset="0"/>
                  <a:ea typeface="Futura Std Medium" charset="0"/>
                  <a:cs typeface="Futura Std Medium" charset="0"/>
                </a:endParaRPr>
              </a:p>
            </p:txBody>
          </p:sp>
          <p:sp>
            <p:nvSpPr>
              <p:cNvPr id="113" name="Rechthoek 120"/>
              <p:cNvSpPr/>
              <p:nvPr/>
            </p:nvSpPr>
            <p:spPr>
              <a:xfrm>
                <a:off x="972537"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nl-NL" sz="1800" dirty="0">
                  <a:solidFill>
                    <a:prstClr val="white"/>
                  </a:solidFill>
                  <a:latin typeface="Futura Std Medium" charset="0"/>
                  <a:ea typeface="Futura Std Medium" charset="0"/>
                  <a:cs typeface="Futura Std Medium" charset="0"/>
                </a:endParaRPr>
              </a:p>
            </p:txBody>
          </p:sp>
          <p:sp>
            <p:nvSpPr>
              <p:cNvPr id="114" name="Rechthoek 121"/>
              <p:cNvSpPr/>
              <p:nvPr/>
            </p:nvSpPr>
            <p:spPr>
              <a:xfrm>
                <a:off x="1216906"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nl-NL" sz="1800" dirty="0">
                  <a:solidFill>
                    <a:prstClr val="white"/>
                  </a:solidFill>
                  <a:latin typeface="Futura Std Medium" charset="0"/>
                  <a:ea typeface="Futura Std Medium" charset="0"/>
                  <a:cs typeface="Futura Std Medium" charset="0"/>
                </a:endParaRPr>
              </a:p>
            </p:txBody>
          </p:sp>
          <p:sp>
            <p:nvSpPr>
              <p:cNvPr id="115" name="Rechthoek 122"/>
              <p:cNvSpPr/>
              <p:nvPr/>
            </p:nvSpPr>
            <p:spPr>
              <a:xfrm>
                <a:off x="1461275"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nl-NL" sz="1800" dirty="0">
                  <a:solidFill>
                    <a:prstClr val="white"/>
                  </a:solidFill>
                  <a:latin typeface="Futura Std Medium" charset="0"/>
                  <a:ea typeface="Futura Std Medium" charset="0"/>
                  <a:cs typeface="Futura Std Medium" charset="0"/>
                </a:endParaRPr>
              </a:p>
            </p:txBody>
          </p:sp>
          <p:sp>
            <p:nvSpPr>
              <p:cNvPr id="116" name="Rechthoek 123"/>
              <p:cNvSpPr/>
              <p:nvPr/>
            </p:nvSpPr>
            <p:spPr>
              <a:xfrm>
                <a:off x="1705644"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nl-NL" sz="1800" dirty="0">
                  <a:solidFill>
                    <a:prstClr val="white"/>
                  </a:solidFill>
                  <a:latin typeface="Futura Std Medium" charset="0"/>
                  <a:ea typeface="Futura Std Medium" charset="0"/>
                  <a:cs typeface="Futura Std Medium" charset="0"/>
                </a:endParaRPr>
              </a:p>
            </p:txBody>
          </p:sp>
          <p:sp>
            <p:nvSpPr>
              <p:cNvPr id="117" name="Rechthoek 124"/>
              <p:cNvSpPr/>
              <p:nvPr/>
            </p:nvSpPr>
            <p:spPr>
              <a:xfrm>
                <a:off x="1950013"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nl-NL" sz="1800" dirty="0">
                  <a:solidFill>
                    <a:prstClr val="white"/>
                  </a:solidFill>
                  <a:latin typeface="Futura Std Medium" charset="0"/>
                  <a:ea typeface="Futura Std Medium" charset="0"/>
                  <a:cs typeface="Futura Std Medium" charset="0"/>
                </a:endParaRPr>
              </a:p>
            </p:txBody>
          </p:sp>
          <p:sp>
            <p:nvSpPr>
              <p:cNvPr id="118" name="Rechthoek 125"/>
              <p:cNvSpPr/>
              <p:nvPr/>
            </p:nvSpPr>
            <p:spPr>
              <a:xfrm>
                <a:off x="2194380"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nl-NL" sz="1800" dirty="0">
                  <a:solidFill>
                    <a:prstClr val="white"/>
                  </a:solidFill>
                  <a:latin typeface="Futura Std Medium" charset="0"/>
                  <a:ea typeface="Futura Std Medium" charset="0"/>
                  <a:cs typeface="Futura Std Medium" charset="0"/>
                </a:endParaRPr>
              </a:p>
            </p:txBody>
          </p:sp>
          <p:sp>
            <p:nvSpPr>
              <p:cNvPr id="119" name="Rechthoek 126"/>
              <p:cNvSpPr/>
              <p:nvPr/>
            </p:nvSpPr>
            <p:spPr>
              <a:xfrm>
                <a:off x="2433031"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nl-NL" sz="1800" dirty="0">
                  <a:solidFill>
                    <a:prstClr val="white"/>
                  </a:solidFill>
                  <a:latin typeface="Futura Std Medium" charset="0"/>
                  <a:ea typeface="Futura Std Medium" charset="0"/>
                  <a:cs typeface="Futura Std Medium" charset="0"/>
                </a:endParaRPr>
              </a:p>
            </p:txBody>
          </p:sp>
        </p:grpSp>
      </p:grpSp>
      <p:cxnSp>
        <p:nvCxnSpPr>
          <p:cNvPr id="120" name="Rechte verbindingslijn 128"/>
          <p:cNvCxnSpPr/>
          <p:nvPr/>
        </p:nvCxnSpPr>
        <p:spPr>
          <a:xfrm>
            <a:off x="619288" y="5859792"/>
            <a:ext cx="7038064" cy="0"/>
          </a:xfrm>
          <a:prstGeom prst="line">
            <a:avLst/>
          </a:prstGeom>
          <a:ln w="762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22" name="Tabel 135"/>
          <p:cNvGraphicFramePr>
            <a:graphicFrameLocks noGrp="1"/>
          </p:cNvGraphicFramePr>
          <p:nvPr>
            <p:extLst>
              <p:ext uri="{D42A27DB-BD31-4B8C-83A1-F6EECF244321}">
                <p14:modId xmlns:p14="http://schemas.microsoft.com/office/powerpoint/2010/main" val="1030593216"/>
              </p:ext>
            </p:extLst>
          </p:nvPr>
        </p:nvGraphicFramePr>
        <p:xfrm>
          <a:off x="8497853" y="1629834"/>
          <a:ext cx="3431149" cy="2855141"/>
        </p:xfrm>
        <a:graphic>
          <a:graphicData uri="http://schemas.openxmlformats.org/drawingml/2006/table">
            <a:tbl>
              <a:tblPr firstRow="1" bandRow="1">
                <a:effectLst/>
                <a:tableStyleId>{5C22544A-7EE6-4342-B048-85BDC9FD1C3A}</a:tableStyleId>
              </a:tblPr>
              <a:tblGrid>
                <a:gridCol w="1473173">
                  <a:extLst>
                    <a:ext uri="{9D8B030D-6E8A-4147-A177-3AD203B41FA5}">
                      <a16:colId xmlns:a16="http://schemas.microsoft.com/office/drawing/2014/main" val="20000"/>
                    </a:ext>
                  </a:extLst>
                </a:gridCol>
                <a:gridCol w="984884">
                  <a:extLst>
                    <a:ext uri="{9D8B030D-6E8A-4147-A177-3AD203B41FA5}">
                      <a16:colId xmlns:a16="http://schemas.microsoft.com/office/drawing/2014/main" val="20001"/>
                    </a:ext>
                  </a:extLst>
                </a:gridCol>
                <a:gridCol w="973092">
                  <a:extLst>
                    <a:ext uri="{9D8B030D-6E8A-4147-A177-3AD203B41FA5}">
                      <a16:colId xmlns:a16="http://schemas.microsoft.com/office/drawing/2014/main" val="20002"/>
                    </a:ext>
                  </a:extLst>
                </a:gridCol>
              </a:tblGrid>
              <a:tr h="521992">
                <a:tc>
                  <a:txBody>
                    <a:bodyPr/>
                    <a:lstStyle/>
                    <a:p>
                      <a:r>
                        <a:rPr lang="nl-NL" sz="1200" b="1" i="0" dirty="0">
                          <a:solidFill>
                            <a:schemeClr val="accent4"/>
                          </a:solidFill>
                          <a:latin typeface="+mn-lt"/>
                          <a:ea typeface="Futura Std Book" charset="0"/>
                          <a:cs typeface="Futura Std Book" charset="0"/>
                        </a:rPr>
                        <a:t>Port</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nl-NL" sz="1200" b="1" i="0" dirty="0">
                          <a:solidFill>
                            <a:schemeClr val="accent4"/>
                          </a:solidFill>
                          <a:latin typeface="+mn-lt"/>
                          <a:ea typeface="Futura Std Book" charset="0"/>
                          <a:cs typeface="Futura Std Book" charset="0"/>
                        </a:rPr>
                        <a:t>Max.</a:t>
                      </a:r>
                      <a:r>
                        <a:rPr lang="nl-NL" sz="1200" b="1" i="0" baseline="0" dirty="0">
                          <a:solidFill>
                            <a:schemeClr val="accent4"/>
                          </a:solidFill>
                          <a:latin typeface="+mn-lt"/>
                          <a:ea typeface="Futura Std Book" charset="0"/>
                          <a:cs typeface="Futura Std Book" charset="0"/>
                        </a:rPr>
                        <a:t> </a:t>
                      </a:r>
                      <a:br>
                        <a:rPr lang="nl-NL" sz="1200" b="1" i="0" baseline="0" dirty="0">
                          <a:solidFill>
                            <a:schemeClr val="accent4"/>
                          </a:solidFill>
                          <a:latin typeface="+mn-lt"/>
                          <a:ea typeface="Futura Std Book" charset="0"/>
                          <a:cs typeface="Futura Std Book" charset="0"/>
                        </a:rPr>
                      </a:br>
                      <a:r>
                        <a:rPr lang="nl-NL" sz="1200" b="1" i="0" baseline="0" dirty="0">
                          <a:solidFill>
                            <a:schemeClr val="accent4"/>
                          </a:solidFill>
                          <a:latin typeface="+mn-lt"/>
                          <a:ea typeface="Futura Std Book" charset="0"/>
                          <a:cs typeface="Futura Std Book" charset="0"/>
                        </a:rPr>
                        <a:t>Draft at Terminal</a:t>
                      </a:r>
                      <a:endParaRPr lang="nl-NL" sz="1200" b="1" i="0" dirty="0">
                        <a:solidFill>
                          <a:schemeClr val="accent4"/>
                        </a:solidFill>
                        <a:latin typeface="+mn-lt"/>
                        <a:ea typeface="Futura Std Book" charset="0"/>
                        <a:cs typeface="Futura Std Book" charset="0"/>
                      </a:endParaRPr>
                    </a:p>
                  </a:txBody>
                  <a:tcPr marL="91416" marR="91416" marT="45708" marB="45708"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nl-NL" sz="1200" b="1" i="0" dirty="0">
                          <a:solidFill>
                            <a:schemeClr val="accent4"/>
                          </a:solidFill>
                          <a:latin typeface="+mn-lt"/>
                          <a:ea typeface="Futura Std Book" charset="0"/>
                          <a:cs typeface="Futura Std Book" charset="0"/>
                        </a:rPr>
                        <a:t>Open </a:t>
                      </a:r>
                      <a:r>
                        <a:rPr lang="nl-NL" sz="1200" b="1" i="0" dirty="0" err="1">
                          <a:solidFill>
                            <a:schemeClr val="accent4"/>
                          </a:solidFill>
                          <a:latin typeface="+mn-lt"/>
                          <a:ea typeface="Futura Std Book" charset="0"/>
                          <a:cs typeface="Futura Std Book" charset="0"/>
                        </a:rPr>
                        <a:t>sea</a:t>
                      </a:r>
                      <a:r>
                        <a:rPr lang="nl-NL" sz="1200" b="1" i="0" dirty="0">
                          <a:solidFill>
                            <a:schemeClr val="accent4"/>
                          </a:solidFill>
                          <a:latin typeface="+mn-lt"/>
                          <a:ea typeface="Futura Std Book" charset="0"/>
                          <a:cs typeface="Futura Std Book" charset="0"/>
                        </a:rPr>
                        <a:t> to </a:t>
                      </a:r>
                      <a:r>
                        <a:rPr lang="nl-NL" sz="1200" b="1" i="0" dirty="0" err="1">
                          <a:solidFill>
                            <a:schemeClr val="accent4"/>
                          </a:solidFill>
                          <a:latin typeface="+mn-lt"/>
                          <a:ea typeface="Futura Std Book" charset="0"/>
                          <a:cs typeface="Futura Std Book" charset="0"/>
                        </a:rPr>
                        <a:t>Berth</a:t>
                      </a:r>
                      <a:endParaRPr lang="nl-NL" sz="1200" b="1" i="0" dirty="0">
                        <a:solidFill>
                          <a:schemeClr val="accent4"/>
                        </a:solidFill>
                        <a:latin typeface="+mn-lt"/>
                        <a:ea typeface="Futura Std Book" charset="0"/>
                        <a:cs typeface="Futura Std Book" charset="0"/>
                      </a:endParaRPr>
                    </a:p>
                  </a:txBody>
                  <a:tcPr marL="91416" marR="91416" marT="45708" marB="45708" anchor="ctr">
                    <a:lnL w="12700" cap="flat" cmpd="sng" algn="ctr">
                      <a:solidFill>
                        <a:schemeClr val="accent4"/>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578588">
                <a:tc>
                  <a:txBody>
                    <a:bodyPr/>
                    <a:lstStyle/>
                    <a:p>
                      <a:r>
                        <a:rPr lang="nl-NL" sz="1200" b="1" i="0" dirty="0">
                          <a:solidFill>
                            <a:schemeClr val="accent4"/>
                          </a:solidFill>
                          <a:latin typeface="+mn-lt"/>
                          <a:ea typeface="Futura Std Book" charset="0"/>
                          <a:cs typeface="Futura Std Book" charset="0"/>
                        </a:rPr>
                        <a:t>Rotterdam</a:t>
                      </a:r>
                      <a:r>
                        <a:rPr lang="nl-NL" sz="1200" b="1" i="0" baseline="0" dirty="0">
                          <a:solidFill>
                            <a:schemeClr val="accent4"/>
                          </a:solidFill>
                          <a:latin typeface="+mn-lt"/>
                          <a:ea typeface="Futura Std Book" charset="0"/>
                          <a:cs typeface="Futura Std Book" charset="0"/>
                        </a:rPr>
                        <a:t> </a:t>
                      </a:r>
                      <a:br>
                        <a:rPr lang="nl-NL" sz="1200" b="1" i="0" baseline="0" dirty="0">
                          <a:solidFill>
                            <a:schemeClr val="accent4"/>
                          </a:solidFill>
                          <a:latin typeface="+mn-lt"/>
                          <a:ea typeface="Futura Std Book" charset="0"/>
                          <a:cs typeface="Futura Std Book" charset="0"/>
                        </a:rPr>
                      </a:br>
                      <a:r>
                        <a:rPr lang="nl-NL" sz="1200" b="1" i="0" baseline="0" dirty="0">
                          <a:solidFill>
                            <a:schemeClr val="accent4"/>
                          </a:solidFill>
                          <a:latin typeface="+mn-lt"/>
                          <a:ea typeface="Futura Std Book" charset="0"/>
                          <a:cs typeface="Futura Std Book" charset="0"/>
                        </a:rPr>
                        <a:t>Maasvlakte</a:t>
                      </a:r>
                      <a:endParaRPr lang="nl-NL" sz="1200" b="1" i="0" dirty="0">
                        <a:solidFill>
                          <a:schemeClr val="accent4"/>
                        </a:solidFill>
                        <a:latin typeface="+mn-lt"/>
                        <a:ea typeface="Futura Std Book" charset="0"/>
                        <a:cs typeface="Futura Std Book" charset="0"/>
                      </a:endParaRP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nl-NL" sz="1200" b="0" i="0" dirty="0">
                          <a:solidFill>
                            <a:schemeClr val="accent4"/>
                          </a:solidFill>
                          <a:latin typeface="+mn-lt"/>
                          <a:ea typeface="Futura Std Medium" charset="0"/>
                          <a:cs typeface="Futura Std Medium" charset="0"/>
                        </a:rPr>
                        <a:t>19.65</a:t>
                      </a:r>
                      <a:r>
                        <a:rPr lang="nl-NL" sz="1200" b="0" i="0" baseline="0" dirty="0">
                          <a:solidFill>
                            <a:schemeClr val="accent4"/>
                          </a:solidFill>
                          <a:latin typeface="+mn-lt"/>
                          <a:ea typeface="Futura Std Medium" charset="0"/>
                          <a:cs typeface="Futura Std Medium" charset="0"/>
                        </a:rPr>
                        <a:t> m </a:t>
                      </a:r>
                      <a:endParaRPr lang="nl-NL" sz="1200" b="0" i="0" dirty="0">
                        <a:solidFill>
                          <a:schemeClr val="accent4"/>
                        </a:solidFill>
                        <a:latin typeface="+mn-lt"/>
                        <a:ea typeface="Futura Std Medium" charset="0"/>
                        <a:cs typeface="Futura Std Medium" charset="0"/>
                      </a:endParaRPr>
                    </a:p>
                  </a:txBody>
                  <a:tcPr marL="91416" marR="91416" marT="45708" marB="45708"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nl-NL" sz="1200" b="0" i="0" dirty="0">
                          <a:solidFill>
                            <a:schemeClr val="accent4"/>
                          </a:solidFill>
                          <a:latin typeface="+mn-lt"/>
                          <a:ea typeface="Futura Std Medium" charset="0"/>
                          <a:cs typeface="Futura Std Medium" charset="0"/>
                        </a:rPr>
                        <a:t>2 </a:t>
                      </a:r>
                      <a:r>
                        <a:rPr lang="nl-NL" sz="1200" b="0" i="0" dirty="0" err="1">
                          <a:solidFill>
                            <a:schemeClr val="accent4"/>
                          </a:solidFill>
                          <a:latin typeface="+mn-lt"/>
                          <a:ea typeface="Futura Std Medium" charset="0"/>
                          <a:cs typeface="Futura Std Medium" charset="0"/>
                        </a:rPr>
                        <a:t>hrs</a:t>
                      </a:r>
                      <a:endParaRPr lang="nl-NL" sz="1200" b="0" i="0" dirty="0">
                        <a:solidFill>
                          <a:schemeClr val="accent4"/>
                        </a:solidFill>
                        <a:latin typeface="+mn-lt"/>
                        <a:ea typeface="Futura Std Medium" charset="0"/>
                        <a:cs typeface="Futura Std Medium" charset="0"/>
                      </a:endParaRPr>
                    </a:p>
                  </a:txBody>
                  <a:tcPr marL="91416" marR="91416" marT="45708" marB="45708" anchor="ctr">
                    <a:lnL w="12700" cap="flat" cmpd="sng" algn="ctr">
                      <a:solidFill>
                        <a:schemeClr val="accent4"/>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1"/>
                  </a:ext>
                </a:extLst>
              </a:tr>
              <a:tr h="545499">
                <a:tc>
                  <a:txBody>
                    <a:bodyPr/>
                    <a:lstStyle/>
                    <a:p>
                      <a:r>
                        <a:rPr lang="nl-NL" sz="1200" b="1" i="0" dirty="0">
                          <a:solidFill>
                            <a:schemeClr val="accent4"/>
                          </a:solidFill>
                          <a:latin typeface="+mn-lt"/>
                          <a:ea typeface="Futura Std Book" charset="0"/>
                          <a:cs typeface="Futura Std Book" charset="0"/>
                        </a:rPr>
                        <a:t>Hamburg</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nl-NL" sz="1200" b="0" i="0" dirty="0">
                          <a:solidFill>
                            <a:schemeClr val="accent4"/>
                          </a:solidFill>
                          <a:latin typeface="+mn-lt"/>
                          <a:ea typeface="Futura Std Medium" charset="0"/>
                          <a:cs typeface="Futura Std Medium" charset="0"/>
                        </a:rPr>
                        <a:t>16.00</a:t>
                      </a:r>
                      <a:r>
                        <a:rPr lang="nl-NL" sz="1200" b="0" i="0" baseline="0" dirty="0">
                          <a:solidFill>
                            <a:schemeClr val="accent4"/>
                          </a:solidFill>
                          <a:latin typeface="+mn-lt"/>
                          <a:ea typeface="Futura Std Medium" charset="0"/>
                          <a:cs typeface="Futura Std Medium" charset="0"/>
                        </a:rPr>
                        <a:t> m </a:t>
                      </a:r>
                      <a:endParaRPr lang="nl-NL" sz="1200" b="0" i="0" dirty="0">
                        <a:solidFill>
                          <a:schemeClr val="accent4"/>
                        </a:solidFill>
                        <a:latin typeface="+mn-lt"/>
                        <a:ea typeface="Futura Std Medium" charset="0"/>
                        <a:cs typeface="Futura Std Medium" charset="0"/>
                      </a:endParaRPr>
                    </a:p>
                  </a:txBody>
                  <a:tcPr marL="91416" marR="91416" marT="45708" marB="45708"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nl-NL" sz="1200" b="0" i="0" dirty="0">
                          <a:solidFill>
                            <a:schemeClr val="accent4"/>
                          </a:solidFill>
                          <a:latin typeface="+mn-lt"/>
                          <a:ea typeface="Futura Std Medium" charset="0"/>
                          <a:cs typeface="Futura Std Medium" charset="0"/>
                        </a:rPr>
                        <a:t>6 </a:t>
                      </a:r>
                      <a:r>
                        <a:rPr lang="nl-NL" sz="1200" b="0" i="0" dirty="0" err="1">
                          <a:solidFill>
                            <a:schemeClr val="accent4"/>
                          </a:solidFill>
                          <a:latin typeface="+mn-lt"/>
                          <a:ea typeface="Futura Std Medium" charset="0"/>
                          <a:cs typeface="Futura Std Medium" charset="0"/>
                        </a:rPr>
                        <a:t>hrs</a:t>
                      </a:r>
                      <a:endParaRPr lang="nl-NL" sz="1200" b="0" i="0" dirty="0">
                        <a:solidFill>
                          <a:schemeClr val="accent4"/>
                        </a:solidFill>
                        <a:latin typeface="+mn-lt"/>
                        <a:ea typeface="Futura Std Medium" charset="0"/>
                        <a:cs typeface="Futura Std Medium" charset="0"/>
                      </a:endParaRPr>
                    </a:p>
                  </a:txBody>
                  <a:tcPr marL="91416" marR="91416" marT="45708" marB="45708" anchor="ctr">
                    <a:lnL w="12700" cap="flat" cmpd="sng" algn="ctr">
                      <a:solidFill>
                        <a:schemeClr val="accent4"/>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2"/>
                  </a:ext>
                </a:extLst>
              </a:tr>
              <a:tr h="545499">
                <a:tc>
                  <a:txBody>
                    <a:bodyPr/>
                    <a:lstStyle/>
                    <a:p>
                      <a:r>
                        <a:rPr lang="nl-NL" sz="1200" b="1" i="0" dirty="0">
                          <a:solidFill>
                            <a:schemeClr val="accent4"/>
                          </a:solidFill>
                          <a:latin typeface="+mn-lt"/>
                          <a:ea typeface="Futura Std Book" charset="0"/>
                          <a:cs typeface="Futura Std Book" charset="0"/>
                        </a:rPr>
                        <a:t>Antwerp</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nl-NL" sz="1200" b="0" i="0" dirty="0">
                          <a:solidFill>
                            <a:schemeClr val="accent4"/>
                          </a:solidFill>
                          <a:latin typeface="+mn-lt"/>
                          <a:ea typeface="Futura Std Medium" charset="0"/>
                          <a:cs typeface="Futura Std Medium" charset="0"/>
                        </a:rPr>
                        <a:t>17.00 m </a:t>
                      </a:r>
                    </a:p>
                  </a:txBody>
                  <a:tcPr marL="91416" marR="91416" marT="45708" marB="45708"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nl-NL" sz="1200" b="0" i="0" dirty="0">
                          <a:solidFill>
                            <a:schemeClr val="accent4"/>
                          </a:solidFill>
                          <a:latin typeface="+mn-lt"/>
                          <a:ea typeface="Futura Std Medium" charset="0"/>
                          <a:cs typeface="Futura Std Medium" charset="0"/>
                        </a:rPr>
                        <a:t>6 </a:t>
                      </a:r>
                      <a:r>
                        <a:rPr lang="nl-NL" sz="1200" b="0" i="0" dirty="0" err="1">
                          <a:solidFill>
                            <a:schemeClr val="accent4"/>
                          </a:solidFill>
                          <a:latin typeface="+mn-lt"/>
                          <a:ea typeface="Futura Std Medium" charset="0"/>
                          <a:cs typeface="Futura Std Medium" charset="0"/>
                        </a:rPr>
                        <a:t>hrs</a:t>
                      </a:r>
                      <a:endParaRPr lang="nl-NL" sz="1200" b="0" i="0" dirty="0">
                        <a:solidFill>
                          <a:schemeClr val="accent4"/>
                        </a:solidFill>
                        <a:latin typeface="+mn-lt"/>
                        <a:ea typeface="Futura Std Medium" charset="0"/>
                        <a:cs typeface="Futura Std Medium" charset="0"/>
                      </a:endParaRPr>
                    </a:p>
                  </a:txBody>
                  <a:tcPr marL="91416" marR="91416" marT="45708" marB="45708" anchor="ctr">
                    <a:lnL w="12700" cap="flat" cmpd="sng" algn="ctr">
                      <a:solidFill>
                        <a:schemeClr val="accent4"/>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3"/>
                  </a:ext>
                </a:extLst>
              </a:tr>
              <a:tr h="545499">
                <a:tc>
                  <a:txBody>
                    <a:bodyPr/>
                    <a:lstStyle/>
                    <a:p>
                      <a:r>
                        <a:rPr lang="nl-NL" sz="1200" b="1" i="0" dirty="0">
                          <a:solidFill>
                            <a:schemeClr val="accent4"/>
                          </a:solidFill>
                          <a:latin typeface="+mn-lt"/>
                          <a:ea typeface="Futura Std Book" charset="0"/>
                          <a:cs typeface="Futura Std Book" charset="0"/>
                        </a:rPr>
                        <a:t>Bremerhaven</a:t>
                      </a:r>
                    </a:p>
                  </a:txBody>
                  <a:tcPr marL="91416" marR="91416" marT="45708" marB="45708" anchor="ctr">
                    <a:lnL w="12700" cap="flat" cmpd="sng" algn="ctr">
                      <a:solidFill>
                        <a:schemeClr val="tx1"/>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nl-NL" sz="1200" b="0" i="0" dirty="0">
                          <a:solidFill>
                            <a:schemeClr val="accent4"/>
                          </a:solidFill>
                          <a:latin typeface="+mn-lt"/>
                          <a:ea typeface="Futura Std Medium" charset="0"/>
                          <a:cs typeface="Futura Std Medium" charset="0"/>
                        </a:rPr>
                        <a:t>16.50 m</a:t>
                      </a:r>
                    </a:p>
                  </a:txBody>
                  <a:tcPr marL="91416" marR="91416" marT="45708" marB="45708"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nl-NL" sz="1200" b="0" i="0" dirty="0">
                          <a:solidFill>
                            <a:schemeClr val="accent4"/>
                          </a:solidFill>
                          <a:latin typeface="+mn-lt"/>
                          <a:ea typeface="Futura Std Medium" charset="0"/>
                          <a:cs typeface="Futura Std Medium" charset="0"/>
                        </a:rPr>
                        <a:t>12 </a:t>
                      </a:r>
                      <a:r>
                        <a:rPr lang="nl-NL" sz="1200" b="0" i="0" dirty="0" err="1">
                          <a:solidFill>
                            <a:schemeClr val="accent4"/>
                          </a:solidFill>
                          <a:latin typeface="+mn-lt"/>
                          <a:ea typeface="Futura Std Medium" charset="0"/>
                          <a:cs typeface="Futura Std Medium" charset="0"/>
                        </a:rPr>
                        <a:t>hrs</a:t>
                      </a:r>
                      <a:endParaRPr lang="nl-NL" sz="1200" b="0" i="0" dirty="0">
                        <a:solidFill>
                          <a:schemeClr val="accent4"/>
                        </a:solidFill>
                        <a:latin typeface="+mn-lt"/>
                        <a:ea typeface="Futura Std Medium" charset="0"/>
                        <a:cs typeface="Futura Std Medium" charset="0"/>
                      </a:endParaRPr>
                    </a:p>
                  </a:txBody>
                  <a:tcPr marL="91416" marR="91416" marT="45708" marB="45708" anchor="ctr">
                    <a:lnL w="12700" cap="flat" cmpd="sng" algn="ctr">
                      <a:solidFill>
                        <a:schemeClr val="accent4"/>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4"/>
                  </a:ext>
                </a:extLst>
              </a:tr>
            </a:tbl>
          </a:graphicData>
        </a:graphic>
      </p:graphicFrame>
      <p:sp>
        <p:nvSpPr>
          <p:cNvPr id="125" name="Title 124"/>
          <p:cNvSpPr>
            <a:spLocks noGrp="1"/>
          </p:cNvSpPr>
          <p:nvPr>
            <p:ph type="title"/>
          </p:nvPr>
        </p:nvSpPr>
        <p:spPr/>
        <p:txBody>
          <a:bodyPr/>
          <a:lstStyle/>
          <a:p>
            <a:r>
              <a:rPr lang="nl-NL" dirty="0"/>
              <a:t>24/7 SAFE, EFFICIENT &amp; RELIABLE ACCESS</a:t>
            </a:r>
            <a:br>
              <a:rPr lang="nl-NL" dirty="0"/>
            </a:br>
            <a:r>
              <a:rPr lang="nl-NL" b="0" dirty="0"/>
              <a:t>WITHOUT LOCKS</a:t>
            </a:r>
            <a:endParaRPr lang="en-US" b="0" dirty="0"/>
          </a:p>
        </p:txBody>
      </p:sp>
      <p:grpSp>
        <p:nvGrpSpPr>
          <p:cNvPr id="65" name="Groep 72"/>
          <p:cNvGrpSpPr/>
          <p:nvPr/>
        </p:nvGrpSpPr>
        <p:grpSpPr>
          <a:xfrm>
            <a:off x="2529190" y="2513753"/>
            <a:ext cx="2228164" cy="2979311"/>
            <a:chOff x="1990800" y="1288413"/>
            <a:chExt cx="2475135" cy="2794312"/>
          </a:xfrm>
          <a:solidFill>
            <a:schemeClr val="accent2"/>
          </a:solidFill>
          <a:effectLst>
            <a:outerShdw blurRad="76200" dir="18900000" sy="23000" kx="-1200000" algn="bl" rotWithShape="0">
              <a:prstClr val="black">
                <a:alpha val="20000"/>
              </a:prstClr>
            </a:outerShdw>
          </a:effectLst>
        </p:grpSpPr>
        <p:sp>
          <p:nvSpPr>
            <p:cNvPr id="66" name="Afgeronde rechthoek 28"/>
            <p:cNvSpPr/>
            <p:nvPr/>
          </p:nvSpPr>
          <p:spPr>
            <a:xfrm>
              <a:off x="1990800" y="2004899"/>
              <a:ext cx="2475135" cy="2077826"/>
            </a:xfrm>
            <a:custGeom>
              <a:avLst/>
              <a:gdLst>
                <a:gd name="connsiteX0" fmla="*/ 0 w 2680447"/>
                <a:gd name="connsiteY0" fmla="*/ 373427 h 2240516"/>
                <a:gd name="connsiteX1" fmla="*/ 373427 w 2680447"/>
                <a:gd name="connsiteY1" fmla="*/ 0 h 2240516"/>
                <a:gd name="connsiteX2" fmla="*/ 2307020 w 2680447"/>
                <a:gd name="connsiteY2" fmla="*/ 0 h 2240516"/>
                <a:gd name="connsiteX3" fmla="*/ 2680447 w 2680447"/>
                <a:gd name="connsiteY3" fmla="*/ 373427 h 2240516"/>
                <a:gd name="connsiteX4" fmla="*/ 2680447 w 2680447"/>
                <a:gd name="connsiteY4" fmla="*/ 1867089 h 2240516"/>
                <a:gd name="connsiteX5" fmla="*/ 2307020 w 2680447"/>
                <a:gd name="connsiteY5" fmla="*/ 2240516 h 2240516"/>
                <a:gd name="connsiteX6" fmla="*/ 373427 w 2680447"/>
                <a:gd name="connsiteY6" fmla="*/ 2240516 h 2240516"/>
                <a:gd name="connsiteX7" fmla="*/ 0 w 2680447"/>
                <a:gd name="connsiteY7" fmla="*/ 1867089 h 2240516"/>
                <a:gd name="connsiteX8" fmla="*/ 0 w 2680447"/>
                <a:gd name="connsiteY8" fmla="*/ 373427 h 2240516"/>
                <a:gd name="connsiteX0" fmla="*/ 0 w 2680447"/>
                <a:gd name="connsiteY0" fmla="*/ 373427 h 2240516"/>
                <a:gd name="connsiteX1" fmla="*/ 2307020 w 2680447"/>
                <a:gd name="connsiteY1" fmla="*/ 0 h 2240516"/>
                <a:gd name="connsiteX2" fmla="*/ 2680447 w 2680447"/>
                <a:gd name="connsiteY2" fmla="*/ 373427 h 2240516"/>
                <a:gd name="connsiteX3" fmla="*/ 2680447 w 2680447"/>
                <a:gd name="connsiteY3" fmla="*/ 1867089 h 2240516"/>
                <a:gd name="connsiteX4" fmla="*/ 2307020 w 2680447"/>
                <a:gd name="connsiteY4" fmla="*/ 2240516 h 2240516"/>
                <a:gd name="connsiteX5" fmla="*/ 373427 w 2680447"/>
                <a:gd name="connsiteY5" fmla="*/ 2240516 h 2240516"/>
                <a:gd name="connsiteX6" fmla="*/ 0 w 2680447"/>
                <a:gd name="connsiteY6" fmla="*/ 1867089 h 2240516"/>
                <a:gd name="connsiteX7" fmla="*/ 0 w 2680447"/>
                <a:gd name="connsiteY7" fmla="*/ 373427 h 2240516"/>
                <a:gd name="connsiteX0" fmla="*/ 0 w 2680447"/>
                <a:gd name="connsiteY0" fmla="*/ 0 h 1867089"/>
                <a:gd name="connsiteX1" fmla="*/ 2680447 w 2680447"/>
                <a:gd name="connsiteY1" fmla="*/ 0 h 1867089"/>
                <a:gd name="connsiteX2" fmla="*/ 2680447 w 2680447"/>
                <a:gd name="connsiteY2" fmla="*/ 1493662 h 1867089"/>
                <a:gd name="connsiteX3" fmla="*/ 2307020 w 2680447"/>
                <a:gd name="connsiteY3" fmla="*/ 1867089 h 1867089"/>
                <a:gd name="connsiteX4" fmla="*/ 373427 w 2680447"/>
                <a:gd name="connsiteY4" fmla="*/ 1867089 h 1867089"/>
                <a:gd name="connsiteX5" fmla="*/ 0 w 2680447"/>
                <a:gd name="connsiteY5" fmla="*/ 1493662 h 1867089"/>
                <a:gd name="connsiteX6" fmla="*/ 0 w 2680447"/>
                <a:gd name="connsiteY6" fmla="*/ 0 h 1867089"/>
                <a:gd name="connsiteX0" fmla="*/ 0 w 2680447"/>
                <a:gd name="connsiteY0" fmla="*/ 110526 h 1977615"/>
                <a:gd name="connsiteX1" fmla="*/ 2680447 w 2680447"/>
                <a:gd name="connsiteY1" fmla="*/ 110526 h 1977615"/>
                <a:gd name="connsiteX2" fmla="*/ 2680447 w 2680447"/>
                <a:gd name="connsiteY2" fmla="*/ 1604188 h 1977615"/>
                <a:gd name="connsiteX3" fmla="*/ 2307020 w 2680447"/>
                <a:gd name="connsiteY3" fmla="*/ 1977615 h 1977615"/>
                <a:gd name="connsiteX4" fmla="*/ 373427 w 2680447"/>
                <a:gd name="connsiteY4" fmla="*/ 1977615 h 1977615"/>
                <a:gd name="connsiteX5" fmla="*/ 0 w 2680447"/>
                <a:gd name="connsiteY5" fmla="*/ 1604188 h 1977615"/>
                <a:gd name="connsiteX6" fmla="*/ 0 w 2680447"/>
                <a:gd name="connsiteY6" fmla="*/ 110526 h 1977615"/>
                <a:gd name="connsiteX0" fmla="*/ 0 w 2680447"/>
                <a:gd name="connsiteY0" fmla="*/ 0 h 1867089"/>
                <a:gd name="connsiteX1" fmla="*/ 2680447 w 2680447"/>
                <a:gd name="connsiteY1" fmla="*/ 0 h 1867089"/>
                <a:gd name="connsiteX2" fmla="*/ 2680447 w 2680447"/>
                <a:gd name="connsiteY2" fmla="*/ 1493662 h 1867089"/>
                <a:gd name="connsiteX3" fmla="*/ 2307020 w 2680447"/>
                <a:gd name="connsiteY3" fmla="*/ 1867089 h 1867089"/>
                <a:gd name="connsiteX4" fmla="*/ 373427 w 2680447"/>
                <a:gd name="connsiteY4" fmla="*/ 1867089 h 1867089"/>
                <a:gd name="connsiteX5" fmla="*/ 0 w 2680447"/>
                <a:gd name="connsiteY5" fmla="*/ 1493662 h 1867089"/>
                <a:gd name="connsiteX6" fmla="*/ 0 w 2680447"/>
                <a:gd name="connsiteY6" fmla="*/ 0 h 186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0447" h="1867089">
                  <a:moveTo>
                    <a:pt x="0" y="0"/>
                  </a:moveTo>
                  <a:lnTo>
                    <a:pt x="2680447" y="0"/>
                  </a:lnTo>
                  <a:lnTo>
                    <a:pt x="2680447" y="1493662"/>
                  </a:lnTo>
                  <a:cubicBezTo>
                    <a:pt x="2680447" y="1699900"/>
                    <a:pt x="2513258" y="1867089"/>
                    <a:pt x="2307020" y="1867089"/>
                  </a:cubicBezTo>
                  <a:lnTo>
                    <a:pt x="373427" y="1867089"/>
                  </a:lnTo>
                  <a:cubicBezTo>
                    <a:pt x="167189" y="1867089"/>
                    <a:pt x="0" y="1699900"/>
                    <a:pt x="0" y="1493662"/>
                  </a:cubicBez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nl-NL" sz="1400" dirty="0">
                <a:solidFill>
                  <a:srgbClr val="001F4B"/>
                </a:solidFill>
                <a:latin typeface="Futura Std Medium" charset="0"/>
                <a:ea typeface="Futura Std Medium" charset="0"/>
                <a:cs typeface="Futura Std Medium" charset="0"/>
              </a:endParaRPr>
            </a:p>
            <a:p>
              <a:pPr algn="ctr"/>
              <a:endParaRPr lang="nl-NL" sz="1400" dirty="0">
                <a:solidFill>
                  <a:srgbClr val="001F4B"/>
                </a:solidFill>
                <a:latin typeface="Futura Std Medium" charset="0"/>
                <a:ea typeface="Futura Std Medium" charset="0"/>
                <a:cs typeface="Futura Std Medium" charset="0"/>
              </a:endParaRPr>
            </a:p>
            <a:p>
              <a:pPr algn="ctr"/>
              <a:r>
                <a:rPr lang="nl-NL" sz="1400" dirty="0">
                  <a:solidFill>
                    <a:srgbClr val="001F4B"/>
                  </a:solidFill>
                  <a:ea typeface="Futura Std Medium" charset="0"/>
                  <a:cs typeface="Futura Std Medium" charset="0"/>
                </a:rPr>
                <a:t>8,000 TEU</a:t>
              </a:r>
            </a:p>
            <a:p>
              <a:pPr algn="ctr"/>
              <a:r>
                <a:rPr lang="nl-NL" sz="1400" dirty="0">
                  <a:solidFill>
                    <a:srgbClr val="001F4B"/>
                  </a:solidFill>
                  <a:ea typeface="Futura Std Medium" charset="0"/>
                  <a:cs typeface="Futura Std Medium" charset="0"/>
                </a:rPr>
                <a:t>Draft 14.50 m</a:t>
              </a:r>
            </a:p>
          </p:txBody>
        </p:sp>
        <p:grpSp>
          <p:nvGrpSpPr>
            <p:cNvPr id="67" name="Groep 74"/>
            <p:cNvGrpSpPr/>
            <p:nvPr/>
          </p:nvGrpSpPr>
          <p:grpSpPr>
            <a:xfrm>
              <a:off x="2025629" y="1532143"/>
              <a:ext cx="2402772" cy="472756"/>
              <a:chOff x="2011340" y="1532143"/>
              <a:chExt cx="2402772" cy="472756"/>
            </a:xfrm>
            <a:grpFill/>
          </p:grpSpPr>
          <p:grpSp>
            <p:nvGrpSpPr>
              <p:cNvPr id="80" name="Groep 87"/>
              <p:cNvGrpSpPr/>
              <p:nvPr/>
            </p:nvGrpSpPr>
            <p:grpSpPr>
              <a:xfrm>
                <a:off x="2497197" y="1532143"/>
                <a:ext cx="1916915" cy="472756"/>
                <a:chOff x="729121" y="1601443"/>
                <a:chExt cx="1916915" cy="472756"/>
              </a:xfrm>
              <a:grpFill/>
            </p:grpSpPr>
            <p:sp>
              <p:nvSpPr>
                <p:cNvPr id="85" name="Rechthoek 92"/>
                <p:cNvSpPr/>
                <p:nvPr/>
              </p:nvSpPr>
              <p:spPr>
                <a:xfrm>
                  <a:off x="729121"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86" name="Rechthoek 93"/>
                <p:cNvSpPr/>
                <p:nvPr/>
              </p:nvSpPr>
              <p:spPr>
                <a:xfrm>
                  <a:off x="972537"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87" name="Rechthoek 94"/>
                <p:cNvSpPr/>
                <p:nvPr/>
              </p:nvSpPr>
              <p:spPr>
                <a:xfrm>
                  <a:off x="1216906"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88" name="Rechthoek 95"/>
                <p:cNvSpPr/>
                <p:nvPr/>
              </p:nvSpPr>
              <p:spPr>
                <a:xfrm>
                  <a:off x="1461275"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89" name="Rechthoek 96"/>
                <p:cNvSpPr/>
                <p:nvPr/>
              </p:nvSpPr>
              <p:spPr>
                <a:xfrm>
                  <a:off x="1705644"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90" name="Rechthoek 97"/>
                <p:cNvSpPr/>
                <p:nvPr/>
              </p:nvSpPr>
              <p:spPr>
                <a:xfrm>
                  <a:off x="1950013"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91" name="Rechthoek 98"/>
                <p:cNvSpPr/>
                <p:nvPr/>
              </p:nvSpPr>
              <p:spPr>
                <a:xfrm>
                  <a:off x="2194380"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92" name="Rechthoek 99"/>
                <p:cNvSpPr/>
                <p:nvPr/>
              </p:nvSpPr>
              <p:spPr>
                <a:xfrm>
                  <a:off x="2433031"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93" name="Rechthoek 100"/>
                <p:cNvSpPr/>
                <p:nvPr/>
              </p:nvSpPr>
              <p:spPr>
                <a:xfrm>
                  <a:off x="729121"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94" name="Rechthoek 101"/>
                <p:cNvSpPr/>
                <p:nvPr/>
              </p:nvSpPr>
              <p:spPr>
                <a:xfrm>
                  <a:off x="972537"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95" name="Rechthoek 102"/>
                <p:cNvSpPr/>
                <p:nvPr/>
              </p:nvSpPr>
              <p:spPr>
                <a:xfrm>
                  <a:off x="1216906"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96" name="Rechthoek 103"/>
                <p:cNvSpPr/>
                <p:nvPr/>
              </p:nvSpPr>
              <p:spPr>
                <a:xfrm>
                  <a:off x="1461275"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97" name="Rechthoek 104"/>
                <p:cNvSpPr/>
                <p:nvPr/>
              </p:nvSpPr>
              <p:spPr>
                <a:xfrm>
                  <a:off x="1705644"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98" name="Rechthoek 105"/>
                <p:cNvSpPr/>
                <p:nvPr/>
              </p:nvSpPr>
              <p:spPr>
                <a:xfrm>
                  <a:off x="1950013"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99" name="Rechthoek 106"/>
                <p:cNvSpPr/>
                <p:nvPr/>
              </p:nvSpPr>
              <p:spPr>
                <a:xfrm>
                  <a:off x="2194380"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100" name="Rechthoek 107"/>
                <p:cNvSpPr/>
                <p:nvPr/>
              </p:nvSpPr>
              <p:spPr>
                <a:xfrm>
                  <a:off x="2433031"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grpSp>
          <p:sp>
            <p:nvSpPr>
              <p:cNvPr id="81" name="Rechthoek 88"/>
              <p:cNvSpPr/>
              <p:nvPr/>
            </p:nvSpPr>
            <p:spPr>
              <a:xfrm>
                <a:off x="2011340" y="17754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82" name="Rechthoek 89"/>
              <p:cNvSpPr/>
              <p:nvPr/>
            </p:nvSpPr>
            <p:spPr>
              <a:xfrm>
                <a:off x="2254756" y="17754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83" name="Rechthoek 90"/>
              <p:cNvSpPr/>
              <p:nvPr/>
            </p:nvSpPr>
            <p:spPr>
              <a:xfrm>
                <a:off x="2011340" y="15321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84" name="Rechthoek 91"/>
              <p:cNvSpPr/>
              <p:nvPr/>
            </p:nvSpPr>
            <p:spPr>
              <a:xfrm>
                <a:off x="2254756" y="15321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grpSp>
        <p:grpSp>
          <p:nvGrpSpPr>
            <p:cNvPr id="68" name="Groep 75"/>
            <p:cNvGrpSpPr/>
            <p:nvPr/>
          </p:nvGrpSpPr>
          <p:grpSpPr>
            <a:xfrm>
              <a:off x="2025629" y="1288413"/>
              <a:ext cx="2402772" cy="229441"/>
              <a:chOff x="2011340" y="1775458"/>
              <a:chExt cx="2402772" cy="229441"/>
            </a:xfrm>
            <a:grpFill/>
          </p:grpSpPr>
          <p:grpSp>
            <p:nvGrpSpPr>
              <p:cNvPr id="69" name="Groep 76"/>
              <p:cNvGrpSpPr/>
              <p:nvPr/>
            </p:nvGrpSpPr>
            <p:grpSpPr>
              <a:xfrm>
                <a:off x="2497197" y="1775458"/>
                <a:ext cx="1916915" cy="229441"/>
                <a:chOff x="729121" y="1844758"/>
                <a:chExt cx="1916915" cy="229441"/>
              </a:xfrm>
              <a:grpFill/>
            </p:grpSpPr>
            <p:sp>
              <p:nvSpPr>
                <p:cNvPr id="72" name="Rechthoek 79"/>
                <p:cNvSpPr/>
                <p:nvPr/>
              </p:nvSpPr>
              <p:spPr>
                <a:xfrm>
                  <a:off x="729121"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73" name="Rechthoek 80"/>
                <p:cNvSpPr/>
                <p:nvPr/>
              </p:nvSpPr>
              <p:spPr>
                <a:xfrm>
                  <a:off x="972537"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74" name="Rechthoek 81"/>
                <p:cNvSpPr/>
                <p:nvPr/>
              </p:nvSpPr>
              <p:spPr>
                <a:xfrm>
                  <a:off x="1216906"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75" name="Rechthoek 82"/>
                <p:cNvSpPr/>
                <p:nvPr/>
              </p:nvSpPr>
              <p:spPr>
                <a:xfrm>
                  <a:off x="1461275"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76" name="Rechthoek 83"/>
                <p:cNvSpPr/>
                <p:nvPr/>
              </p:nvSpPr>
              <p:spPr>
                <a:xfrm>
                  <a:off x="1705644"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77" name="Rechthoek 84"/>
                <p:cNvSpPr/>
                <p:nvPr/>
              </p:nvSpPr>
              <p:spPr>
                <a:xfrm>
                  <a:off x="1950013"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78" name="Rechthoek 85"/>
                <p:cNvSpPr/>
                <p:nvPr/>
              </p:nvSpPr>
              <p:spPr>
                <a:xfrm>
                  <a:off x="2194380"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79" name="Rechthoek 86"/>
                <p:cNvSpPr/>
                <p:nvPr/>
              </p:nvSpPr>
              <p:spPr>
                <a:xfrm>
                  <a:off x="2433031"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grpSp>
          <p:sp>
            <p:nvSpPr>
              <p:cNvPr id="70" name="Rechthoek 77"/>
              <p:cNvSpPr/>
              <p:nvPr/>
            </p:nvSpPr>
            <p:spPr>
              <a:xfrm>
                <a:off x="2011340" y="17754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71" name="Rechthoek 78"/>
              <p:cNvSpPr/>
              <p:nvPr/>
            </p:nvSpPr>
            <p:spPr>
              <a:xfrm>
                <a:off x="2254756" y="17754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grpSp>
      </p:grpSp>
      <p:grpSp>
        <p:nvGrpSpPr>
          <p:cNvPr id="8" name="Groep 14"/>
          <p:cNvGrpSpPr/>
          <p:nvPr/>
        </p:nvGrpSpPr>
        <p:grpSpPr>
          <a:xfrm>
            <a:off x="4945763" y="2207412"/>
            <a:ext cx="2711589" cy="3453257"/>
            <a:chOff x="3693457" y="991855"/>
            <a:chExt cx="3012143" cy="3238829"/>
          </a:xfrm>
          <a:solidFill>
            <a:schemeClr val="bg2"/>
          </a:solidFill>
        </p:grpSpPr>
        <p:sp>
          <p:nvSpPr>
            <p:cNvPr id="9" name="Afgeronde rechthoek 28"/>
            <p:cNvSpPr/>
            <p:nvPr/>
          </p:nvSpPr>
          <p:spPr>
            <a:xfrm>
              <a:off x="3693457" y="1950915"/>
              <a:ext cx="3012143" cy="2279769"/>
            </a:xfrm>
            <a:custGeom>
              <a:avLst/>
              <a:gdLst>
                <a:gd name="connsiteX0" fmla="*/ 0 w 2680447"/>
                <a:gd name="connsiteY0" fmla="*/ 373427 h 2240516"/>
                <a:gd name="connsiteX1" fmla="*/ 373427 w 2680447"/>
                <a:gd name="connsiteY1" fmla="*/ 0 h 2240516"/>
                <a:gd name="connsiteX2" fmla="*/ 2307020 w 2680447"/>
                <a:gd name="connsiteY2" fmla="*/ 0 h 2240516"/>
                <a:gd name="connsiteX3" fmla="*/ 2680447 w 2680447"/>
                <a:gd name="connsiteY3" fmla="*/ 373427 h 2240516"/>
                <a:gd name="connsiteX4" fmla="*/ 2680447 w 2680447"/>
                <a:gd name="connsiteY4" fmla="*/ 1867089 h 2240516"/>
                <a:gd name="connsiteX5" fmla="*/ 2307020 w 2680447"/>
                <a:gd name="connsiteY5" fmla="*/ 2240516 h 2240516"/>
                <a:gd name="connsiteX6" fmla="*/ 373427 w 2680447"/>
                <a:gd name="connsiteY6" fmla="*/ 2240516 h 2240516"/>
                <a:gd name="connsiteX7" fmla="*/ 0 w 2680447"/>
                <a:gd name="connsiteY7" fmla="*/ 1867089 h 2240516"/>
                <a:gd name="connsiteX8" fmla="*/ 0 w 2680447"/>
                <a:gd name="connsiteY8" fmla="*/ 373427 h 2240516"/>
                <a:gd name="connsiteX0" fmla="*/ 0 w 2680447"/>
                <a:gd name="connsiteY0" fmla="*/ 373427 h 2240516"/>
                <a:gd name="connsiteX1" fmla="*/ 2307020 w 2680447"/>
                <a:gd name="connsiteY1" fmla="*/ 0 h 2240516"/>
                <a:gd name="connsiteX2" fmla="*/ 2680447 w 2680447"/>
                <a:gd name="connsiteY2" fmla="*/ 373427 h 2240516"/>
                <a:gd name="connsiteX3" fmla="*/ 2680447 w 2680447"/>
                <a:gd name="connsiteY3" fmla="*/ 1867089 h 2240516"/>
                <a:gd name="connsiteX4" fmla="*/ 2307020 w 2680447"/>
                <a:gd name="connsiteY4" fmla="*/ 2240516 h 2240516"/>
                <a:gd name="connsiteX5" fmla="*/ 373427 w 2680447"/>
                <a:gd name="connsiteY5" fmla="*/ 2240516 h 2240516"/>
                <a:gd name="connsiteX6" fmla="*/ 0 w 2680447"/>
                <a:gd name="connsiteY6" fmla="*/ 1867089 h 2240516"/>
                <a:gd name="connsiteX7" fmla="*/ 0 w 2680447"/>
                <a:gd name="connsiteY7" fmla="*/ 373427 h 2240516"/>
                <a:gd name="connsiteX0" fmla="*/ 0 w 2680447"/>
                <a:gd name="connsiteY0" fmla="*/ 0 h 1867089"/>
                <a:gd name="connsiteX1" fmla="*/ 2680447 w 2680447"/>
                <a:gd name="connsiteY1" fmla="*/ 0 h 1867089"/>
                <a:gd name="connsiteX2" fmla="*/ 2680447 w 2680447"/>
                <a:gd name="connsiteY2" fmla="*/ 1493662 h 1867089"/>
                <a:gd name="connsiteX3" fmla="*/ 2307020 w 2680447"/>
                <a:gd name="connsiteY3" fmla="*/ 1867089 h 1867089"/>
                <a:gd name="connsiteX4" fmla="*/ 373427 w 2680447"/>
                <a:gd name="connsiteY4" fmla="*/ 1867089 h 1867089"/>
                <a:gd name="connsiteX5" fmla="*/ 0 w 2680447"/>
                <a:gd name="connsiteY5" fmla="*/ 1493662 h 1867089"/>
                <a:gd name="connsiteX6" fmla="*/ 0 w 2680447"/>
                <a:gd name="connsiteY6" fmla="*/ 0 h 1867089"/>
                <a:gd name="connsiteX0" fmla="*/ 0 w 2680447"/>
                <a:gd name="connsiteY0" fmla="*/ 110526 h 1977615"/>
                <a:gd name="connsiteX1" fmla="*/ 2680447 w 2680447"/>
                <a:gd name="connsiteY1" fmla="*/ 110526 h 1977615"/>
                <a:gd name="connsiteX2" fmla="*/ 2680447 w 2680447"/>
                <a:gd name="connsiteY2" fmla="*/ 1604188 h 1977615"/>
                <a:gd name="connsiteX3" fmla="*/ 2307020 w 2680447"/>
                <a:gd name="connsiteY3" fmla="*/ 1977615 h 1977615"/>
                <a:gd name="connsiteX4" fmla="*/ 373427 w 2680447"/>
                <a:gd name="connsiteY4" fmla="*/ 1977615 h 1977615"/>
                <a:gd name="connsiteX5" fmla="*/ 0 w 2680447"/>
                <a:gd name="connsiteY5" fmla="*/ 1604188 h 1977615"/>
                <a:gd name="connsiteX6" fmla="*/ 0 w 2680447"/>
                <a:gd name="connsiteY6" fmla="*/ 110526 h 1977615"/>
                <a:gd name="connsiteX0" fmla="*/ 0 w 2680447"/>
                <a:gd name="connsiteY0" fmla="*/ 0 h 1867089"/>
                <a:gd name="connsiteX1" fmla="*/ 2680447 w 2680447"/>
                <a:gd name="connsiteY1" fmla="*/ 0 h 1867089"/>
                <a:gd name="connsiteX2" fmla="*/ 2680447 w 2680447"/>
                <a:gd name="connsiteY2" fmla="*/ 1493662 h 1867089"/>
                <a:gd name="connsiteX3" fmla="*/ 2307020 w 2680447"/>
                <a:gd name="connsiteY3" fmla="*/ 1867089 h 1867089"/>
                <a:gd name="connsiteX4" fmla="*/ 373427 w 2680447"/>
                <a:gd name="connsiteY4" fmla="*/ 1867089 h 1867089"/>
                <a:gd name="connsiteX5" fmla="*/ 0 w 2680447"/>
                <a:gd name="connsiteY5" fmla="*/ 1493662 h 1867089"/>
                <a:gd name="connsiteX6" fmla="*/ 0 w 2680447"/>
                <a:gd name="connsiteY6" fmla="*/ 0 h 186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0447" h="1867089">
                  <a:moveTo>
                    <a:pt x="0" y="0"/>
                  </a:moveTo>
                  <a:lnTo>
                    <a:pt x="2680447" y="0"/>
                  </a:lnTo>
                  <a:lnTo>
                    <a:pt x="2680447" y="1493662"/>
                  </a:lnTo>
                  <a:cubicBezTo>
                    <a:pt x="2680447" y="1699900"/>
                    <a:pt x="2513258" y="1867089"/>
                    <a:pt x="2307020" y="1867089"/>
                  </a:cubicBezTo>
                  <a:lnTo>
                    <a:pt x="373427" y="1867089"/>
                  </a:lnTo>
                  <a:cubicBezTo>
                    <a:pt x="167189" y="1867089"/>
                    <a:pt x="0" y="1699900"/>
                    <a:pt x="0" y="1493662"/>
                  </a:cubicBezTo>
                  <a:lnTo>
                    <a:pt x="0" y="0"/>
                  </a:lnTo>
                  <a:close/>
                </a:path>
              </a:pathLst>
            </a:custGeom>
            <a:grp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nl-NL" sz="1400" dirty="0">
                <a:solidFill>
                  <a:srgbClr val="001F4B"/>
                </a:solidFill>
                <a:latin typeface="Futura Std Medium" charset="0"/>
                <a:ea typeface="Futura Std Medium" charset="0"/>
                <a:cs typeface="Futura Std Medium" charset="0"/>
              </a:endParaRPr>
            </a:p>
            <a:p>
              <a:pPr algn="ctr"/>
              <a:r>
                <a:rPr lang="nl-NL" sz="1400" dirty="0">
                  <a:solidFill>
                    <a:srgbClr val="001F4B"/>
                  </a:solidFill>
                  <a:ea typeface="Futura Std Medium" charset="0"/>
                  <a:cs typeface="Futura Std Medium" charset="0"/>
                </a:rPr>
                <a:t>≥ 23,000 TEU</a:t>
              </a:r>
            </a:p>
            <a:p>
              <a:pPr algn="ctr"/>
              <a:r>
                <a:rPr lang="nl-NL" sz="1400" dirty="0">
                  <a:solidFill>
                    <a:srgbClr val="001F4B"/>
                  </a:solidFill>
                  <a:ea typeface="Futura Std Medium" charset="0"/>
                  <a:cs typeface="Futura Std Medium" charset="0"/>
                </a:rPr>
                <a:t>Draft 19.65 m</a:t>
              </a:r>
            </a:p>
          </p:txBody>
        </p:sp>
        <p:grpSp>
          <p:nvGrpSpPr>
            <p:cNvPr id="10" name="Groep 16"/>
            <p:cNvGrpSpPr/>
            <p:nvPr/>
          </p:nvGrpSpPr>
          <p:grpSpPr>
            <a:xfrm>
              <a:off x="3758975" y="1479785"/>
              <a:ext cx="2885613" cy="478404"/>
              <a:chOff x="3782790" y="1479785"/>
              <a:chExt cx="2885613" cy="478404"/>
            </a:xfrm>
            <a:grpFill/>
          </p:grpSpPr>
          <p:grpSp>
            <p:nvGrpSpPr>
              <p:cNvPr id="39" name="Groep 44"/>
              <p:cNvGrpSpPr/>
              <p:nvPr/>
            </p:nvGrpSpPr>
            <p:grpSpPr>
              <a:xfrm>
                <a:off x="4265631" y="1479785"/>
                <a:ext cx="2402772" cy="472756"/>
                <a:chOff x="2011340" y="1532143"/>
                <a:chExt cx="2402772" cy="472756"/>
              </a:xfrm>
              <a:grpFill/>
            </p:grpSpPr>
            <p:grpSp>
              <p:nvGrpSpPr>
                <p:cNvPr id="44" name="Groep 49"/>
                <p:cNvGrpSpPr/>
                <p:nvPr/>
              </p:nvGrpSpPr>
              <p:grpSpPr>
                <a:xfrm>
                  <a:off x="2497197" y="1532143"/>
                  <a:ext cx="1916915" cy="472756"/>
                  <a:chOff x="729121" y="1601443"/>
                  <a:chExt cx="1916915" cy="472756"/>
                </a:xfrm>
                <a:grpFill/>
              </p:grpSpPr>
              <p:sp>
                <p:nvSpPr>
                  <p:cNvPr id="49" name="Rechthoek 54"/>
                  <p:cNvSpPr/>
                  <p:nvPr/>
                </p:nvSpPr>
                <p:spPr>
                  <a:xfrm>
                    <a:off x="729121"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50" name="Rechthoek 55"/>
                  <p:cNvSpPr/>
                  <p:nvPr/>
                </p:nvSpPr>
                <p:spPr>
                  <a:xfrm>
                    <a:off x="972537"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51" name="Rechthoek 56"/>
                  <p:cNvSpPr/>
                  <p:nvPr/>
                </p:nvSpPr>
                <p:spPr>
                  <a:xfrm>
                    <a:off x="1216906"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52" name="Rechthoek 57"/>
                  <p:cNvSpPr/>
                  <p:nvPr/>
                </p:nvSpPr>
                <p:spPr>
                  <a:xfrm>
                    <a:off x="1461275"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53" name="Rechthoek 58"/>
                  <p:cNvSpPr/>
                  <p:nvPr/>
                </p:nvSpPr>
                <p:spPr>
                  <a:xfrm>
                    <a:off x="1705644"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54" name="Rechthoek 59"/>
                  <p:cNvSpPr/>
                  <p:nvPr/>
                </p:nvSpPr>
                <p:spPr>
                  <a:xfrm>
                    <a:off x="1950013"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55" name="Rechthoek 60"/>
                  <p:cNvSpPr/>
                  <p:nvPr/>
                </p:nvSpPr>
                <p:spPr>
                  <a:xfrm>
                    <a:off x="2194380"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56" name="Rechthoek 61"/>
                  <p:cNvSpPr/>
                  <p:nvPr/>
                </p:nvSpPr>
                <p:spPr>
                  <a:xfrm>
                    <a:off x="2433031"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57" name="Rechthoek 62"/>
                  <p:cNvSpPr/>
                  <p:nvPr/>
                </p:nvSpPr>
                <p:spPr>
                  <a:xfrm>
                    <a:off x="729121"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58" name="Rechthoek 63"/>
                  <p:cNvSpPr/>
                  <p:nvPr/>
                </p:nvSpPr>
                <p:spPr>
                  <a:xfrm>
                    <a:off x="972537"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59" name="Rechthoek 64"/>
                  <p:cNvSpPr/>
                  <p:nvPr/>
                </p:nvSpPr>
                <p:spPr>
                  <a:xfrm>
                    <a:off x="1216906"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60" name="Rechthoek 65"/>
                  <p:cNvSpPr/>
                  <p:nvPr/>
                </p:nvSpPr>
                <p:spPr>
                  <a:xfrm>
                    <a:off x="1461275"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61" name="Rechthoek 66"/>
                  <p:cNvSpPr/>
                  <p:nvPr/>
                </p:nvSpPr>
                <p:spPr>
                  <a:xfrm>
                    <a:off x="1705644"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62" name="Rechthoek 67"/>
                  <p:cNvSpPr/>
                  <p:nvPr/>
                </p:nvSpPr>
                <p:spPr>
                  <a:xfrm>
                    <a:off x="1950013"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63" name="Rechthoek 68"/>
                  <p:cNvSpPr/>
                  <p:nvPr/>
                </p:nvSpPr>
                <p:spPr>
                  <a:xfrm>
                    <a:off x="2194380"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64" name="Rechthoek 69"/>
                  <p:cNvSpPr/>
                  <p:nvPr/>
                </p:nvSpPr>
                <p:spPr>
                  <a:xfrm>
                    <a:off x="2433031"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grpSp>
            <p:sp>
              <p:nvSpPr>
                <p:cNvPr id="45" name="Rechthoek 50"/>
                <p:cNvSpPr/>
                <p:nvPr/>
              </p:nvSpPr>
              <p:spPr>
                <a:xfrm>
                  <a:off x="2011340" y="17754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46" name="Rechthoek 51"/>
                <p:cNvSpPr/>
                <p:nvPr/>
              </p:nvSpPr>
              <p:spPr>
                <a:xfrm>
                  <a:off x="2254756" y="17754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47" name="Rechthoek 52"/>
                <p:cNvSpPr/>
                <p:nvPr/>
              </p:nvSpPr>
              <p:spPr>
                <a:xfrm>
                  <a:off x="2011340" y="15321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48" name="Rechthoek 53"/>
                <p:cNvSpPr/>
                <p:nvPr/>
              </p:nvSpPr>
              <p:spPr>
                <a:xfrm>
                  <a:off x="2254756" y="15321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grpSp>
          <p:sp>
            <p:nvSpPr>
              <p:cNvPr id="40" name="Rechthoek 45"/>
              <p:cNvSpPr/>
              <p:nvPr/>
            </p:nvSpPr>
            <p:spPr>
              <a:xfrm>
                <a:off x="3782790" y="172874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41" name="Rechthoek 46"/>
              <p:cNvSpPr/>
              <p:nvPr/>
            </p:nvSpPr>
            <p:spPr>
              <a:xfrm>
                <a:off x="4026206" y="172874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42" name="Rechthoek 47"/>
              <p:cNvSpPr/>
              <p:nvPr/>
            </p:nvSpPr>
            <p:spPr>
              <a:xfrm>
                <a:off x="3782790" y="148543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43" name="Rechthoek 48"/>
              <p:cNvSpPr/>
              <p:nvPr/>
            </p:nvSpPr>
            <p:spPr>
              <a:xfrm>
                <a:off x="4026206" y="148543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grpSp>
        <p:grpSp>
          <p:nvGrpSpPr>
            <p:cNvPr id="12" name="Groep 17"/>
            <p:cNvGrpSpPr/>
            <p:nvPr/>
          </p:nvGrpSpPr>
          <p:grpSpPr>
            <a:xfrm>
              <a:off x="3759599" y="991855"/>
              <a:ext cx="2885613" cy="478404"/>
              <a:chOff x="3782790" y="1479785"/>
              <a:chExt cx="2885613" cy="478404"/>
            </a:xfrm>
            <a:grpFill/>
          </p:grpSpPr>
          <p:grpSp>
            <p:nvGrpSpPr>
              <p:cNvPr id="13" name="Groep 18"/>
              <p:cNvGrpSpPr/>
              <p:nvPr/>
            </p:nvGrpSpPr>
            <p:grpSpPr>
              <a:xfrm>
                <a:off x="4265631" y="1479785"/>
                <a:ext cx="2402772" cy="472756"/>
                <a:chOff x="2011340" y="1532143"/>
                <a:chExt cx="2402772" cy="472756"/>
              </a:xfrm>
              <a:grpFill/>
            </p:grpSpPr>
            <p:grpSp>
              <p:nvGrpSpPr>
                <p:cNvPr id="18" name="Groep 23"/>
                <p:cNvGrpSpPr/>
                <p:nvPr/>
              </p:nvGrpSpPr>
              <p:grpSpPr>
                <a:xfrm>
                  <a:off x="2497197" y="1532143"/>
                  <a:ext cx="1916915" cy="472756"/>
                  <a:chOff x="729121" y="1601443"/>
                  <a:chExt cx="1916915" cy="472756"/>
                </a:xfrm>
                <a:grpFill/>
              </p:grpSpPr>
              <p:sp>
                <p:nvSpPr>
                  <p:cNvPr id="23" name="Rechthoek 28"/>
                  <p:cNvSpPr/>
                  <p:nvPr/>
                </p:nvSpPr>
                <p:spPr>
                  <a:xfrm>
                    <a:off x="729121"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24" name="Rechthoek 29"/>
                  <p:cNvSpPr/>
                  <p:nvPr/>
                </p:nvSpPr>
                <p:spPr>
                  <a:xfrm>
                    <a:off x="972537"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25" name="Rechthoek 30"/>
                  <p:cNvSpPr/>
                  <p:nvPr/>
                </p:nvSpPr>
                <p:spPr>
                  <a:xfrm>
                    <a:off x="1216906"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26" name="Rechthoek 31"/>
                  <p:cNvSpPr/>
                  <p:nvPr/>
                </p:nvSpPr>
                <p:spPr>
                  <a:xfrm>
                    <a:off x="1461275"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27" name="Rechthoek 32"/>
                  <p:cNvSpPr/>
                  <p:nvPr/>
                </p:nvSpPr>
                <p:spPr>
                  <a:xfrm>
                    <a:off x="1705644"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28" name="Rechthoek 33"/>
                  <p:cNvSpPr/>
                  <p:nvPr/>
                </p:nvSpPr>
                <p:spPr>
                  <a:xfrm>
                    <a:off x="1950013"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29" name="Rechthoek 34"/>
                  <p:cNvSpPr/>
                  <p:nvPr/>
                </p:nvSpPr>
                <p:spPr>
                  <a:xfrm>
                    <a:off x="2194380"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30" name="Rechthoek 35"/>
                  <p:cNvSpPr/>
                  <p:nvPr/>
                </p:nvSpPr>
                <p:spPr>
                  <a:xfrm>
                    <a:off x="2433031" y="18447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31" name="Rechthoek 36"/>
                  <p:cNvSpPr/>
                  <p:nvPr/>
                </p:nvSpPr>
                <p:spPr>
                  <a:xfrm>
                    <a:off x="729121"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32" name="Rechthoek 37"/>
                  <p:cNvSpPr/>
                  <p:nvPr/>
                </p:nvSpPr>
                <p:spPr>
                  <a:xfrm>
                    <a:off x="972537"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33" name="Rechthoek 38"/>
                  <p:cNvSpPr/>
                  <p:nvPr/>
                </p:nvSpPr>
                <p:spPr>
                  <a:xfrm>
                    <a:off x="1216906"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34" name="Rechthoek 39"/>
                  <p:cNvSpPr/>
                  <p:nvPr/>
                </p:nvSpPr>
                <p:spPr>
                  <a:xfrm>
                    <a:off x="1461275"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35" name="Rechthoek 40"/>
                  <p:cNvSpPr/>
                  <p:nvPr/>
                </p:nvSpPr>
                <p:spPr>
                  <a:xfrm>
                    <a:off x="1705644"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36" name="Rechthoek 41"/>
                  <p:cNvSpPr/>
                  <p:nvPr/>
                </p:nvSpPr>
                <p:spPr>
                  <a:xfrm>
                    <a:off x="1950013"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37" name="Rechthoek 42"/>
                  <p:cNvSpPr/>
                  <p:nvPr/>
                </p:nvSpPr>
                <p:spPr>
                  <a:xfrm>
                    <a:off x="2194380"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38" name="Rechthoek 43"/>
                  <p:cNvSpPr/>
                  <p:nvPr/>
                </p:nvSpPr>
                <p:spPr>
                  <a:xfrm>
                    <a:off x="2433031" y="16014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grpSp>
            <p:sp>
              <p:nvSpPr>
                <p:cNvPr id="19" name="Rechthoek 24"/>
                <p:cNvSpPr/>
                <p:nvPr/>
              </p:nvSpPr>
              <p:spPr>
                <a:xfrm>
                  <a:off x="2011340" y="17754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20" name="Rechthoek 25"/>
                <p:cNvSpPr/>
                <p:nvPr/>
              </p:nvSpPr>
              <p:spPr>
                <a:xfrm>
                  <a:off x="2254756" y="177545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21" name="Rechthoek 26"/>
                <p:cNvSpPr/>
                <p:nvPr/>
              </p:nvSpPr>
              <p:spPr>
                <a:xfrm>
                  <a:off x="2011340" y="15321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22" name="Rechthoek 27"/>
                <p:cNvSpPr/>
                <p:nvPr/>
              </p:nvSpPr>
              <p:spPr>
                <a:xfrm>
                  <a:off x="2254756" y="153214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grpSp>
          <p:sp>
            <p:nvSpPr>
              <p:cNvPr id="14" name="Rechthoek 19"/>
              <p:cNvSpPr/>
              <p:nvPr/>
            </p:nvSpPr>
            <p:spPr>
              <a:xfrm>
                <a:off x="3782790" y="172874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15" name="Rechthoek 20"/>
              <p:cNvSpPr/>
              <p:nvPr/>
            </p:nvSpPr>
            <p:spPr>
              <a:xfrm>
                <a:off x="4026206" y="1728748"/>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16" name="Rechthoek 21"/>
              <p:cNvSpPr/>
              <p:nvPr/>
            </p:nvSpPr>
            <p:spPr>
              <a:xfrm>
                <a:off x="3782790" y="148543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sp>
            <p:nvSpPr>
              <p:cNvPr id="17" name="Rechthoek 22"/>
              <p:cNvSpPr/>
              <p:nvPr/>
            </p:nvSpPr>
            <p:spPr>
              <a:xfrm>
                <a:off x="4026206" y="1485433"/>
                <a:ext cx="213005" cy="229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nl-NL" sz="1800" dirty="0">
                  <a:solidFill>
                    <a:prstClr val="white"/>
                  </a:solidFill>
                  <a:latin typeface="Futura Std Medium" charset="0"/>
                  <a:ea typeface="Futura Std Medium" charset="0"/>
                  <a:cs typeface="Futura Std Medium" charset="0"/>
                </a:endParaRPr>
              </a:p>
            </p:txBody>
          </p:sp>
        </p:grpSp>
      </p:grpSp>
      <p:sp>
        <p:nvSpPr>
          <p:cNvPr id="2" name="Tijdelijke aanduiding voor datum 1">
            <a:extLst>
              <a:ext uri="{FF2B5EF4-FFF2-40B4-BE49-F238E27FC236}">
                <a16:creationId xmlns:a16="http://schemas.microsoft.com/office/drawing/2014/main" id="{38F7063F-049A-415B-858A-86CA95F6190E}"/>
              </a:ext>
            </a:extLst>
          </p:cNvPr>
          <p:cNvSpPr>
            <a:spLocks noGrp="1"/>
          </p:cNvSpPr>
          <p:nvPr>
            <p:ph type="dt" sz="half" idx="10"/>
          </p:nvPr>
        </p:nvSpPr>
        <p:spPr/>
        <p:txBody>
          <a:bodyPr/>
          <a:lstStyle/>
          <a:p>
            <a:fld id="{23FBDBB8-88B4-486E-9286-460812340FEB}" type="datetime4">
              <a:rPr lang="en-GB" smtClean="0"/>
              <a:t>29 May 2020</a:t>
            </a:fld>
            <a:endParaRPr lang="en-GB" dirty="0"/>
          </a:p>
        </p:txBody>
      </p:sp>
      <p:sp>
        <p:nvSpPr>
          <p:cNvPr id="3" name="Tijdelijke aanduiding voor voettekst 2">
            <a:extLst>
              <a:ext uri="{FF2B5EF4-FFF2-40B4-BE49-F238E27FC236}">
                <a16:creationId xmlns:a16="http://schemas.microsoft.com/office/drawing/2014/main" id="{87242E42-8B73-4064-AB8B-B16087E6B78F}"/>
              </a:ext>
            </a:extLst>
          </p:cNvPr>
          <p:cNvSpPr>
            <a:spLocks noGrp="1"/>
          </p:cNvSpPr>
          <p:nvPr>
            <p:ph type="ftr" sz="quarter" idx="11"/>
          </p:nvPr>
        </p:nvSpPr>
        <p:spPr/>
        <p:txBody>
          <a:bodyPr/>
          <a:lstStyle/>
          <a:p>
            <a:r>
              <a:rPr lang="en-GB"/>
              <a:t>|</a:t>
            </a:r>
            <a:endParaRPr lang="en-GB" dirty="0"/>
          </a:p>
        </p:txBody>
      </p:sp>
      <p:sp>
        <p:nvSpPr>
          <p:cNvPr id="4" name="Tijdelijke aanduiding voor dianummer 3">
            <a:extLst>
              <a:ext uri="{FF2B5EF4-FFF2-40B4-BE49-F238E27FC236}">
                <a16:creationId xmlns:a16="http://schemas.microsoft.com/office/drawing/2014/main" id="{FCD2449A-4652-4E1C-9EDE-57027DAFCCC5}"/>
              </a:ext>
            </a:extLst>
          </p:cNvPr>
          <p:cNvSpPr>
            <a:spLocks noGrp="1"/>
          </p:cNvSpPr>
          <p:nvPr>
            <p:ph type="sldNum" sz="quarter" idx="12"/>
          </p:nvPr>
        </p:nvSpPr>
        <p:spPr/>
        <p:txBody>
          <a:bodyPr/>
          <a:lstStyle/>
          <a:p>
            <a:fld id="{534B5F9C-CFE5-4EC6-9BBB-664E2F56B033}" type="slidenum">
              <a:rPr lang="en-GB" smtClean="0"/>
              <a:t>18</a:t>
            </a:fld>
            <a:endParaRPr lang="en-GB" dirty="0"/>
          </a:p>
        </p:txBody>
      </p:sp>
    </p:spTree>
    <p:custDataLst>
      <p:tags r:id="rId1"/>
    </p:custDataLst>
    <p:extLst>
      <p:ext uri="{BB962C8B-B14F-4D97-AF65-F5344CB8AC3E}">
        <p14:creationId xmlns:p14="http://schemas.microsoft.com/office/powerpoint/2010/main" val="108753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nl-NL" dirty="0"/>
              <a:t>Water depth European ports</a:t>
            </a:r>
            <a:br>
              <a:rPr lang="nl-NL" dirty="0"/>
            </a:br>
            <a:endParaRPr lang="nl-NL" dirty="0"/>
          </a:p>
        </p:txBody>
      </p:sp>
      <p:sp>
        <p:nvSpPr>
          <p:cNvPr id="4" name="Tijdelijke aanduiding voor datum 3"/>
          <p:cNvSpPr>
            <a:spLocks noGrp="1"/>
          </p:cNvSpPr>
          <p:nvPr>
            <p:ph type="dt" sz="half" idx="10"/>
          </p:nvPr>
        </p:nvSpPr>
        <p:spPr/>
        <p:txBody>
          <a:bodyPr/>
          <a:lstStyle/>
          <a:p>
            <a:fld id="{E86A2C79-8217-4A7C-8D40-2C228DF64B54}" type="datetime4">
              <a:rPr lang="nl-NL" smtClean="0"/>
              <a:t>29 me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19</a:t>
            </a:fld>
            <a:endParaRPr lang="en-GB"/>
          </a:p>
        </p:txBody>
      </p:sp>
      <p:graphicFrame>
        <p:nvGraphicFramePr>
          <p:cNvPr id="12" name="Grafiek 11"/>
          <p:cNvGraphicFramePr/>
          <p:nvPr>
            <p:extLst>
              <p:ext uri="{D42A27DB-BD31-4B8C-83A1-F6EECF244321}">
                <p14:modId xmlns:p14="http://schemas.microsoft.com/office/powerpoint/2010/main" val="3435919351"/>
              </p:ext>
            </p:extLst>
          </p:nvPr>
        </p:nvGraphicFramePr>
        <p:xfrm>
          <a:off x="1176675" y="1535448"/>
          <a:ext cx="9672044" cy="4157692"/>
        </p:xfrm>
        <a:graphic>
          <a:graphicData uri="http://schemas.openxmlformats.org/drawingml/2006/chart">
            <c:chart xmlns:c="http://schemas.openxmlformats.org/drawingml/2006/chart" xmlns:r="http://schemas.openxmlformats.org/officeDocument/2006/relationships" r:id="rId3"/>
          </a:graphicData>
        </a:graphic>
      </p:graphicFrame>
      <p:grpSp>
        <p:nvGrpSpPr>
          <p:cNvPr id="13" name="Groep 12"/>
          <p:cNvGrpSpPr/>
          <p:nvPr/>
        </p:nvGrpSpPr>
        <p:grpSpPr>
          <a:xfrm rot="5400000">
            <a:off x="956071" y="3166228"/>
            <a:ext cx="3609553" cy="662754"/>
            <a:chOff x="468313" y="1204460"/>
            <a:chExt cx="2661024" cy="719137"/>
          </a:xfrm>
          <a:effectLst>
            <a:outerShdw blurRad="50800" dist="38100" algn="l" rotWithShape="0">
              <a:prstClr val="black">
                <a:alpha val="40000"/>
              </a:prstClr>
            </a:outerShdw>
          </a:effectLst>
        </p:grpSpPr>
        <p:sp>
          <p:nvSpPr>
            <p:cNvPr id="14" name="AutoShape 22"/>
            <p:cNvSpPr>
              <a:spLocks noChangeArrowheads="1"/>
            </p:cNvSpPr>
            <p:nvPr/>
          </p:nvSpPr>
          <p:spPr bwMode="auto">
            <a:xfrm>
              <a:off x="476250" y="1204460"/>
              <a:ext cx="2653087" cy="719137"/>
            </a:xfrm>
            <a:custGeom>
              <a:avLst/>
              <a:gdLst>
                <a:gd name="connsiteX0" fmla="*/ 0 w 3213925"/>
                <a:gd name="connsiteY0" fmla="*/ 0 h 598259"/>
                <a:gd name="connsiteX1" fmla="*/ 2633494 w 3213925"/>
                <a:gd name="connsiteY1" fmla="*/ 0 h 598259"/>
                <a:gd name="connsiteX2" fmla="*/ 3213925 w 3213925"/>
                <a:gd name="connsiteY2" fmla="*/ 299130 h 598259"/>
                <a:gd name="connsiteX3" fmla="*/ 2633494 w 3213925"/>
                <a:gd name="connsiteY3" fmla="*/ 598259 h 598259"/>
                <a:gd name="connsiteX4" fmla="*/ 0 w 3213925"/>
                <a:gd name="connsiteY4" fmla="*/ 598259 h 598259"/>
                <a:gd name="connsiteX5" fmla="*/ 0 w 3213925"/>
                <a:gd name="connsiteY5" fmla="*/ 0 h 598259"/>
                <a:gd name="connsiteX0" fmla="*/ 0 w 3055305"/>
                <a:gd name="connsiteY0" fmla="*/ 0 h 598259"/>
                <a:gd name="connsiteX1" fmla="*/ 2633494 w 3055305"/>
                <a:gd name="connsiteY1" fmla="*/ 0 h 598259"/>
                <a:gd name="connsiteX2" fmla="*/ 3055305 w 3055305"/>
                <a:gd name="connsiteY2" fmla="*/ 299130 h 598259"/>
                <a:gd name="connsiteX3" fmla="*/ 2633494 w 3055305"/>
                <a:gd name="connsiteY3" fmla="*/ 598259 h 598259"/>
                <a:gd name="connsiteX4" fmla="*/ 0 w 3055305"/>
                <a:gd name="connsiteY4" fmla="*/ 598259 h 598259"/>
                <a:gd name="connsiteX5" fmla="*/ 0 w 3055305"/>
                <a:gd name="connsiteY5" fmla="*/ 0 h 59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55305" h="598259">
                  <a:moveTo>
                    <a:pt x="0" y="0"/>
                  </a:moveTo>
                  <a:lnTo>
                    <a:pt x="2633494" y="0"/>
                  </a:lnTo>
                  <a:lnTo>
                    <a:pt x="3055305" y="299130"/>
                  </a:lnTo>
                  <a:lnTo>
                    <a:pt x="2633494" y="598259"/>
                  </a:lnTo>
                  <a:lnTo>
                    <a:pt x="0" y="598259"/>
                  </a:lnTo>
                  <a:lnTo>
                    <a:pt x="0" y="0"/>
                  </a:lnTo>
                  <a:close/>
                </a:path>
              </a:pathLst>
            </a:custGeom>
            <a:solidFill>
              <a:schemeClr val="bg2"/>
            </a:solidFill>
            <a:ln w="38100">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chemeClr val="tx2"/>
                </a:solidFill>
                <a:effectLst/>
                <a:uLnTx/>
                <a:uFillTx/>
              </a:endParaRPr>
            </a:p>
          </p:txBody>
        </p:sp>
        <p:sp>
          <p:nvSpPr>
            <p:cNvPr id="15" name="Rectangle 4"/>
            <p:cNvSpPr>
              <a:spLocks noChangeArrowheads="1"/>
            </p:cNvSpPr>
            <p:nvPr/>
          </p:nvSpPr>
          <p:spPr bwMode="auto">
            <a:xfrm rot="10800000">
              <a:off x="468313" y="1315585"/>
              <a:ext cx="2449512" cy="5032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nl-NL" sz="2000" b="1" i="0" u="none" strike="noStrike" kern="0" cap="none" spc="0" normalizeH="0" baseline="0" noProof="0" dirty="0">
                  <a:ln>
                    <a:noFill/>
                  </a:ln>
                  <a:solidFill>
                    <a:schemeClr val="tx2"/>
                  </a:solidFill>
                  <a:effectLst/>
                  <a:uLnTx/>
                  <a:uFillTx/>
                </a:rPr>
                <a:t>Rotterdam  </a:t>
              </a:r>
            </a:p>
          </p:txBody>
        </p:sp>
      </p:grpSp>
      <p:grpSp>
        <p:nvGrpSpPr>
          <p:cNvPr id="16" name="Groep 15"/>
          <p:cNvGrpSpPr/>
          <p:nvPr/>
        </p:nvGrpSpPr>
        <p:grpSpPr>
          <a:xfrm rot="5400000">
            <a:off x="2592232" y="2490040"/>
            <a:ext cx="2257175" cy="662754"/>
            <a:chOff x="468313" y="1204460"/>
            <a:chExt cx="2661024" cy="719137"/>
          </a:xfrm>
          <a:effectLst>
            <a:outerShdw blurRad="50800" dist="38100" algn="l" rotWithShape="0">
              <a:prstClr val="black">
                <a:alpha val="40000"/>
              </a:prstClr>
            </a:outerShdw>
          </a:effectLst>
        </p:grpSpPr>
        <p:sp>
          <p:nvSpPr>
            <p:cNvPr id="17" name="AutoShape 22"/>
            <p:cNvSpPr>
              <a:spLocks noChangeArrowheads="1"/>
            </p:cNvSpPr>
            <p:nvPr/>
          </p:nvSpPr>
          <p:spPr bwMode="auto">
            <a:xfrm>
              <a:off x="476250" y="1204460"/>
              <a:ext cx="2653087" cy="719137"/>
            </a:xfrm>
            <a:custGeom>
              <a:avLst/>
              <a:gdLst>
                <a:gd name="connsiteX0" fmla="*/ 0 w 3213925"/>
                <a:gd name="connsiteY0" fmla="*/ 0 h 598259"/>
                <a:gd name="connsiteX1" fmla="*/ 2633494 w 3213925"/>
                <a:gd name="connsiteY1" fmla="*/ 0 h 598259"/>
                <a:gd name="connsiteX2" fmla="*/ 3213925 w 3213925"/>
                <a:gd name="connsiteY2" fmla="*/ 299130 h 598259"/>
                <a:gd name="connsiteX3" fmla="*/ 2633494 w 3213925"/>
                <a:gd name="connsiteY3" fmla="*/ 598259 h 598259"/>
                <a:gd name="connsiteX4" fmla="*/ 0 w 3213925"/>
                <a:gd name="connsiteY4" fmla="*/ 598259 h 598259"/>
                <a:gd name="connsiteX5" fmla="*/ 0 w 3213925"/>
                <a:gd name="connsiteY5" fmla="*/ 0 h 598259"/>
                <a:gd name="connsiteX0" fmla="*/ 0 w 3055305"/>
                <a:gd name="connsiteY0" fmla="*/ 0 h 598259"/>
                <a:gd name="connsiteX1" fmla="*/ 2633494 w 3055305"/>
                <a:gd name="connsiteY1" fmla="*/ 0 h 598259"/>
                <a:gd name="connsiteX2" fmla="*/ 3055305 w 3055305"/>
                <a:gd name="connsiteY2" fmla="*/ 299130 h 598259"/>
                <a:gd name="connsiteX3" fmla="*/ 2633494 w 3055305"/>
                <a:gd name="connsiteY3" fmla="*/ 598259 h 598259"/>
                <a:gd name="connsiteX4" fmla="*/ 0 w 3055305"/>
                <a:gd name="connsiteY4" fmla="*/ 598259 h 598259"/>
                <a:gd name="connsiteX5" fmla="*/ 0 w 3055305"/>
                <a:gd name="connsiteY5" fmla="*/ 0 h 59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55305" h="598259">
                  <a:moveTo>
                    <a:pt x="0" y="0"/>
                  </a:moveTo>
                  <a:lnTo>
                    <a:pt x="2633494" y="0"/>
                  </a:lnTo>
                  <a:lnTo>
                    <a:pt x="3055305" y="299130"/>
                  </a:lnTo>
                  <a:lnTo>
                    <a:pt x="2633494" y="598259"/>
                  </a:lnTo>
                  <a:lnTo>
                    <a:pt x="0" y="598259"/>
                  </a:lnTo>
                  <a:lnTo>
                    <a:pt x="0" y="0"/>
                  </a:lnTo>
                  <a:close/>
                </a:path>
              </a:pathLst>
            </a:custGeom>
            <a:solidFill>
              <a:schemeClr val="tx2"/>
            </a:solidFill>
            <a:ln w="38100">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chemeClr val="bg1"/>
                </a:solidFill>
                <a:effectLst/>
                <a:uLnTx/>
                <a:uFillTx/>
              </a:endParaRPr>
            </a:p>
          </p:txBody>
        </p:sp>
        <p:sp>
          <p:nvSpPr>
            <p:cNvPr id="18" name="Rectangle 4"/>
            <p:cNvSpPr>
              <a:spLocks noChangeArrowheads="1"/>
            </p:cNvSpPr>
            <p:nvPr/>
          </p:nvSpPr>
          <p:spPr bwMode="auto">
            <a:xfrm rot="10800000">
              <a:off x="468313" y="1315585"/>
              <a:ext cx="2449512" cy="5032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nl-NL" sz="1600" b="1" i="0" u="none" strike="noStrike" kern="0" cap="none" spc="0" normalizeH="0" baseline="0" noProof="0" dirty="0">
                  <a:ln>
                    <a:noFill/>
                  </a:ln>
                  <a:solidFill>
                    <a:schemeClr val="bg1"/>
                  </a:solidFill>
                  <a:effectLst/>
                  <a:uLnTx/>
                  <a:uFillTx/>
                </a:rPr>
                <a:t>Le Havre </a:t>
              </a:r>
            </a:p>
          </p:txBody>
        </p:sp>
      </p:grpSp>
      <p:grpSp>
        <p:nvGrpSpPr>
          <p:cNvPr id="19" name="Groep 18"/>
          <p:cNvGrpSpPr/>
          <p:nvPr/>
        </p:nvGrpSpPr>
        <p:grpSpPr>
          <a:xfrm rot="5400000">
            <a:off x="3720058" y="2322184"/>
            <a:ext cx="1921464" cy="662754"/>
            <a:chOff x="468313" y="1204460"/>
            <a:chExt cx="2661024" cy="719137"/>
          </a:xfrm>
          <a:solidFill>
            <a:schemeClr val="accent6"/>
          </a:solidFill>
          <a:effectLst>
            <a:outerShdw blurRad="50800" dist="38100" algn="l" rotWithShape="0">
              <a:prstClr val="black">
                <a:alpha val="40000"/>
              </a:prstClr>
            </a:outerShdw>
          </a:effectLst>
        </p:grpSpPr>
        <p:sp>
          <p:nvSpPr>
            <p:cNvPr id="20" name="AutoShape 22"/>
            <p:cNvSpPr>
              <a:spLocks noChangeArrowheads="1"/>
            </p:cNvSpPr>
            <p:nvPr/>
          </p:nvSpPr>
          <p:spPr bwMode="auto">
            <a:xfrm>
              <a:off x="476250" y="1204460"/>
              <a:ext cx="2653087" cy="719137"/>
            </a:xfrm>
            <a:custGeom>
              <a:avLst/>
              <a:gdLst>
                <a:gd name="connsiteX0" fmla="*/ 0 w 3213925"/>
                <a:gd name="connsiteY0" fmla="*/ 0 h 598259"/>
                <a:gd name="connsiteX1" fmla="*/ 2633494 w 3213925"/>
                <a:gd name="connsiteY1" fmla="*/ 0 h 598259"/>
                <a:gd name="connsiteX2" fmla="*/ 3213925 w 3213925"/>
                <a:gd name="connsiteY2" fmla="*/ 299130 h 598259"/>
                <a:gd name="connsiteX3" fmla="*/ 2633494 w 3213925"/>
                <a:gd name="connsiteY3" fmla="*/ 598259 h 598259"/>
                <a:gd name="connsiteX4" fmla="*/ 0 w 3213925"/>
                <a:gd name="connsiteY4" fmla="*/ 598259 h 598259"/>
                <a:gd name="connsiteX5" fmla="*/ 0 w 3213925"/>
                <a:gd name="connsiteY5" fmla="*/ 0 h 598259"/>
                <a:gd name="connsiteX0" fmla="*/ 0 w 3055305"/>
                <a:gd name="connsiteY0" fmla="*/ 0 h 598259"/>
                <a:gd name="connsiteX1" fmla="*/ 2633494 w 3055305"/>
                <a:gd name="connsiteY1" fmla="*/ 0 h 598259"/>
                <a:gd name="connsiteX2" fmla="*/ 3055305 w 3055305"/>
                <a:gd name="connsiteY2" fmla="*/ 299130 h 598259"/>
                <a:gd name="connsiteX3" fmla="*/ 2633494 w 3055305"/>
                <a:gd name="connsiteY3" fmla="*/ 598259 h 598259"/>
                <a:gd name="connsiteX4" fmla="*/ 0 w 3055305"/>
                <a:gd name="connsiteY4" fmla="*/ 598259 h 598259"/>
                <a:gd name="connsiteX5" fmla="*/ 0 w 3055305"/>
                <a:gd name="connsiteY5" fmla="*/ 0 h 59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55305" h="598259">
                  <a:moveTo>
                    <a:pt x="0" y="0"/>
                  </a:moveTo>
                  <a:lnTo>
                    <a:pt x="2633494" y="0"/>
                  </a:lnTo>
                  <a:lnTo>
                    <a:pt x="3055305" y="299130"/>
                  </a:lnTo>
                  <a:lnTo>
                    <a:pt x="2633494" y="598259"/>
                  </a:lnTo>
                  <a:lnTo>
                    <a:pt x="0" y="598259"/>
                  </a:lnTo>
                  <a:lnTo>
                    <a:pt x="0" y="0"/>
                  </a:lnTo>
                  <a:close/>
                </a:path>
              </a:pathLst>
            </a:custGeom>
            <a:solidFill>
              <a:schemeClr val="tx2"/>
            </a:solidFill>
            <a:ln w="38100">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chemeClr val="bg1"/>
                </a:solidFill>
                <a:effectLst/>
                <a:uLnTx/>
                <a:uFillTx/>
              </a:endParaRPr>
            </a:p>
          </p:txBody>
        </p:sp>
        <p:sp>
          <p:nvSpPr>
            <p:cNvPr id="21" name="Rectangle 4"/>
            <p:cNvSpPr>
              <a:spLocks noChangeArrowheads="1"/>
            </p:cNvSpPr>
            <p:nvPr/>
          </p:nvSpPr>
          <p:spPr bwMode="auto">
            <a:xfrm rot="10800000">
              <a:off x="468313" y="1315585"/>
              <a:ext cx="2449512" cy="503237"/>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nl-NL" sz="1600" b="1" i="0" u="none" strike="noStrike" kern="0" cap="none" spc="0" normalizeH="0" baseline="0" noProof="0" dirty="0">
                  <a:ln>
                    <a:noFill/>
                  </a:ln>
                  <a:solidFill>
                    <a:schemeClr val="bg1"/>
                  </a:solidFill>
                  <a:effectLst/>
                  <a:uLnTx/>
                  <a:uFillTx/>
                </a:rPr>
                <a:t>Amsterdam </a:t>
              </a:r>
            </a:p>
          </p:txBody>
        </p:sp>
      </p:grpSp>
      <p:grpSp>
        <p:nvGrpSpPr>
          <p:cNvPr id="22" name="Groep 21"/>
          <p:cNvGrpSpPr/>
          <p:nvPr/>
        </p:nvGrpSpPr>
        <p:grpSpPr>
          <a:xfrm rot="5400000">
            <a:off x="4714147" y="2288066"/>
            <a:ext cx="1853228" cy="662754"/>
            <a:chOff x="468313" y="1204460"/>
            <a:chExt cx="2661024" cy="719137"/>
          </a:xfrm>
          <a:effectLst>
            <a:outerShdw blurRad="50800" dist="38100" algn="l" rotWithShape="0">
              <a:prstClr val="black">
                <a:alpha val="40000"/>
              </a:prstClr>
            </a:outerShdw>
          </a:effectLst>
        </p:grpSpPr>
        <p:sp>
          <p:nvSpPr>
            <p:cNvPr id="23" name="AutoShape 22"/>
            <p:cNvSpPr>
              <a:spLocks noChangeArrowheads="1"/>
            </p:cNvSpPr>
            <p:nvPr/>
          </p:nvSpPr>
          <p:spPr bwMode="auto">
            <a:xfrm>
              <a:off x="476250" y="1204460"/>
              <a:ext cx="2653087" cy="719137"/>
            </a:xfrm>
            <a:custGeom>
              <a:avLst/>
              <a:gdLst>
                <a:gd name="connsiteX0" fmla="*/ 0 w 3213925"/>
                <a:gd name="connsiteY0" fmla="*/ 0 h 598259"/>
                <a:gd name="connsiteX1" fmla="*/ 2633494 w 3213925"/>
                <a:gd name="connsiteY1" fmla="*/ 0 h 598259"/>
                <a:gd name="connsiteX2" fmla="*/ 3213925 w 3213925"/>
                <a:gd name="connsiteY2" fmla="*/ 299130 h 598259"/>
                <a:gd name="connsiteX3" fmla="*/ 2633494 w 3213925"/>
                <a:gd name="connsiteY3" fmla="*/ 598259 h 598259"/>
                <a:gd name="connsiteX4" fmla="*/ 0 w 3213925"/>
                <a:gd name="connsiteY4" fmla="*/ 598259 h 598259"/>
                <a:gd name="connsiteX5" fmla="*/ 0 w 3213925"/>
                <a:gd name="connsiteY5" fmla="*/ 0 h 598259"/>
                <a:gd name="connsiteX0" fmla="*/ 0 w 3055305"/>
                <a:gd name="connsiteY0" fmla="*/ 0 h 598259"/>
                <a:gd name="connsiteX1" fmla="*/ 2633494 w 3055305"/>
                <a:gd name="connsiteY1" fmla="*/ 0 h 598259"/>
                <a:gd name="connsiteX2" fmla="*/ 3055305 w 3055305"/>
                <a:gd name="connsiteY2" fmla="*/ 299130 h 598259"/>
                <a:gd name="connsiteX3" fmla="*/ 2633494 w 3055305"/>
                <a:gd name="connsiteY3" fmla="*/ 598259 h 598259"/>
                <a:gd name="connsiteX4" fmla="*/ 0 w 3055305"/>
                <a:gd name="connsiteY4" fmla="*/ 598259 h 598259"/>
                <a:gd name="connsiteX5" fmla="*/ 0 w 3055305"/>
                <a:gd name="connsiteY5" fmla="*/ 0 h 59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55305" h="598259">
                  <a:moveTo>
                    <a:pt x="0" y="0"/>
                  </a:moveTo>
                  <a:lnTo>
                    <a:pt x="2633494" y="0"/>
                  </a:lnTo>
                  <a:lnTo>
                    <a:pt x="3055305" y="299130"/>
                  </a:lnTo>
                  <a:lnTo>
                    <a:pt x="2633494" y="598259"/>
                  </a:lnTo>
                  <a:lnTo>
                    <a:pt x="0" y="598259"/>
                  </a:lnTo>
                  <a:lnTo>
                    <a:pt x="0" y="0"/>
                  </a:lnTo>
                  <a:close/>
                </a:path>
              </a:pathLst>
            </a:custGeom>
            <a:solidFill>
              <a:schemeClr val="tx2"/>
            </a:solidFill>
            <a:ln w="38100">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chemeClr val="bg1"/>
                </a:solidFill>
                <a:effectLst/>
                <a:uLnTx/>
                <a:uFillTx/>
              </a:endParaRPr>
            </a:p>
          </p:txBody>
        </p:sp>
        <p:sp>
          <p:nvSpPr>
            <p:cNvPr id="24" name="Rectangle 4"/>
            <p:cNvSpPr>
              <a:spLocks noChangeArrowheads="1"/>
            </p:cNvSpPr>
            <p:nvPr/>
          </p:nvSpPr>
          <p:spPr bwMode="auto">
            <a:xfrm rot="10800000">
              <a:off x="468313" y="1315585"/>
              <a:ext cx="2449512" cy="5032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nl-NL" sz="1600" b="1" i="0" u="none" strike="noStrike" kern="0" cap="none" spc="0" normalizeH="0" baseline="0" noProof="0" dirty="0">
                  <a:ln>
                    <a:noFill/>
                  </a:ln>
                  <a:solidFill>
                    <a:schemeClr val="bg1"/>
                  </a:solidFill>
                  <a:effectLst/>
                  <a:uLnTx/>
                  <a:uFillTx/>
                </a:rPr>
                <a:t>Antwerp </a:t>
              </a:r>
            </a:p>
          </p:txBody>
        </p:sp>
      </p:grpSp>
      <p:grpSp>
        <p:nvGrpSpPr>
          <p:cNvPr id="25" name="Groep 24"/>
          <p:cNvGrpSpPr/>
          <p:nvPr/>
        </p:nvGrpSpPr>
        <p:grpSpPr>
          <a:xfrm rot="5400000">
            <a:off x="5643836" y="2318348"/>
            <a:ext cx="1913791" cy="662754"/>
            <a:chOff x="468313" y="1204460"/>
            <a:chExt cx="2661024" cy="719137"/>
          </a:xfrm>
          <a:effectLst>
            <a:outerShdw blurRad="50800" dist="38100" algn="l" rotWithShape="0">
              <a:prstClr val="black">
                <a:alpha val="40000"/>
              </a:prstClr>
            </a:outerShdw>
          </a:effectLst>
        </p:grpSpPr>
        <p:sp>
          <p:nvSpPr>
            <p:cNvPr id="26" name="AutoShape 22"/>
            <p:cNvSpPr>
              <a:spLocks noChangeArrowheads="1"/>
            </p:cNvSpPr>
            <p:nvPr/>
          </p:nvSpPr>
          <p:spPr bwMode="auto">
            <a:xfrm>
              <a:off x="476250" y="1204460"/>
              <a:ext cx="2653087" cy="719137"/>
            </a:xfrm>
            <a:custGeom>
              <a:avLst/>
              <a:gdLst>
                <a:gd name="connsiteX0" fmla="*/ 0 w 3213925"/>
                <a:gd name="connsiteY0" fmla="*/ 0 h 598259"/>
                <a:gd name="connsiteX1" fmla="*/ 2633494 w 3213925"/>
                <a:gd name="connsiteY1" fmla="*/ 0 h 598259"/>
                <a:gd name="connsiteX2" fmla="*/ 3213925 w 3213925"/>
                <a:gd name="connsiteY2" fmla="*/ 299130 h 598259"/>
                <a:gd name="connsiteX3" fmla="*/ 2633494 w 3213925"/>
                <a:gd name="connsiteY3" fmla="*/ 598259 h 598259"/>
                <a:gd name="connsiteX4" fmla="*/ 0 w 3213925"/>
                <a:gd name="connsiteY4" fmla="*/ 598259 h 598259"/>
                <a:gd name="connsiteX5" fmla="*/ 0 w 3213925"/>
                <a:gd name="connsiteY5" fmla="*/ 0 h 598259"/>
                <a:gd name="connsiteX0" fmla="*/ 0 w 3055305"/>
                <a:gd name="connsiteY0" fmla="*/ 0 h 598259"/>
                <a:gd name="connsiteX1" fmla="*/ 2633494 w 3055305"/>
                <a:gd name="connsiteY1" fmla="*/ 0 h 598259"/>
                <a:gd name="connsiteX2" fmla="*/ 3055305 w 3055305"/>
                <a:gd name="connsiteY2" fmla="*/ 299130 h 598259"/>
                <a:gd name="connsiteX3" fmla="*/ 2633494 w 3055305"/>
                <a:gd name="connsiteY3" fmla="*/ 598259 h 598259"/>
                <a:gd name="connsiteX4" fmla="*/ 0 w 3055305"/>
                <a:gd name="connsiteY4" fmla="*/ 598259 h 598259"/>
                <a:gd name="connsiteX5" fmla="*/ 0 w 3055305"/>
                <a:gd name="connsiteY5" fmla="*/ 0 h 59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55305" h="598259">
                  <a:moveTo>
                    <a:pt x="0" y="0"/>
                  </a:moveTo>
                  <a:lnTo>
                    <a:pt x="2633494" y="0"/>
                  </a:lnTo>
                  <a:lnTo>
                    <a:pt x="3055305" y="299130"/>
                  </a:lnTo>
                  <a:lnTo>
                    <a:pt x="2633494" y="598259"/>
                  </a:lnTo>
                  <a:lnTo>
                    <a:pt x="0" y="598259"/>
                  </a:lnTo>
                  <a:lnTo>
                    <a:pt x="0" y="0"/>
                  </a:lnTo>
                  <a:close/>
                </a:path>
              </a:pathLst>
            </a:custGeom>
            <a:solidFill>
              <a:schemeClr val="tx2"/>
            </a:solidFill>
            <a:ln w="38100">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chemeClr val="bg1"/>
                </a:solidFill>
                <a:effectLst/>
                <a:uLnTx/>
                <a:uFillTx/>
              </a:endParaRPr>
            </a:p>
          </p:txBody>
        </p:sp>
        <p:sp>
          <p:nvSpPr>
            <p:cNvPr id="27" name="Rectangle 4"/>
            <p:cNvSpPr>
              <a:spLocks noChangeArrowheads="1"/>
            </p:cNvSpPr>
            <p:nvPr/>
          </p:nvSpPr>
          <p:spPr bwMode="auto">
            <a:xfrm rot="10800000">
              <a:off x="468313" y="1315585"/>
              <a:ext cx="2449512" cy="5032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nl-NL" sz="1600" b="1" i="0" u="none" strike="noStrike" kern="0" cap="none" spc="0" normalizeH="0" baseline="0" noProof="0" dirty="0">
                  <a:ln>
                    <a:noFill/>
                  </a:ln>
                  <a:solidFill>
                    <a:schemeClr val="bg1"/>
                  </a:solidFill>
                  <a:effectLst/>
                  <a:uLnTx/>
                  <a:uFillTx/>
                </a:rPr>
                <a:t>Bremerhaven </a:t>
              </a:r>
            </a:p>
          </p:txBody>
        </p:sp>
      </p:grpSp>
      <p:grpSp>
        <p:nvGrpSpPr>
          <p:cNvPr id="28" name="Groep 27"/>
          <p:cNvGrpSpPr/>
          <p:nvPr/>
        </p:nvGrpSpPr>
        <p:grpSpPr>
          <a:xfrm rot="5400000">
            <a:off x="6634089" y="2288066"/>
            <a:ext cx="1853228" cy="662754"/>
            <a:chOff x="468313" y="1204460"/>
            <a:chExt cx="2661024" cy="719137"/>
          </a:xfrm>
          <a:effectLst>
            <a:outerShdw blurRad="50800" dist="38100" algn="l" rotWithShape="0">
              <a:prstClr val="black">
                <a:alpha val="40000"/>
              </a:prstClr>
            </a:outerShdw>
          </a:effectLst>
        </p:grpSpPr>
        <p:sp>
          <p:nvSpPr>
            <p:cNvPr id="29" name="AutoShape 22"/>
            <p:cNvSpPr>
              <a:spLocks noChangeArrowheads="1"/>
            </p:cNvSpPr>
            <p:nvPr/>
          </p:nvSpPr>
          <p:spPr bwMode="auto">
            <a:xfrm>
              <a:off x="476250" y="1204460"/>
              <a:ext cx="2653087" cy="719137"/>
            </a:xfrm>
            <a:custGeom>
              <a:avLst/>
              <a:gdLst>
                <a:gd name="connsiteX0" fmla="*/ 0 w 3213925"/>
                <a:gd name="connsiteY0" fmla="*/ 0 h 598259"/>
                <a:gd name="connsiteX1" fmla="*/ 2633494 w 3213925"/>
                <a:gd name="connsiteY1" fmla="*/ 0 h 598259"/>
                <a:gd name="connsiteX2" fmla="*/ 3213925 w 3213925"/>
                <a:gd name="connsiteY2" fmla="*/ 299130 h 598259"/>
                <a:gd name="connsiteX3" fmla="*/ 2633494 w 3213925"/>
                <a:gd name="connsiteY3" fmla="*/ 598259 h 598259"/>
                <a:gd name="connsiteX4" fmla="*/ 0 w 3213925"/>
                <a:gd name="connsiteY4" fmla="*/ 598259 h 598259"/>
                <a:gd name="connsiteX5" fmla="*/ 0 w 3213925"/>
                <a:gd name="connsiteY5" fmla="*/ 0 h 598259"/>
                <a:gd name="connsiteX0" fmla="*/ 0 w 3055305"/>
                <a:gd name="connsiteY0" fmla="*/ 0 h 598259"/>
                <a:gd name="connsiteX1" fmla="*/ 2633494 w 3055305"/>
                <a:gd name="connsiteY1" fmla="*/ 0 h 598259"/>
                <a:gd name="connsiteX2" fmla="*/ 3055305 w 3055305"/>
                <a:gd name="connsiteY2" fmla="*/ 299130 h 598259"/>
                <a:gd name="connsiteX3" fmla="*/ 2633494 w 3055305"/>
                <a:gd name="connsiteY3" fmla="*/ 598259 h 598259"/>
                <a:gd name="connsiteX4" fmla="*/ 0 w 3055305"/>
                <a:gd name="connsiteY4" fmla="*/ 598259 h 598259"/>
                <a:gd name="connsiteX5" fmla="*/ 0 w 3055305"/>
                <a:gd name="connsiteY5" fmla="*/ 0 h 59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55305" h="598259">
                  <a:moveTo>
                    <a:pt x="0" y="0"/>
                  </a:moveTo>
                  <a:lnTo>
                    <a:pt x="2633494" y="0"/>
                  </a:lnTo>
                  <a:lnTo>
                    <a:pt x="3055305" y="299130"/>
                  </a:lnTo>
                  <a:lnTo>
                    <a:pt x="2633494" y="598259"/>
                  </a:lnTo>
                  <a:lnTo>
                    <a:pt x="0" y="598259"/>
                  </a:lnTo>
                  <a:lnTo>
                    <a:pt x="0" y="0"/>
                  </a:lnTo>
                  <a:close/>
                </a:path>
              </a:pathLst>
            </a:custGeom>
            <a:solidFill>
              <a:schemeClr val="tx2"/>
            </a:solidFill>
            <a:ln w="38100">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chemeClr val="bg1"/>
                </a:solidFill>
                <a:effectLst/>
                <a:uLnTx/>
                <a:uFillTx/>
              </a:endParaRPr>
            </a:p>
          </p:txBody>
        </p:sp>
        <p:sp>
          <p:nvSpPr>
            <p:cNvPr id="30" name="Rectangle 4"/>
            <p:cNvSpPr>
              <a:spLocks noChangeArrowheads="1"/>
            </p:cNvSpPr>
            <p:nvPr/>
          </p:nvSpPr>
          <p:spPr bwMode="auto">
            <a:xfrm rot="10800000">
              <a:off x="468313" y="1315585"/>
              <a:ext cx="2449512" cy="503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nl-NL" sz="1600" b="1" i="0" u="none" strike="noStrike" kern="0" cap="none" spc="0" normalizeH="0" baseline="0" noProof="0" dirty="0">
                  <a:ln>
                    <a:noFill/>
                  </a:ln>
                  <a:solidFill>
                    <a:schemeClr val="bg1"/>
                  </a:solidFill>
                  <a:effectLst/>
                  <a:uLnTx/>
                  <a:uFillTx/>
                </a:rPr>
                <a:t>Hamburg </a:t>
              </a:r>
            </a:p>
          </p:txBody>
        </p:sp>
      </p:grpSp>
      <p:grpSp>
        <p:nvGrpSpPr>
          <p:cNvPr id="31" name="Groep 30"/>
          <p:cNvGrpSpPr/>
          <p:nvPr/>
        </p:nvGrpSpPr>
        <p:grpSpPr>
          <a:xfrm rot="5400000">
            <a:off x="7272690" y="2609433"/>
            <a:ext cx="2495963" cy="662754"/>
            <a:chOff x="468313" y="1204460"/>
            <a:chExt cx="2661024" cy="719137"/>
          </a:xfrm>
          <a:solidFill>
            <a:schemeClr val="accent6"/>
          </a:solidFill>
          <a:effectLst>
            <a:outerShdw blurRad="50800" dist="38100" algn="l" rotWithShape="0">
              <a:prstClr val="black">
                <a:alpha val="40000"/>
              </a:prstClr>
            </a:outerShdw>
          </a:effectLst>
        </p:grpSpPr>
        <p:sp>
          <p:nvSpPr>
            <p:cNvPr id="32" name="AutoShape 22"/>
            <p:cNvSpPr>
              <a:spLocks noChangeArrowheads="1"/>
            </p:cNvSpPr>
            <p:nvPr/>
          </p:nvSpPr>
          <p:spPr bwMode="auto">
            <a:xfrm>
              <a:off x="476250" y="1204460"/>
              <a:ext cx="2653087" cy="719137"/>
            </a:xfrm>
            <a:custGeom>
              <a:avLst/>
              <a:gdLst>
                <a:gd name="connsiteX0" fmla="*/ 0 w 3213925"/>
                <a:gd name="connsiteY0" fmla="*/ 0 h 598259"/>
                <a:gd name="connsiteX1" fmla="*/ 2633494 w 3213925"/>
                <a:gd name="connsiteY1" fmla="*/ 0 h 598259"/>
                <a:gd name="connsiteX2" fmla="*/ 3213925 w 3213925"/>
                <a:gd name="connsiteY2" fmla="*/ 299130 h 598259"/>
                <a:gd name="connsiteX3" fmla="*/ 2633494 w 3213925"/>
                <a:gd name="connsiteY3" fmla="*/ 598259 h 598259"/>
                <a:gd name="connsiteX4" fmla="*/ 0 w 3213925"/>
                <a:gd name="connsiteY4" fmla="*/ 598259 h 598259"/>
                <a:gd name="connsiteX5" fmla="*/ 0 w 3213925"/>
                <a:gd name="connsiteY5" fmla="*/ 0 h 598259"/>
                <a:gd name="connsiteX0" fmla="*/ 0 w 3055305"/>
                <a:gd name="connsiteY0" fmla="*/ 0 h 598259"/>
                <a:gd name="connsiteX1" fmla="*/ 2633494 w 3055305"/>
                <a:gd name="connsiteY1" fmla="*/ 0 h 598259"/>
                <a:gd name="connsiteX2" fmla="*/ 3055305 w 3055305"/>
                <a:gd name="connsiteY2" fmla="*/ 299130 h 598259"/>
                <a:gd name="connsiteX3" fmla="*/ 2633494 w 3055305"/>
                <a:gd name="connsiteY3" fmla="*/ 598259 h 598259"/>
                <a:gd name="connsiteX4" fmla="*/ 0 w 3055305"/>
                <a:gd name="connsiteY4" fmla="*/ 598259 h 598259"/>
                <a:gd name="connsiteX5" fmla="*/ 0 w 3055305"/>
                <a:gd name="connsiteY5" fmla="*/ 0 h 59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55305" h="598259">
                  <a:moveTo>
                    <a:pt x="0" y="0"/>
                  </a:moveTo>
                  <a:lnTo>
                    <a:pt x="2633494" y="0"/>
                  </a:lnTo>
                  <a:lnTo>
                    <a:pt x="3055305" y="299130"/>
                  </a:lnTo>
                  <a:lnTo>
                    <a:pt x="2633494" y="598259"/>
                  </a:lnTo>
                  <a:lnTo>
                    <a:pt x="0" y="598259"/>
                  </a:lnTo>
                  <a:lnTo>
                    <a:pt x="0" y="0"/>
                  </a:lnTo>
                  <a:close/>
                </a:path>
              </a:pathLst>
            </a:custGeom>
            <a:solidFill>
              <a:schemeClr val="tx2"/>
            </a:solidFill>
            <a:ln w="38100">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chemeClr val="bg1"/>
                </a:solidFill>
                <a:effectLst/>
                <a:uLnTx/>
                <a:uFillTx/>
              </a:endParaRPr>
            </a:p>
          </p:txBody>
        </p:sp>
        <p:sp>
          <p:nvSpPr>
            <p:cNvPr id="33" name="Rectangle 4"/>
            <p:cNvSpPr>
              <a:spLocks noChangeArrowheads="1"/>
            </p:cNvSpPr>
            <p:nvPr/>
          </p:nvSpPr>
          <p:spPr bwMode="auto">
            <a:xfrm rot="10800000">
              <a:off x="468313" y="1315585"/>
              <a:ext cx="2449512" cy="503237"/>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nl-NL" sz="1600" b="1" i="0" u="none" strike="noStrike" kern="0" cap="none" spc="0" normalizeH="0" baseline="0" noProof="0" dirty="0">
                  <a:ln>
                    <a:noFill/>
                  </a:ln>
                  <a:solidFill>
                    <a:schemeClr val="bg1"/>
                  </a:solidFill>
                  <a:effectLst/>
                  <a:uLnTx/>
                  <a:uFillTx/>
                </a:rPr>
                <a:t>Vlissingen</a:t>
              </a:r>
              <a:r>
                <a:rPr kumimoji="0" lang="nl-NL" sz="1600" b="1" i="0" u="none" strike="noStrike" kern="0" cap="none" spc="0" normalizeH="0" noProof="0" dirty="0">
                  <a:ln>
                    <a:noFill/>
                  </a:ln>
                  <a:solidFill>
                    <a:schemeClr val="bg1"/>
                  </a:solidFill>
                  <a:effectLst/>
                  <a:uLnTx/>
                  <a:uFillTx/>
                </a:rPr>
                <a:t> </a:t>
              </a:r>
              <a:endParaRPr kumimoji="0" lang="nl-NL" sz="1600" b="1" i="0" u="none" strike="noStrike" kern="0" cap="none" spc="0" normalizeH="0" baseline="0" noProof="0" dirty="0">
                <a:ln>
                  <a:noFill/>
                </a:ln>
                <a:solidFill>
                  <a:schemeClr val="bg1"/>
                </a:solidFill>
                <a:effectLst/>
                <a:uLnTx/>
                <a:uFillTx/>
              </a:endParaRPr>
            </a:p>
          </p:txBody>
        </p:sp>
      </p:grpSp>
      <p:grpSp>
        <p:nvGrpSpPr>
          <p:cNvPr id="34" name="Groep 33"/>
          <p:cNvGrpSpPr/>
          <p:nvPr/>
        </p:nvGrpSpPr>
        <p:grpSpPr>
          <a:xfrm rot="5400000">
            <a:off x="8098286" y="2743810"/>
            <a:ext cx="2764713" cy="662754"/>
            <a:chOff x="468313" y="1204460"/>
            <a:chExt cx="2661024" cy="719137"/>
          </a:xfrm>
          <a:effectLst>
            <a:outerShdw blurRad="50800" dist="38100" algn="l" rotWithShape="0">
              <a:prstClr val="black">
                <a:alpha val="40000"/>
              </a:prstClr>
            </a:outerShdw>
          </a:effectLst>
        </p:grpSpPr>
        <p:sp>
          <p:nvSpPr>
            <p:cNvPr id="35" name="AutoShape 22"/>
            <p:cNvSpPr>
              <a:spLocks noChangeArrowheads="1"/>
            </p:cNvSpPr>
            <p:nvPr/>
          </p:nvSpPr>
          <p:spPr bwMode="auto">
            <a:xfrm>
              <a:off x="476250" y="1204460"/>
              <a:ext cx="2653087" cy="719137"/>
            </a:xfrm>
            <a:custGeom>
              <a:avLst/>
              <a:gdLst>
                <a:gd name="connsiteX0" fmla="*/ 0 w 3213925"/>
                <a:gd name="connsiteY0" fmla="*/ 0 h 598259"/>
                <a:gd name="connsiteX1" fmla="*/ 2633494 w 3213925"/>
                <a:gd name="connsiteY1" fmla="*/ 0 h 598259"/>
                <a:gd name="connsiteX2" fmla="*/ 3213925 w 3213925"/>
                <a:gd name="connsiteY2" fmla="*/ 299130 h 598259"/>
                <a:gd name="connsiteX3" fmla="*/ 2633494 w 3213925"/>
                <a:gd name="connsiteY3" fmla="*/ 598259 h 598259"/>
                <a:gd name="connsiteX4" fmla="*/ 0 w 3213925"/>
                <a:gd name="connsiteY4" fmla="*/ 598259 h 598259"/>
                <a:gd name="connsiteX5" fmla="*/ 0 w 3213925"/>
                <a:gd name="connsiteY5" fmla="*/ 0 h 598259"/>
                <a:gd name="connsiteX0" fmla="*/ 0 w 3055305"/>
                <a:gd name="connsiteY0" fmla="*/ 0 h 598259"/>
                <a:gd name="connsiteX1" fmla="*/ 2633494 w 3055305"/>
                <a:gd name="connsiteY1" fmla="*/ 0 h 598259"/>
                <a:gd name="connsiteX2" fmla="*/ 3055305 w 3055305"/>
                <a:gd name="connsiteY2" fmla="*/ 299130 h 598259"/>
                <a:gd name="connsiteX3" fmla="*/ 2633494 w 3055305"/>
                <a:gd name="connsiteY3" fmla="*/ 598259 h 598259"/>
                <a:gd name="connsiteX4" fmla="*/ 0 w 3055305"/>
                <a:gd name="connsiteY4" fmla="*/ 598259 h 598259"/>
                <a:gd name="connsiteX5" fmla="*/ 0 w 3055305"/>
                <a:gd name="connsiteY5" fmla="*/ 0 h 59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55305" h="598259">
                  <a:moveTo>
                    <a:pt x="0" y="0"/>
                  </a:moveTo>
                  <a:lnTo>
                    <a:pt x="2633494" y="0"/>
                  </a:lnTo>
                  <a:lnTo>
                    <a:pt x="3055305" y="299130"/>
                  </a:lnTo>
                  <a:lnTo>
                    <a:pt x="2633494" y="598259"/>
                  </a:lnTo>
                  <a:lnTo>
                    <a:pt x="0" y="598259"/>
                  </a:lnTo>
                  <a:lnTo>
                    <a:pt x="0" y="0"/>
                  </a:lnTo>
                  <a:close/>
                </a:path>
              </a:pathLst>
            </a:custGeom>
            <a:solidFill>
              <a:schemeClr val="tx2"/>
            </a:solidFill>
            <a:ln w="38100">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chemeClr val="bg1"/>
                </a:solidFill>
                <a:effectLst/>
                <a:uLnTx/>
                <a:uFillTx/>
              </a:endParaRPr>
            </a:p>
          </p:txBody>
        </p:sp>
        <p:sp>
          <p:nvSpPr>
            <p:cNvPr id="36" name="Rectangle 4"/>
            <p:cNvSpPr>
              <a:spLocks noChangeArrowheads="1"/>
            </p:cNvSpPr>
            <p:nvPr/>
          </p:nvSpPr>
          <p:spPr bwMode="auto">
            <a:xfrm rot="10800000">
              <a:off x="468313" y="1315585"/>
              <a:ext cx="2449512" cy="503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nl-NL" sz="1600" b="1" i="0" u="none" strike="noStrike" kern="0" cap="none" spc="0" normalizeH="0" baseline="0" noProof="0" dirty="0">
                  <a:ln>
                    <a:noFill/>
                  </a:ln>
                  <a:solidFill>
                    <a:schemeClr val="bg1"/>
                  </a:solidFill>
                  <a:effectLst/>
                  <a:uLnTx/>
                  <a:uFillTx/>
                </a:rPr>
                <a:t>Wilhelmshaven</a:t>
              </a:r>
              <a:r>
                <a:rPr kumimoji="0" lang="nl-NL" sz="1600" b="1" i="0" u="none" strike="noStrike" kern="0" cap="none" spc="0" normalizeH="0" noProof="0" dirty="0">
                  <a:ln>
                    <a:noFill/>
                  </a:ln>
                  <a:solidFill>
                    <a:schemeClr val="bg1"/>
                  </a:solidFill>
                  <a:effectLst/>
                  <a:uLnTx/>
                  <a:uFillTx/>
                </a:rPr>
                <a:t> </a:t>
              </a:r>
              <a:endParaRPr kumimoji="0" lang="nl-NL" sz="1600" b="1" i="0" u="none" strike="noStrike" kern="0" cap="none" spc="0" normalizeH="0" baseline="0" noProof="0" dirty="0">
                <a:ln>
                  <a:noFill/>
                </a:ln>
                <a:solidFill>
                  <a:schemeClr val="bg1"/>
                </a:solidFill>
                <a:effectLst/>
                <a:uLnTx/>
                <a:uFillTx/>
              </a:endParaRPr>
            </a:p>
          </p:txBody>
        </p:sp>
      </p:grpSp>
      <p:grpSp>
        <p:nvGrpSpPr>
          <p:cNvPr id="37" name="Groep 36"/>
          <p:cNvGrpSpPr/>
          <p:nvPr/>
        </p:nvGrpSpPr>
        <p:grpSpPr>
          <a:xfrm>
            <a:off x="2535834" y="5424726"/>
            <a:ext cx="7229050" cy="338554"/>
            <a:chOff x="1263158" y="4576934"/>
            <a:chExt cx="6525567" cy="305608"/>
          </a:xfrm>
        </p:grpSpPr>
        <p:cxnSp>
          <p:nvCxnSpPr>
            <p:cNvPr id="38" name="Rechte verbindingslijn 37"/>
            <p:cNvCxnSpPr/>
            <p:nvPr/>
          </p:nvCxnSpPr>
          <p:spPr>
            <a:xfrm flipV="1">
              <a:off x="1263158" y="4741620"/>
              <a:ext cx="600301" cy="798"/>
            </a:xfrm>
            <a:prstGeom prst="line">
              <a:avLst/>
            </a:prstGeom>
            <a:ln w="63500" cap="rnd">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39" name="Rechte verbindingslijn 38"/>
            <p:cNvCxnSpPr/>
            <p:nvPr/>
          </p:nvCxnSpPr>
          <p:spPr>
            <a:xfrm flipV="1">
              <a:off x="5552090" y="4740822"/>
              <a:ext cx="600301" cy="798"/>
            </a:xfrm>
            <a:prstGeom prst="line">
              <a:avLst/>
            </a:prstGeom>
            <a:ln w="63500" cap="rnd">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40" name="Tekstvak 39"/>
            <p:cNvSpPr txBox="1"/>
            <p:nvPr/>
          </p:nvSpPr>
          <p:spPr>
            <a:xfrm>
              <a:off x="2024717" y="4576934"/>
              <a:ext cx="3466211" cy="305608"/>
            </a:xfrm>
            <a:prstGeom prst="rect">
              <a:avLst/>
            </a:prstGeom>
            <a:noFill/>
          </p:spPr>
          <p:txBody>
            <a:bodyPr wrap="square" rtlCol="0">
              <a:spAutoFit/>
            </a:bodyPr>
            <a:lstStyle/>
            <a:p>
              <a:r>
                <a:rPr lang="nl-NL" sz="1600" b="1" dirty="0">
                  <a:solidFill>
                    <a:schemeClr val="tx2"/>
                  </a:solidFill>
                </a:rPr>
                <a:t>APM S-Class &amp; HPL HAX-Class</a:t>
              </a:r>
            </a:p>
          </p:txBody>
        </p:sp>
        <p:sp>
          <p:nvSpPr>
            <p:cNvPr id="41" name="Tekstvak 40"/>
            <p:cNvSpPr txBox="1"/>
            <p:nvPr/>
          </p:nvSpPr>
          <p:spPr>
            <a:xfrm>
              <a:off x="6336828" y="4576934"/>
              <a:ext cx="1451897" cy="305608"/>
            </a:xfrm>
            <a:prstGeom prst="rect">
              <a:avLst/>
            </a:prstGeom>
            <a:noFill/>
          </p:spPr>
          <p:txBody>
            <a:bodyPr wrap="square" rtlCol="0">
              <a:spAutoFit/>
            </a:bodyPr>
            <a:lstStyle/>
            <a:p>
              <a:r>
                <a:rPr lang="nl-NL" sz="1600" b="1" dirty="0" err="1">
                  <a:solidFill>
                    <a:schemeClr val="tx2"/>
                  </a:solidFill>
                </a:rPr>
                <a:t>Malacca</a:t>
              </a:r>
              <a:r>
                <a:rPr lang="nl-NL" sz="1600" b="1" dirty="0">
                  <a:solidFill>
                    <a:schemeClr val="tx2"/>
                  </a:solidFill>
                </a:rPr>
                <a:t>-max</a:t>
              </a:r>
            </a:p>
          </p:txBody>
        </p:sp>
      </p:grpSp>
    </p:spTree>
    <p:extLst>
      <p:ext uri="{BB962C8B-B14F-4D97-AF65-F5344CB8AC3E}">
        <p14:creationId xmlns:p14="http://schemas.microsoft.com/office/powerpoint/2010/main" val="242816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500"/>
                                        <p:tgtEl>
                                          <p:spTgt spid="1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wipe(up)">
                                      <p:cBhvr>
                                        <p:cTn id="11" dur="500"/>
                                        <p:tgtEl>
                                          <p:spTgt spid="16"/>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wipe(up)">
                                      <p:cBhvr>
                                        <p:cTn id="15" dur="500"/>
                                        <p:tgtEl>
                                          <p:spTgt spid="19"/>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wipe(up)">
                                      <p:cBhvr>
                                        <p:cTn id="19" dur="500"/>
                                        <p:tgtEl>
                                          <p:spTgt spid="22"/>
                                        </p:tgtEl>
                                      </p:cBhvr>
                                    </p:animEffect>
                                  </p:childTnLst>
                                </p:cTn>
                              </p:par>
                            </p:childTnLst>
                          </p:cTn>
                        </p:par>
                        <p:par>
                          <p:cTn id="20" fill="hold">
                            <p:stCondLst>
                              <p:cond delay="2000"/>
                            </p:stCondLst>
                            <p:childTnLst>
                              <p:par>
                                <p:cTn id="21" presetID="22" presetClass="entr" presetSubtype="1" fill="hold" nodeType="after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wipe(up)">
                                      <p:cBhvr>
                                        <p:cTn id="23" dur="500"/>
                                        <p:tgtEl>
                                          <p:spTgt spid="25"/>
                                        </p:tgtEl>
                                      </p:cBhvr>
                                    </p:animEffect>
                                  </p:childTnLst>
                                </p:cTn>
                              </p:par>
                            </p:childTnLst>
                          </p:cTn>
                        </p:par>
                        <p:par>
                          <p:cTn id="24" fill="hold">
                            <p:stCondLst>
                              <p:cond delay="2500"/>
                            </p:stCondLst>
                            <p:childTnLst>
                              <p:par>
                                <p:cTn id="25" presetID="22" presetClass="entr" presetSubtype="1" fill="hold" nodeType="after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wipe(up)">
                                      <p:cBhvr>
                                        <p:cTn id="27" dur="500"/>
                                        <p:tgtEl>
                                          <p:spTgt spid="28"/>
                                        </p:tgtEl>
                                      </p:cBhvr>
                                    </p:animEffect>
                                  </p:childTnLst>
                                </p:cTn>
                              </p:par>
                            </p:childTnLst>
                          </p:cTn>
                        </p:par>
                        <p:par>
                          <p:cTn id="28" fill="hold">
                            <p:stCondLst>
                              <p:cond delay="3000"/>
                            </p:stCondLst>
                            <p:childTnLst>
                              <p:par>
                                <p:cTn id="29" presetID="22" presetClass="entr" presetSubtype="1" fill="hold" nodeType="after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wipe(up)">
                                      <p:cBhvr>
                                        <p:cTn id="31" dur="500"/>
                                        <p:tgtEl>
                                          <p:spTgt spid="31"/>
                                        </p:tgtEl>
                                      </p:cBhvr>
                                    </p:animEffect>
                                  </p:childTnLst>
                                </p:cTn>
                              </p:par>
                            </p:childTnLst>
                          </p:cTn>
                        </p:par>
                        <p:par>
                          <p:cTn id="32" fill="hold">
                            <p:stCondLst>
                              <p:cond delay="3500"/>
                            </p:stCondLst>
                            <p:childTnLst>
                              <p:par>
                                <p:cTn id="33" presetID="22" presetClass="entr" presetSubtype="1" fill="hold" nodeType="after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wipe(up)">
                                      <p:cBhvr>
                                        <p:cTn id="35"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jdelijke aanduiding voor tekst 9">
            <a:extLst>
              <a:ext uri="{FF2B5EF4-FFF2-40B4-BE49-F238E27FC236}">
                <a16:creationId xmlns:a16="http://schemas.microsoft.com/office/drawing/2014/main" id="{B2B25032-19B8-49E3-8FCF-16EEFFDD3F16}"/>
              </a:ext>
            </a:extLst>
          </p:cNvPr>
          <p:cNvSpPr>
            <a:spLocks noGrp="1"/>
          </p:cNvSpPr>
          <p:nvPr>
            <p:ph type="body" sz="quarter" idx="19"/>
          </p:nvPr>
        </p:nvSpPr>
        <p:spPr/>
        <p:txBody>
          <a:bodyPr/>
          <a:lstStyle/>
          <a:p>
            <a:endParaRPr lang="nl-NL"/>
          </a:p>
        </p:txBody>
      </p:sp>
      <p:sp>
        <p:nvSpPr>
          <p:cNvPr id="9" name="Tijdelijke aanduiding voor tekst 8">
            <a:extLst>
              <a:ext uri="{FF2B5EF4-FFF2-40B4-BE49-F238E27FC236}">
                <a16:creationId xmlns:a16="http://schemas.microsoft.com/office/drawing/2014/main" id="{18069F10-5C4D-4CA6-8C85-DFA511CB430F}"/>
              </a:ext>
            </a:extLst>
          </p:cNvPr>
          <p:cNvSpPr>
            <a:spLocks noGrp="1"/>
          </p:cNvSpPr>
          <p:nvPr>
            <p:ph type="body" sz="quarter" idx="16"/>
          </p:nvPr>
        </p:nvSpPr>
        <p:spPr/>
        <p:txBody>
          <a:bodyPr/>
          <a:lstStyle/>
          <a:p>
            <a:endParaRPr lang="nl-NL"/>
          </a:p>
        </p:txBody>
      </p:sp>
      <p:pic>
        <p:nvPicPr>
          <p:cNvPr id="14" name="Tijdelijke aanduiding voor afbeelding 13">
            <a:extLst>
              <a:ext uri="{FF2B5EF4-FFF2-40B4-BE49-F238E27FC236}">
                <a16:creationId xmlns:a16="http://schemas.microsoft.com/office/drawing/2014/main" id="{A6966D50-0E26-4B93-98BB-35539129DA61}"/>
              </a:ext>
            </a:extLst>
          </p:cNvPr>
          <p:cNvPicPr>
            <a:picLocks noGrp="1" noChangeAspect="1"/>
          </p:cNvPicPr>
          <p:nvPr>
            <p:ph type="pic" idx="20"/>
          </p:nvPr>
        </p:nvPicPr>
        <p:blipFill rotWithShape="1">
          <a:blip r:embed="rId4" cstate="email">
            <a:extLst>
              <a:ext uri="{28A0092B-C50C-407E-A947-70E740481C1C}">
                <a14:useLocalDpi xmlns:a14="http://schemas.microsoft.com/office/drawing/2010/main"/>
              </a:ext>
            </a:extLst>
          </a:blip>
          <a:srcRect t="6375" b="6375"/>
          <a:stretch/>
        </p:blipFill>
        <p:spPr>
          <a:xfrm>
            <a:off x="14238" y="0"/>
            <a:ext cx="12195175" cy="5981700"/>
          </a:xfrm>
          <a:prstGeom prst="rect">
            <a:avLst/>
          </a:prstGeom>
        </p:spPr>
      </p:pic>
      <p:sp>
        <p:nvSpPr>
          <p:cNvPr id="12" name="Titel 11">
            <a:extLst>
              <a:ext uri="{FF2B5EF4-FFF2-40B4-BE49-F238E27FC236}">
                <a16:creationId xmlns:a16="http://schemas.microsoft.com/office/drawing/2014/main" id="{4A436F9A-5145-4A4F-B556-61982CC96197}"/>
              </a:ext>
            </a:extLst>
          </p:cNvPr>
          <p:cNvSpPr>
            <a:spLocks noGrp="1"/>
          </p:cNvSpPr>
          <p:nvPr>
            <p:ph type="ctrTitle"/>
          </p:nvPr>
        </p:nvSpPr>
        <p:spPr/>
        <p:txBody>
          <a:bodyPr/>
          <a:lstStyle/>
          <a:p>
            <a:r>
              <a:rPr lang="nl-NL" dirty="0"/>
              <a:t>Container </a:t>
            </a:r>
            <a:r>
              <a:rPr lang="nl-NL" dirty="0" err="1"/>
              <a:t>shipping</a:t>
            </a:r>
            <a:br>
              <a:rPr lang="nl-NL" dirty="0"/>
            </a:br>
            <a:r>
              <a:rPr lang="nl-NL" dirty="0"/>
              <a:t>ready </a:t>
            </a:r>
            <a:r>
              <a:rPr lang="nl-NL" dirty="0" err="1"/>
              <a:t>for</a:t>
            </a:r>
            <a:r>
              <a:rPr lang="nl-NL" dirty="0"/>
              <a:t> </a:t>
            </a:r>
            <a:r>
              <a:rPr lang="nl-NL" dirty="0" err="1"/>
              <a:t>the</a:t>
            </a:r>
            <a:r>
              <a:rPr lang="nl-NL" dirty="0"/>
              <a:t> </a:t>
            </a:r>
            <a:r>
              <a:rPr lang="nl-NL" dirty="0" err="1"/>
              <a:t>future</a:t>
            </a:r>
            <a:r>
              <a:rPr lang="nl-NL" dirty="0"/>
              <a:t>.</a:t>
            </a:r>
          </a:p>
        </p:txBody>
      </p:sp>
      <p:sp>
        <p:nvSpPr>
          <p:cNvPr id="15" name="Tijdelijke aanduiding voor tekst 7">
            <a:extLst>
              <a:ext uri="{FF2B5EF4-FFF2-40B4-BE49-F238E27FC236}">
                <a16:creationId xmlns:a16="http://schemas.microsoft.com/office/drawing/2014/main" id="{DE1EF822-0596-44E0-A603-6525A9D717E2}"/>
              </a:ext>
            </a:extLst>
          </p:cNvPr>
          <p:cNvSpPr>
            <a:spLocks noGrp="1"/>
          </p:cNvSpPr>
          <p:nvPr>
            <p:ph type="body" sz="quarter" idx="13"/>
          </p:nvPr>
        </p:nvSpPr>
        <p:spPr>
          <a:xfrm>
            <a:off x="542260" y="2509170"/>
            <a:ext cx="11700000" cy="72000"/>
          </a:xfrm>
        </p:spPr>
        <p:txBody>
          <a:bodyPr/>
          <a:lstStyle/>
          <a:p>
            <a:endParaRPr lang="nl-NL" dirty="0"/>
          </a:p>
        </p:txBody>
      </p:sp>
    </p:spTree>
    <p:custDataLst>
      <p:tags r:id="rId1"/>
    </p:custDataLst>
    <p:extLst>
      <p:ext uri="{BB962C8B-B14F-4D97-AF65-F5344CB8AC3E}">
        <p14:creationId xmlns:p14="http://schemas.microsoft.com/office/powerpoint/2010/main" val="867650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Tijdelijke aanduiding voor afbeelding 10">
            <a:extLst>
              <a:ext uri="{FF2B5EF4-FFF2-40B4-BE49-F238E27FC236}">
                <a16:creationId xmlns:a16="http://schemas.microsoft.com/office/drawing/2014/main" id="{BEE135DC-576A-4765-AD7C-B1AF6F5F0367}"/>
              </a:ext>
            </a:extLst>
          </p:cNvPr>
          <p:cNvPicPr>
            <a:picLocks noGrp="1" noChangeAspect="1"/>
          </p:cNvPicPr>
          <p:nvPr>
            <p:ph type="pic" idx="13"/>
          </p:nvPr>
        </p:nvPicPr>
        <p:blipFill>
          <a:blip r:embed="rId3">
            <a:extLst>
              <a:ext uri="{28A0092B-C50C-407E-A947-70E740481C1C}">
                <a14:useLocalDpi xmlns:a14="http://schemas.microsoft.com/office/drawing/2010/main" val="0"/>
              </a:ext>
            </a:extLst>
          </a:blip>
          <a:srcRect l="15452" r="15452"/>
          <a:stretch>
            <a:fillRect/>
          </a:stretch>
        </p:blipFill>
        <p:spPr/>
      </p:pic>
      <p:sp>
        <p:nvSpPr>
          <p:cNvPr id="7" name="Titel 6">
            <a:extLst>
              <a:ext uri="{FF2B5EF4-FFF2-40B4-BE49-F238E27FC236}">
                <a16:creationId xmlns:a16="http://schemas.microsoft.com/office/drawing/2014/main" id="{973BE616-264D-4C2A-BEB2-A2DF1EB40D5C}"/>
              </a:ext>
            </a:extLst>
          </p:cNvPr>
          <p:cNvSpPr>
            <a:spLocks noGrp="1"/>
          </p:cNvSpPr>
          <p:nvPr>
            <p:ph type="title"/>
          </p:nvPr>
        </p:nvSpPr>
        <p:spPr/>
        <p:txBody>
          <a:bodyPr/>
          <a:lstStyle/>
          <a:p>
            <a:r>
              <a:rPr lang="nl-NL" dirty="0">
                <a:solidFill>
                  <a:schemeClr val="tx2"/>
                </a:solidFill>
              </a:rPr>
              <a:t>MSC GÜLSÜN – 23,756 TEU, 400 x 62 METER</a:t>
            </a:r>
          </a:p>
        </p:txBody>
      </p:sp>
      <p:sp>
        <p:nvSpPr>
          <p:cNvPr id="4" name="Tijdelijke aanduiding voor datum 3">
            <a:extLst>
              <a:ext uri="{FF2B5EF4-FFF2-40B4-BE49-F238E27FC236}">
                <a16:creationId xmlns:a16="http://schemas.microsoft.com/office/drawing/2014/main" id="{2ED87E21-18B4-4E60-B6E8-AB7C06CD648A}"/>
              </a:ext>
            </a:extLst>
          </p:cNvPr>
          <p:cNvSpPr>
            <a:spLocks noGrp="1"/>
          </p:cNvSpPr>
          <p:nvPr>
            <p:ph type="dt" sz="half" idx="10"/>
          </p:nvPr>
        </p:nvSpPr>
        <p:spPr/>
        <p:txBody>
          <a:bodyPr/>
          <a:lstStyle/>
          <a:p>
            <a:fld id="{FE251B9F-FCC2-4793-8F54-2B12C81E9D7A}" type="datetime4">
              <a:rPr lang="en-GB" smtClean="0"/>
              <a:t>29 May 2020</a:t>
            </a:fld>
            <a:endParaRPr lang="en-GB" dirty="0"/>
          </a:p>
        </p:txBody>
      </p:sp>
      <p:sp>
        <p:nvSpPr>
          <p:cNvPr id="5" name="Tijdelijke aanduiding voor voettekst 4">
            <a:extLst>
              <a:ext uri="{FF2B5EF4-FFF2-40B4-BE49-F238E27FC236}">
                <a16:creationId xmlns:a16="http://schemas.microsoft.com/office/drawing/2014/main" id="{02D7DCDE-ED8A-43DF-8BB7-7343A148232D}"/>
              </a:ext>
            </a:extLst>
          </p:cNvPr>
          <p:cNvSpPr>
            <a:spLocks noGrp="1"/>
          </p:cNvSpPr>
          <p:nvPr>
            <p:ph type="ftr" sz="quarter" idx="11"/>
          </p:nvPr>
        </p:nvSpPr>
        <p:spPr/>
        <p:txBody>
          <a:bodyPr/>
          <a:lstStyle/>
          <a:p>
            <a:r>
              <a:rPr lang="en-GB"/>
              <a:t>|</a:t>
            </a:r>
            <a:endParaRPr lang="en-GB" dirty="0"/>
          </a:p>
        </p:txBody>
      </p:sp>
      <p:sp>
        <p:nvSpPr>
          <p:cNvPr id="6" name="Tijdelijke aanduiding voor dianummer 5">
            <a:extLst>
              <a:ext uri="{FF2B5EF4-FFF2-40B4-BE49-F238E27FC236}">
                <a16:creationId xmlns:a16="http://schemas.microsoft.com/office/drawing/2014/main" id="{379D1646-BFF7-4C60-AA9C-328560F18490}"/>
              </a:ext>
            </a:extLst>
          </p:cNvPr>
          <p:cNvSpPr>
            <a:spLocks noGrp="1"/>
          </p:cNvSpPr>
          <p:nvPr>
            <p:ph type="sldNum" sz="quarter" idx="12"/>
          </p:nvPr>
        </p:nvSpPr>
        <p:spPr/>
        <p:txBody>
          <a:bodyPr/>
          <a:lstStyle/>
          <a:p>
            <a:fld id="{534B5F9C-CFE5-4EC6-9BBB-664E2F56B033}" type="slidenum">
              <a:rPr lang="en-GB" smtClean="0"/>
              <a:t>20</a:t>
            </a:fld>
            <a:endParaRPr lang="en-GB" dirty="0"/>
          </a:p>
        </p:txBody>
      </p:sp>
      <p:sp>
        <p:nvSpPr>
          <p:cNvPr id="9" name="Tijdelijke aanduiding voor SmartArt 8">
            <a:extLst>
              <a:ext uri="{FF2B5EF4-FFF2-40B4-BE49-F238E27FC236}">
                <a16:creationId xmlns:a16="http://schemas.microsoft.com/office/drawing/2014/main" id="{4FC00F19-C8E2-4036-9BF9-7963CC93D87C}"/>
              </a:ext>
            </a:extLst>
          </p:cNvPr>
          <p:cNvSpPr>
            <a:spLocks noGrp="1"/>
          </p:cNvSpPr>
          <p:nvPr>
            <p:ph type="dgm" sz="quarter" idx="14"/>
          </p:nvPr>
        </p:nvSpPr>
        <p:spPr/>
      </p:sp>
    </p:spTree>
    <p:custDataLst>
      <p:tags r:id="rId1"/>
    </p:custDataLst>
    <p:extLst>
      <p:ext uri="{BB962C8B-B14F-4D97-AF65-F5344CB8AC3E}">
        <p14:creationId xmlns:p14="http://schemas.microsoft.com/office/powerpoint/2010/main" val="1698416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070DB708-B5CC-4807-92B3-BB20BBA8C056}"/>
              </a:ext>
            </a:extLst>
          </p:cNvPr>
          <p:cNvSpPr>
            <a:spLocks noGrp="1"/>
          </p:cNvSpPr>
          <p:nvPr>
            <p:ph type="title"/>
          </p:nvPr>
        </p:nvSpPr>
        <p:spPr/>
        <p:txBody>
          <a:bodyPr/>
          <a:lstStyle/>
          <a:p>
            <a:r>
              <a:rPr lang="en-US" b="1" dirty="0"/>
              <a:t>Port of Rotterdam, the fastest route to freshness</a:t>
            </a:r>
            <a:endParaRPr lang="nl-NL" dirty="0"/>
          </a:p>
        </p:txBody>
      </p:sp>
      <p:sp>
        <p:nvSpPr>
          <p:cNvPr id="17" name="Tijdelijke aanduiding voor verticale tekst 16">
            <a:extLst>
              <a:ext uri="{FF2B5EF4-FFF2-40B4-BE49-F238E27FC236}">
                <a16:creationId xmlns:a16="http://schemas.microsoft.com/office/drawing/2014/main" id="{059794EC-FEB1-489D-BF4E-0FE961333EB0}"/>
              </a:ext>
            </a:extLst>
          </p:cNvPr>
          <p:cNvSpPr>
            <a:spLocks noGrp="1"/>
          </p:cNvSpPr>
          <p:nvPr>
            <p:ph type="body" orient="vert" idx="1"/>
          </p:nvPr>
        </p:nvSpPr>
        <p:spPr>
          <a:xfrm>
            <a:off x="5026349" y="1420284"/>
            <a:ext cx="7167239" cy="4510800"/>
          </a:xfrm>
        </p:spPr>
        <p:txBody>
          <a:bodyPr/>
          <a:lstStyle/>
          <a:p>
            <a:r>
              <a:rPr lang="en-GB" sz="1600" dirty="0"/>
              <a:t>Our ingredients for success:</a:t>
            </a:r>
            <a:endParaRPr lang="en-GB" sz="300" dirty="0"/>
          </a:p>
          <a:p>
            <a:r>
              <a:rPr lang="en-GB" sz="1800" b="1" dirty="0"/>
              <a:t>Warranty of freshness</a:t>
            </a:r>
          </a:p>
          <a:p>
            <a:r>
              <a:rPr lang="en-GB" sz="1400" dirty="0"/>
              <a:t>Short transit times due to our </a:t>
            </a:r>
            <a:r>
              <a:rPr lang="en-GB" sz="1400"/>
              <a:t>extensive deep-sea </a:t>
            </a:r>
            <a:r>
              <a:rPr lang="en-GB" sz="1400" dirty="0"/>
              <a:t>and shortsea network, dedicated agrofood facilities and our location in the midst of the perishable trade and production areas in the Netherlands.</a:t>
            </a:r>
            <a:endParaRPr lang="en-GB" sz="1800" b="1" dirty="0"/>
          </a:p>
          <a:p>
            <a:r>
              <a:rPr lang="en-GB" sz="1800" b="1" dirty="0"/>
              <a:t>Futureproof</a:t>
            </a:r>
          </a:p>
          <a:p>
            <a:r>
              <a:rPr lang="en-GB" sz="1400" dirty="0"/>
              <a:t>The Port of Rotterdam can handle any type of vessel, from conventional reefer vessels to world’s largest container vessels. And there is room for growth: the Rotterdam Food Hub has 30 ha land available for businesses in the fresh and frozen food industry.</a:t>
            </a:r>
          </a:p>
          <a:p>
            <a:r>
              <a:rPr lang="en-GB" sz="1800" b="1" dirty="0"/>
              <a:t>Efficiency and transparency</a:t>
            </a:r>
          </a:p>
          <a:p>
            <a:r>
              <a:rPr lang="en-GB" sz="1400" dirty="0"/>
              <a:t>With our highly automated terminals, digital track &amp; trace solutions and supply chain collaborations, we ensure a transparent logistics process, to deliver or collect your fresh or frozen products in the most efficient way. </a:t>
            </a:r>
          </a:p>
        </p:txBody>
      </p:sp>
      <p:sp>
        <p:nvSpPr>
          <p:cNvPr id="3" name="Tijdelijke aanduiding voor datum 2">
            <a:extLst>
              <a:ext uri="{FF2B5EF4-FFF2-40B4-BE49-F238E27FC236}">
                <a16:creationId xmlns:a16="http://schemas.microsoft.com/office/drawing/2014/main" id="{3B20582C-69C5-43C5-B5B1-3850A05F0199}"/>
              </a:ext>
            </a:extLst>
          </p:cNvPr>
          <p:cNvSpPr>
            <a:spLocks noGrp="1"/>
          </p:cNvSpPr>
          <p:nvPr>
            <p:ph type="dt" sz="half" idx="10"/>
          </p:nvPr>
        </p:nvSpPr>
        <p:spPr/>
        <p:txBody>
          <a:bodyPr/>
          <a:lstStyle/>
          <a:p>
            <a:fld id="{1B367D7E-539A-4997-8601-AA692D519096}" type="datetime4">
              <a:rPr lang="nl-NL" smtClean="0"/>
              <a:t>29 mei 2020</a:t>
            </a:fld>
            <a:endParaRPr lang="en-GB"/>
          </a:p>
        </p:txBody>
      </p:sp>
      <p:sp>
        <p:nvSpPr>
          <p:cNvPr id="4" name="Tijdelijke aanduiding voor voettekst 3">
            <a:extLst>
              <a:ext uri="{FF2B5EF4-FFF2-40B4-BE49-F238E27FC236}">
                <a16:creationId xmlns:a16="http://schemas.microsoft.com/office/drawing/2014/main" id="{11D9033A-5C8A-44CC-BF32-C35F13075273}"/>
              </a:ext>
            </a:extLst>
          </p:cNvPr>
          <p:cNvSpPr>
            <a:spLocks noGrp="1"/>
          </p:cNvSpPr>
          <p:nvPr>
            <p:ph type="ftr" sz="quarter" idx="11"/>
          </p:nvPr>
        </p:nvSpPr>
        <p:spPr/>
        <p:txBody>
          <a:bodyPr/>
          <a:lstStyle/>
          <a:p>
            <a:r>
              <a:rPr lang="en-GB"/>
              <a:t>|</a:t>
            </a:r>
          </a:p>
        </p:txBody>
      </p:sp>
      <p:sp>
        <p:nvSpPr>
          <p:cNvPr id="5" name="Tijdelijke aanduiding voor dianummer 4">
            <a:extLst>
              <a:ext uri="{FF2B5EF4-FFF2-40B4-BE49-F238E27FC236}">
                <a16:creationId xmlns:a16="http://schemas.microsoft.com/office/drawing/2014/main" id="{D7AD0084-1B3E-42B3-B0F6-350EDE1E6B89}"/>
              </a:ext>
            </a:extLst>
          </p:cNvPr>
          <p:cNvSpPr>
            <a:spLocks noGrp="1"/>
          </p:cNvSpPr>
          <p:nvPr>
            <p:ph type="sldNum" sz="quarter" idx="12"/>
          </p:nvPr>
        </p:nvSpPr>
        <p:spPr/>
        <p:txBody>
          <a:bodyPr/>
          <a:lstStyle/>
          <a:p>
            <a:fld id="{534B5F9C-CFE5-4EC6-9BBB-664E2F56B033}" type="slidenum">
              <a:rPr lang="en-GB" smtClean="0"/>
              <a:t>21</a:t>
            </a:fld>
            <a:endParaRPr lang="en-GB"/>
          </a:p>
        </p:txBody>
      </p:sp>
      <p:sp>
        <p:nvSpPr>
          <p:cNvPr id="21" name="Tijdelijke aanduiding voor afbeelding 20">
            <a:extLst>
              <a:ext uri="{FF2B5EF4-FFF2-40B4-BE49-F238E27FC236}">
                <a16:creationId xmlns:a16="http://schemas.microsoft.com/office/drawing/2014/main" id="{26AA87DA-6AEF-4973-96DF-9D0E4D404904}"/>
              </a:ext>
            </a:extLst>
          </p:cNvPr>
          <p:cNvSpPr>
            <a:spLocks noGrp="1"/>
          </p:cNvSpPr>
          <p:nvPr>
            <p:ph type="pic" idx="13"/>
          </p:nvPr>
        </p:nvSpPr>
        <p:spPr/>
      </p:sp>
      <p:pic>
        <p:nvPicPr>
          <p:cNvPr id="22" name="Tijdelijke aanduiding voor afbeelding 14">
            <a:extLst>
              <a:ext uri="{FF2B5EF4-FFF2-40B4-BE49-F238E27FC236}">
                <a16:creationId xmlns:a16="http://schemas.microsoft.com/office/drawing/2014/main" id="{D5C1C547-E832-42AF-81C6-F8DF1AC68C8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104" y="1433270"/>
            <a:ext cx="4760396" cy="4506509"/>
          </a:xfrm>
          <a:prstGeom prst="rect">
            <a:avLst/>
          </a:prstGeom>
          <a:noFill/>
        </p:spPr>
      </p:pic>
    </p:spTree>
    <p:extLst>
      <p:ext uri="{BB962C8B-B14F-4D97-AF65-F5344CB8AC3E}">
        <p14:creationId xmlns:p14="http://schemas.microsoft.com/office/powerpoint/2010/main" val="332830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4D07A791-9627-48F6-A786-171ED019A4EB}"/>
              </a:ext>
            </a:extLst>
          </p:cNvPr>
          <p:cNvSpPr>
            <a:spLocks noGrp="1"/>
          </p:cNvSpPr>
          <p:nvPr>
            <p:ph type="title"/>
          </p:nvPr>
        </p:nvSpPr>
        <p:spPr/>
        <p:txBody>
          <a:bodyPr/>
          <a:lstStyle/>
          <a:p>
            <a:pPr algn="l"/>
            <a:r>
              <a:rPr lang="nl-NL" dirty="0"/>
              <a:t>Agrofood </a:t>
            </a:r>
            <a:r>
              <a:rPr lang="nl-NL" dirty="0" err="1"/>
              <a:t>facilities</a:t>
            </a:r>
            <a:r>
              <a:rPr lang="nl-NL" dirty="0"/>
              <a:t> in Rotterdam</a:t>
            </a:r>
          </a:p>
        </p:txBody>
      </p:sp>
      <p:pic>
        <p:nvPicPr>
          <p:cNvPr id="5" name="Tijdelijke aanduiding voor afbeelding 4">
            <a:extLst>
              <a:ext uri="{FF2B5EF4-FFF2-40B4-BE49-F238E27FC236}">
                <a16:creationId xmlns:a16="http://schemas.microsoft.com/office/drawing/2014/main" id="{C2E24884-22C1-4B38-BC87-82C5F325BFB9}"/>
              </a:ext>
            </a:extLst>
          </p:cNvPr>
          <p:cNvPicPr>
            <a:picLocks noGrp="1" noChangeAspect="1"/>
          </p:cNvPicPr>
          <p:nvPr>
            <p:ph idx="14"/>
          </p:nvPr>
        </p:nvPicPr>
        <p:blipFill rotWithShape="1">
          <a:blip r:embed="rId3" cstate="print">
            <a:extLst>
              <a:ext uri="{28A0092B-C50C-407E-A947-70E740481C1C}">
                <a14:useLocalDpi xmlns:a14="http://schemas.microsoft.com/office/drawing/2010/main" val="0"/>
              </a:ext>
            </a:extLst>
          </a:blip>
          <a:srcRect l="1" t="6181" r="1833" b="9131"/>
          <a:stretch/>
        </p:blipFill>
        <p:spPr>
          <a:xfrm>
            <a:off x="1587" y="840001"/>
            <a:ext cx="12192000" cy="5258958"/>
          </a:xfrm>
          <a:solidFill>
            <a:schemeClr val="bg1"/>
          </a:solidFill>
        </p:spPr>
      </p:pic>
    </p:spTree>
    <p:extLst>
      <p:ext uri="{BB962C8B-B14F-4D97-AF65-F5344CB8AC3E}">
        <p14:creationId xmlns:p14="http://schemas.microsoft.com/office/powerpoint/2010/main" val="1089874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jdelijke aanduiding voor verticale tekst 7"/>
          <p:cNvSpPr>
            <a:spLocks noGrp="1"/>
          </p:cNvSpPr>
          <p:nvPr>
            <p:ph type="body" orient="vert" idx="1"/>
          </p:nvPr>
        </p:nvSpPr>
        <p:spPr/>
        <p:txBody>
          <a:bodyPr/>
          <a:lstStyle/>
          <a:p>
            <a:r>
              <a:rPr lang="nl-NL" dirty="0"/>
              <a:t>AFBEELDINGEN ARTIST IMPRESSION</a:t>
            </a:r>
          </a:p>
        </p:txBody>
      </p:sp>
      <p:sp>
        <p:nvSpPr>
          <p:cNvPr id="4" name="Tijdelijke aanduiding voor datum 3"/>
          <p:cNvSpPr>
            <a:spLocks noGrp="1"/>
          </p:cNvSpPr>
          <p:nvPr>
            <p:ph type="dt" sz="half" idx="10"/>
          </p:nvPr>
        </p:nvSpPr>
        <p:spPr/>
        <p:txBody>
          <a:bodyPr/>
          <a:lstStyle/>
          <a:p>
            <a:pPr defTabSz="1218986"/>
            <a:fld id="{2A583D07-FC8B-4061-9265-1755AEFD940F}" type="datetime4">
              <a:rPr lang="nl-NL">
                <a:solidFill>
                  <a:srgbClr val="001F4B"/>
                </a:solidFill>
                <a:latin typeface="Arial"/>
              </a:rPr>
              <a:pPr defTabSz="1218986"/>
              <a:t>29 mei 2020</a:t>
            </a:fld>
            <a:endParaRPr lang="en-GB">
              <a:solidFill>
                <a:srgbClr val="001F4B"/>
              </a:solidFill>
              <a:latin typeface="Arial"/>
            </a:endParaRPr>
          </a:p>
        </p:txBody>
      </p:sp>
      <p:sp>
        <p:nvSpPr>
          <p:cNvPr id="5" name="Tijdelijke aanduiding voor voettekst 4"/>
          <p:cNvSpPr>
            <a:spLocks noGrp="1"/>
          </p:cNvSpPr>
          <p:nvPr>
            <p:ph type="ftr" sz="quarter" idx="11"/>
          </p:nvPr>
        </p:nvSpPr>
        <p:spPr/>
        <p:txBody>
          <a:bodyPr/>
          <a:lstStyle/>
          <a:p>
            <a:pPr defTabSz="1218986"/>
            <a:r>
              <a:rPr lang="en-GB">
                <a:solidFill>
                  <a:srgbClr val="001F4B"/>
                </a:solidFill>
              </a:rPr>
              <a:t>|</a:t>
            </a:r>
          </a:p>
        </p:txBody>
      </p:sp>
      <p:sp>
        <p:nvSpPr>
          <p:cNvPr id="6" name="Tijdelijke aanduiding voor dianummer 5"/>
          <p:cNvSpPr>
            <a:spLocks noGrp="1"/>
          </p:cNvSpPr>
          <p:nvPr>
            <p:ph type="sldNum" sz="quarter" idx="12"/>
          </p:nvPr>
        </p:nvSpPr>
        <p:spPr/>
        <p:txBody>
          <a:bodyPr/>
          <a:lstStyle/>
          <a:p>
            <a:pPr defTabSz="1218986"/>
            <a:fld id="{534B5F9C-CFE5-4EC6-9BBB-664E2F56B033}" type="slidenum">
              <a:rPr lang="en-GB">
                <a:solidFill>
                  <a:srgbClr val="001F4B"/>
                </a:solidFill>
                <a:latin typeface="Arial"/>
              </a:rPr>
              <a:pPr defTabSz="1218986"/>
              <a:t>23</a:t>
            </a:fld>
            <a:endParaRPr lang="en-GB">
              <a:solidFill>
                <a:srgbClr val="001F4B"/>
              </a:solidFill>
              <a:latin typeface="Arial"/>
            </a:endParaRPr>
          </a:p>
        </p:txBody>
      </p:sp>
      <p:pic>
        <p:nvPicPr>
          <p:cNvPr id="3074" name="Picture 2" descr="C:\Users\kleinhk\OneDrive - Port of Rotterdam\Europoort\AgroFood Cluster\Artist Impression\PoR - Agro Food Cluster - Zuid.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5753"/>
          <a:stretch/>
        </p:blipFill>
        <p:spPr bwMode="auto">
          <a:xfrm>
            <a:off x="1588" y="14341"/>
            <a:ext cx="12192000" cy="6856215"/>
          </a:xfrm>
          <a:prstGeom prst="rect">
            <a:avLst/>
          </a:prstGeom>
          <a:noFill/>
          <a:extLst>
            <a:ext uri="{909E8E84-426E-40DD-AFC4-6F175D3DCCD1}">
              <a14:hiddenFill xmlns:a14="http://schemas.microsoft.com/office/drawing/2010/main">
                <a:solidFill>
                  <a:srgbClr val="FFFFFF"/>
                </a:solidFill>
              </a14:hiddenFill>
            </a:ext>
          </a:extLst>
        </p:spPr>
      </p:pic>
      <p:sp>
        <p:nvSpPr>
          <p:cNvPr id="7" name="Titel 6"/>
          <p:cNvSpPr>
            <a:spLocks noGrp="1"/>
          </p:cNvSpPr>
          <p:nvPr>
            <p:ph type="title"/>
          </p:nvPr>
        </p:nvSpPr>
        <p:spPr>
          <a:xfrm>
            <a:off x="141546" y="192001"/>
            <a:ext cx="11889284" cy="648000"/>
          </a:xfrm>
          <a:solidFill>
            <a:srgbClr val="FFFFFF">
              <a:alpha val="67843"/>
            </a:srgbClr>
          </a:solidFill>
          <a:effectLst>
            <a:softEdge rad="12700"/>
          </a:effectLst>
        </p:spPr>
        <p:txBody>
          <a:bodyPr/>
          <a:lstStyle/>
          <a:p>
            <a:r>
              <a:rPr lang="nl-NL" dirty="0"/>
              <a:t>  Rotterdam Food Hub</a:t>
            </a:r>
          </a:p>
        </p:txBody>
      </p:sp>
      <p:sp>
        <p:nvSpPr>
          <p:cNvPr id="10" name="Rechteck 1386">
            <a:extLst>
              <a:ext uri="{FF2B5EF4-FFF2-40B4-BE49-F238E27FC236}">
                <a16:creationId xmlns:a16="http://schemas.microsoft.com/office/drawing/2014/main" id="{EE6C9582-45BD-4A56-8C06-99B42B612C50}"/>
              </a:ext>
            </a:extLst>
          </p:cNvPr>
          <p:cNvSpPr/>
          <p:nvPr/>
        </p:nvSpPr>
        <p:spPr bwMode="gray">
          <a:xfrm>
            <a:off x="141546" y="954329"/>
            <a:ext cx="8967946" cy="1162957"/>
          </a:xfrm>
          <a:prstGeom prst="rect">
            <a:avLst/>
          </a:prstGeom>
          <a:solidFill>
            <a:srgbClr val="FFFFFF">
              <a:alpha val="67843"/>
            </a:srgbClr>
          </a:solidFill>
          <a:effectLst>
            <a:softEdge rad="12700"/>
          </a:effectLst>
        </p:spPr>
        <p:txBody>
          <a:bodyPr vert="horz" lIns="72000" tIns="144000" rIns="72000" bIns="144000" rtlCol="0" anchor="t">
            <a:noAutofit/>
          </a:bodyPr>
          <a:lstStyle/>
          <a:p>
            <a:pPr marL="271463" lvl="3"/>
            <a:r>
              <a:rPr lang="en-GB" sz="2000" dirty="0">
                <a:solidFill>
                  <a:srgbClr val="5C6B7A"/>
                </a:solidFill>
                <a:cs typeface="Arial" charset="0"/>
              </a:rPr>
              <a:t>A dedicated location in the Port of Rotterdam with an optimal logistics infrastructure and unique nautical facilities, where various businesses in the fresh and frozen supply chain would like realize their growth ambitions.</a:t>
            </a:r>
          </a:p>
        </p:txBody>
      </p:sp>
      <p:sp>
        <p:nvSpPr>
          <p:cNvPr id="11" name="Rechteck 1386">
            <a:extLst>
              <a:ext uri="{FF2B5EF4-FFF2-40B4-BE49-F238E27FC236}">
                <a16:creationId xmlns:a16="http://schemas.microsoft.com/office/drawing/2014/main" id="{B953AB39-C7E9-4BB6-BBE4-1DF62107213A}"/>
              </a:ext>
            </a:extLst>
          </p:cNvPr>
          <p:cNvSpPr/>
          <p:nvPr/>
        </p:nvSpPr>
        <p:spPr bwMode="gray">
          <a:xfrm>
            <a:off x="6029525" y="5769321"/>
            <a:ext cx="6104684" cy="1029676"/>
          </a:xfrm>
          <a:prstGeom prst="rect">
            <a:avLst/>
          </a:prstGeom>
          <a:solidFill>
            <a:srgbClr val="FFFFFF">
              <a:alpha val="78039"/>
            </a:srgbClr>
          </a:solidFill>
          <a:ln w="12700">
            <a:noFill/>
            <a:miter lim="800000"/>
            <a:headEnd/>
            <a:tailEnd/>
          </a:ln>
          <a:effectLst>
            <a:outerShdw blurRad="50800" dist="38100" dir="2700000" algn="tl" rotWithShape="0">
              <a:prstClr val="black">
                <a:alpha val="40000"/>
              </a:prstClr>
            </a:outerShdw>
            <a:softEdge rad="12700"/>
          </a:effectLst>
        </p:spPr>
        <p:txBody>
          <a:bodyPr lIns="107972" tIns="107972" rIns="143963" bIns="71981" rtlCol="0" anchor="ctr"/>
          <a:lstStyle/>
          <a:p>
            <a:pPr marL="180975" lvl="3" defTabSz="1218986">
              <a:lnSpc>
                <a:spcPct val="95000"/>
              </a:lnSpc>
              <a:spcAft>
                <a:spcPts val="800"/>
              </a:spcAft>
              <a:buClr>
                <a:srgbClr val="969696"/>
              </a:buClr>
            </a:pPr>
            <a:r>
              <a:rPr lang="en-GB" sz="2000" dirty="0">
                <a:solidFill>
                  <a:srgbClr val="5C6B7A"/>
                </a:solidFill>
                <a:cs typeface="Arial" charset="0"/>
              </a:rPr>
              <a:t>Thanks to the shared use of facilities, synergy benefits can be achieved that will enable fast handling of products and reduce logistic costs.</a:t>
            </a:r>
          </a:p>
        </p:txBody>
      </p:sp>
    </p:spTree>
    <p:extLst>
      <p:ext uri="{BB962C8B-B14F-4D97-AF65-F5344CB8AC3E}">
        <p14:creationId xmlns:p14="http://schemas.microsoft.com/office/powerpoint/2010/main" val="2571408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fgeronde rechthoek 7"/>
          <p:cNvSpPr/>
          <p:nvPr/>
        </p:nvSpPr>
        <p:spPr>
          <a:xfrm>
            <a:off x="1587" y="-1498599"/>
            <a:ext cx="12660313" cy="7487700"/>
          </a:xfrm>
          <a:prstGeom prst="roundRect">
            <a:avLst>
              <a:gd name="adj" fmla="val 1389"/>
            </a:avLst>
          </a:prstGeom>
          <a:blipFill dpi="0" rotWithShape="1">
            <a:blip r:embed="rId4" cstate="email">
              <a:extLst>
                <a:ext uri="{28A0092B-C50C-407E-A947-70E740481C1C}">
                  <a14:useLocalDpi xmlns:a14="http://schemas.microsoft.com/office/drawing/2010/main"/>
                </a:ext>
              </a:extLst>
            </a:blip>
            <a:srcRect/>
            <a:stretch>
              <a:fillRect t="20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3199" dirty="0">
                <a:latin typeface="Helvetica" pitchFamily="34" charset="0"/>
              </a:rPr>
              <a:t> </a:t>
            </a:r>
          </a:p>
        </p:txBody>
      </p:sp>
      <p:sp>
        <p:nvSpPr>
          <p:cNvPr id="3" name="Tijdelijke aanduiding voor afbeelding 2">
            <a:extLst>
              <a:ext uri="{FF2B5EF4-FFF2-40B4-BE49-F238E27FC236}">
                <a16:creationId xmlns:a16="http://schemas.microsoft.com/office/drawing/2014/main" id="{E8479179-6804-48AA-B831-4A49D44C5AE7}"/>
              </a:ext>
            </a:extLst>
          </p:cNvPr>
          <p:cNvSpPr>
            <a:spLocks noGrp="1"/>
          </p:cNvSpPr>
          <p:nvPr>
            <p:ph type="pic" idx="13"/>
          </p:nvPr>
        </p:nvSpPr>
        <p:spPr/>
      </p:sp>
      <p:sp>
        <p:nvSpPr>
          <p:cNvPr id="2" name="Title 1"/>
          <p:cNvSpPr>
            <a:spLocks noGrp="1"/>
          </p:cNvSpPr>
          <p:nvPr>
            <p:ph type="title"/>
          </p:nvPr>
        </p:nvSpPr>
        <p:spPr>
          <a:prstGeom prst="rect">
            <a:avLst/>
          </a:prstGeom>
        </p:spPr>
        <p:txBody>
          <a:bodyPr>
            <a:noAutofit/>
          </a:bodyPr>
          <a:lstStyle/>
          <a:p>
            <a:r>
              <a:rPr lang="en-US" dirty="0">
                <a:solidFill>
                  <a:schemeClr val="bg1"/>
                </a:solidFill>
              </a:rPr>
              <a:t>DEDICATED</a:t>
            </a:r>
            <a:br>
              <a:rPr lang="en-US" dirty="0">
                <a:solidFill>
                  <a:schemeClr val="bg1"/>
                </a:solidFill>
              </a:rPr>
            </a:br>
            <a:r>
              <a:rPr lang="en-US" dirty="0">
                <a:solidFill>
                  <a:schemeClr val="bg1"/>
                </a:solidFill>
              </a:rPr>
              <a:t>CONTAINER CLUSTERS</a:t>
            </a:r>
            <a:endParaRPr lang="en-US" b="0" dirty="0">
              <a:solidFill>
                <a:schemeClr val="bg1"/>
              </a:solidFill>
            </a:endParaRPr>
          </a:p>
        </p:txBody>
      </p:sp>
      <p:sp>
        <p:nvSpPr>
          <p:cNvPr id="21" name="Rectangle 20"/>
          <p:cNvSpPr/>
          <p:nvPr/>
        </p:nvSpPr>
        <p:spPr>
          <a:xfrm>
            <a:off x="1587" y="5348166"/>
            <a:ext cx="3522040" cy="717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el 24"/>
          <p:cNvSpPr txBox="1">
            <a:spLocks/>
          </p:cNvSpPr>
          <p:nvPr/>
        </p:nvSpPr>
        <p:spPr>
          <a:xfrm>
            <a:off x="9033433" y="4348499"/>
            <a:ext cx="2540108" cy="647831"/>
          </a:xfrm>
          <a:prstGeom prst="rect">
            <a:avLst/>
          </a:prstGeom>
        </p:spPr>
        <p:txBody>
          <a:bodyPr vert="horz" lIns="71981" tIns="143963" rIns="71981" bIns="143963" rtlCol="0" anchor="t">
            <a:noAutofit/>
          </a:bodyPr>
          <a:lstStyle>
            <a:lvl1pPr algn="l" defTabSz="914400" rtl="0" eaLnBrk="1" latinLnBrk="0" hangingPunct="1">
              <a:lnSpc>
                <a:spcPct val="90000"/>
              </a:lnSpc>
              <a:spcBef>
                <a:spcPct val="0"/>
              </a:spcBef>
              <a:buNone/>
              <a:defRPr sz="3200" kern="1200">
                <a:solidFill>
                  <a:schemeClr val="tx2"/>
                </a:solidFill>
                <a:latin typeface="+mj-lt"/>
                <a:ea typeface="+mj-ea"/>
                <a:cs typeface="+mj-cs"/>
              </a:defRPr>
            </a:lvl1pPr>
          </a:lstStyle>
          <a:p>
            <a:pPr algn="ctr"/>
            <a:endParaRPr lang="nl-NL" sz="1800" b="1" dirty="0">
              <a:solidFill>
                <a:prstClr val="white"/>
              </a:solidFill>
              <a:latin typeface="Futura Std Bold" charset="0"/>
            </a:endParaRPr>
          </a:p>
        </p:txBody>
      </p:sp>
      <p:sp>
        <p:nvSpPr>
          <p:cNvPr id="4" name="Vrije vorm 22"/>
          <p:cNvSpPr/>
          <p:nvPr/>
        </p:nvSpPr>
        <p:spPr>
          <a:xfrm>
            <a:off x="79543" y="1811669"/>
            <a:ext cx="2722228" cy="2168810"/>
          </a:xfrm>
          <a:custGeom>
            <a:avLst/>
            <a:gdLst>
              <a:gd name="connsiteX0" fmla="*/ 868593 w 2646289"/>
              <a:gd name="connsiteY0" fmla="*/ 1516593 h 2106129"/>
              <a:gd name="connsiteX1" fmla="*/ 529927 w 2646289"/>
              <a:gd name="connsiteY1" fmla="*/ 1787527 h 2106129"/>
              <a:gd name="connsiteX2" fmla="*/ 656927 w 2646289"/>
              <a:gd name="connsiteY2" fmla="*/ 1982260 h 2106129"/>
              <a:gd name="connsiteX3" fmla="*/ 1092960 w 2646289"/>
              <a:gd name="connsiteY3" fmla="*/ 1834093 h 2106129"/>
              <a:gd name="connsiteX4" fmla="*/ 1059093 w 2646289"/>
              <a:gd name="connsiteY4" fmla="*/ 1664760 h 2106129"/>
              <a:gd name="connsiteX5" fmla="*/ 1114127 w 2646289"/>
              <a:gd name="connsiteY5" fmla="*/ 1639360 h 2106129"/>
              <a:gd name="connsiteX6" fmla="*/ 1109893 w 2646289"/>
              <a:gd name="connsiteY6" fmla="*/ 1584327 h 2106129"/>
              <a:gd name="connsiteX7" fmla="*/ 1029460 w 2646289"/>
              <a:gd name="connsiteY7" fmla="*/ 1584327 h 2106129"/>
              <a:gd name="connsiteX8" fmla="*/ 868593 w 2646289"/>
              <a:gd name="connsiteY8" fmla="*/ 1516593 h 2106129"/>
              <a:gd name="connsiteX9" fmla="*/ 1213612 w 2646289"/>
              <a:gd name="connsiteY9" fmla="*/ 0 h 2106129"/>
              <a:gd name="connsiteX10" fmla="*/ 1537462 w 2646289"/>
              <a:gd name="connsiteY10" fmla="*/ 95250 h 2106129"/>
              <a:gd name="connsiteX11" fmla="*/ 1775587 w 2646289"/>
              <a:gd name="connsiteY11" fmla="*/ 47625 h 2106129"/>
              <a:gd name="connsiteX12" fmla="*/ 2632837 w 2646289"/>
              <a:gd name="connsiteY12" fmla="*/ 304800 h 2106129"/>
              <a:gd name="connsiteX13" fmla="*/ 2611013 w 2646289"/>
              <a:gd name="connsiteY13" fmla="*/ 445641 h 2106129"/>
              <a:gd name="connsiteX14" fmla="*/ 2457229 w 2646289"/>
              <a:gd name="connsiteY14" fmla="*/ 560633 h 2106129"/>
              <a:gd name="connsiteX15" fmla="*/ 2238288 w 2646289"/>
              <a:gd name="connsiteY15" fmla="*/ 509118 h 2106129"/>
              <a:gd name="connsiteX16" fmla="*/ 1993590 w 2646289"/>
              <a:gd name="connsiteY16" fmla="*/ 444724 h 2106129"/>
              <a:gd name="connsiteX17" fmla="*/ 1484874 w 2646289"/>
              <a:gd name="connsiteY17" fmla="*/ 283738 h 2106129"/>
              <a:gd name="connsiteX18" fmla="*/ 1439798 w 2646289"/>
              <a:gd name="connsiteY18" fmla="*/ 296617 h 2106129"/>
              <a:gd name="connsiteX19" fmla="*/ 976159 w 2646289"/>
              <a:gd name="connsiteY19" fmla="*/ 161388 h 2106129"/>
              <a:gd name="connsiteX20" fmla="*/ 782976 w 2646289"/>
              <a:gd name="connsiteY20" fmla="*/ 167828 h 2106129"/>
              <a:gd name="connsiteX21" fmla="*/ 518959 w 2646289"/>
              <a:gd name="connsiteY21" fmla="*/ 373890 h 2106129"/>
              <a:gd name="connsiteX22" fmla="*/ 499640 w 2646289"/>
              <a:gd name="connsiteY22" fmla="*/ 464042 h 2106129"/>
              <a:gd name="connsiteX23" fmla="*/ 596590 w 2646289"/>
              <a:gd name="connsiteY23" fmla="*/ 496238 h 2106129"/>
              <a:gd name="connsiteX24" fmla="*/ 370852 w 2646289"/>
              <a:gd name="connsiteY24" fmla="*/ 528436 h 2106129"/>
              <a:gd name="connsiteX25" fmla="*/ 162942 w 2646289"/>
              <a:gd name="connsiteY25" fmla="*/ 800919 h 2106129"/>
              <a:gd name="connsiteX26" fmla="*/ 248502 w 2646289"/>
              <a:gd name="connsiteY26" fmla="*/ 1140183 h 2106129"/>
              <a:gd name="connsiteX27" fmla="*/ 776536 w 2646289"/>
              <a:gd name="connsiteY27" fmla="*/ 637907 h 2106129"/>
              <a:gd name="connsiteX28" fmla="*/ 673505 w 2646289"/>
              <a:gd name="connsiteY28" fmla="*/ 541315 h 2106129"/>
              <a:gd name="connsiteX29" fmla="*/ 705702 w 2646289"/>
              <a:gd name="connsiteY29" fmla="*/ 509118 h 2106129"/>
              <a:gd name="connsiteX30" fmla="*/ 847370 w 2646289"/>
              <a:gd name="connsiteY30" fmla="*/ 573512 h 2106129"/>
              <a:gd name="connsiteX31" fmla="*/ 821612 w 2646289"/>
              <a:gd name="connsiteY31" fmla="*/ 876166 h 2106129"/>
              <a:gd name="connsiteX32" fmla="*/ 396609 w 2646289"/>
              <a:gd name="connsiteY32" fmla="*/ 1301169 h 2106129"/>
              <a:gd name="connsiteX33" fmla="*/ 403049 w 2646289"/>
              <a:gd name="connsiteY33" fmla="*/ 1384881 h 2106129"/>
              <a:gd name="connsiteX34" fmla="*/ 1062436 w 2646289"/>
              <a:gd name="connsiteY34" fmla="*/ 835145 h 2106129"/>
              <a:gd name="connsiteX35" fmla="*/ 1240176 w 2646289"/>
              <a:gd name="connsiteY35" fmla="*/ 914802 h 2106129"/>
              <a:gd name="connsiteX36" fmla="*/ 1265933 w 2646289"/>
              <a:gd name="connsiteY36" fmla="*/ 715180 h 2106129"/>
              <a:gd name="connsiteX37" fmla="*/ 1014795 w 2646289"/>
              <a:gd name="connsiteY37" fmla="*/ 689421 h 2106129"/>
              <a:gd name="connsiteX38" fmla="*/ 1156464 w 2646289"/>
              <a:gd name="connsiteY38" fmla="*/ 391002 h 2106129"/>
              <a:gd name="connsiteX39" fmla="*/ 1581466 w 2646289"/>
              <a:gd name="connsiteY39" fmla="*/ 470481 h 2106129"/>
              <a:gd name="connsiteX40" fmla="*/ 2186773 w 2646289"/>
              <a:gd name="connsiteY40" fmla="*/ 670104 h 2106129"/>
              <a:gd name="connsiteX41" fmla="*/ 1980711 w 2646289"/>
              <a:gd name="connsiteY41" fmla="*/ 747377 h 2106129"/>
              <a:gd name="connsiteX42" fmla="*/ 1581466 w 2646289"/>
              <a:gd name="connsiteY42" fmla="*/ 637907 h 2106129"/>
              <a:gd name="connsiteX43" fmla="*/ 1729573 w 2646289"/>
              <a:gd name="connsiteY43" fmla="*/ 863287 h 2106129"/>
              <a:gd name="connsiteX44" fmla="*/ 2587847 w 2646289"/>
              <a:gd name="connsiteY44" fmla="*/ 784399 h 2106129"/>
              <a:gd name="connsiteX45" fmla="*/ 2642362 w 2646289"/>
              <a:gd name="connsiteY45" fmla="*/ 1104900 h 2106129"/>
              <a:gd name="connsiteX46" fmla="*/ 2509012 w 2646289"/>
              <a:gd name="connsiteY46" fmla="*/ 1257300 h 2106129"/>
              <a:gd name="connsiteX47" fmla="*/ 1727962 w 2646289"/>
              <a:gd name="connsiteY47" fmla="*/ 1495425 h 2106129"/>
              <a:gd name="connsiteX48" fmla="*/ 1594612 w 2646289"/>
              <a:gd name="connsiteY48" fmla="*/ 1171575 h 2106129"/>
              <a:gd name="connsiteX49" fmla="*/ 1507222 w 2646289"/>
              <a:gd name="connsiteY49" fmla="*/ 1158720 h 2106129"/>
              <a:gd name="connsiteX50" fmla="*/ 1558423 w 2646289"/>
              <a:gd name="connsiteY50" fmla="*/ 1390404 h 2106129"/>
              <a:gd name="connsiteX51" fmla="*/ 1680337 w 2646289"/>
              <a:gd name="connsiteY51" fmla="*/ 1647825 h 2106129"/>
              <a:gd name="connsiteX52" fmla="*/ 2502816 w 2646289"/>
              <a:gd name="connsiteY52" fmla="*/ 1388276 h 2106129"/>
              <a:gd name="connsiteX53" fmla="*/ 2545201 w 2646289"/>
              <a:gd name="connsiteY53" fmla="*/ 1526620 h 2106129"/>
              <a:gd name="connsiteX54" fmla="*/ 1651762 w 2646289"/>
              <a:gd name="connsiteY54" fmla="*/ 1819275 h 2106129"/>
              <a:gd name="connsiteX55" fmla="*/ 642112 w 2646289"/>
              <a:gd name="connsiteY55" fmla="*/ 2100494 h 2106129"/>
              <a:gd name="connsiteX56" fmla="*/ 510618 w 2646289"/>
              <a:gd name="connsiteY56" fmla="*/ 2026204 h 2106129"/>
              <a:gd name="connsiteX57" fmla="*/ 405816 w 2646289"/>
              <a:gd name="connsiteY57" fmla="*/ 1924023 h 2106129"/>
              <a:gd name="connsiteX58" fmla="*/ 296837 w 2646289"/>
              <a:gd name="connsiteY58" fmla="*/ 2012640 h 2106129"/>
              <a:gd name="connsiteX59" fmla="*/ 133275 w 2646289"/>
              <a:gd name="connsiteY59" fmla="*/ 1183038 h 2106129"/>
              <a:gd name="connsiteX60" fmla="*/ 29892 w 2646289"/>
              <a:gd name="connsiteY60" fmla="*/ 735827 h 2106129"/>
              <a:gd name="connsiteX61" fmla="*/ 689737 w 2646289"/>
              <a:gd name="connsiteY61" fmla="*/ 104775 h 2106129"/>
              <a:gd name="connsiteX62" fmla="*/ 1213612 w 2646289"/>
              <a:gd name="connsiteY62" fmla="*/ 0 h 2106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646289" h="2106129">
                <a:moveTo>
                  <a:pt x="868593" y="1516593"/>
                </a:moveTo>
                <a:cubicBezTo>
                  <a:pt x="772638" y="1543404"/>
                  <a:pt x="642816" y="1697216"/>
                  <a:pt x="529927" y="1787527"/>
                </a:cubicBezTo>
                <a:cubicBezTo>
                  <a:pt x="432560" y="1865138"/>
                  <a:pt x="568028" y="1993549"/>
                  <a:pt x="656927" y="1982260"/>
                </a:cubicBezTo>
                <a:cubicBezTo>
                  <a:pt x="814971" y="1945571"/>
                  <a:pt x="977249" y="1891948"/>
                  <a:pt x="1092960" y="1834093"/>
                </a:cubicBezTo>
                <a:cubicBezTo>
                  <a:pt x="1111305" y="1764949"/>
                  <a:pt x="1070382" y="1721204"/>
                  <a:pt x="1059093" y="1664760"/>
                </a:cubicBezTo>
                <a:lnTo>
                  <a:pt x="1114127" y="1639360"/>
                </a:lnTo>
                <a:lnTo>
                  <a:pt x="1109893" y="1584327"/>
                </a:lnTo>
                <a:lnTo>
                  <a:pt x="1029460" y="1584327"/>
                </a:lnTo>
                <a:cubicBezTo>
                  <a:pt x="975838" y="1561749"/>
                  <a:pt x="960315" y="1501071"/>
                  <a:pt x="868593" y="1516593"/>
                </a:cubicBezTo>
                <a:close/>
                <a:moveTo>
                  <a:pt x="1213612" y="0"/>
                </a:moveTo>
                <a:cubicBezTo>
                  <a:pt x="1397762" y="3175"/>
                  <a:pt x="1391412" y="73025"/>
                  <a:pt x="1537462" y="95250"/>
                </a:cubicBezTo>
                <a:cubicBezTo>
                  <a:pt x="1616837" y="79375"/>
                  <a:pt x="1713145" y="38100"/>
                  <a:pt x="1775587" y="47625"/>
                </a:cubicBezTo>
                <a:lnTo>
                  <a:pt x="2632837" y="304800"/>
                </a:lnTo>
                <a:cubicBezTo>
                  <a:pt x="2659428" y="351747"/>
                  <a:pt x="2643688" y="381760"/>
                  <a:pt x="2611013" y="445641"/>
                </a:cubicBezTo>
                <a:cubicBezTo>
                  <a:pt x="2580919" y="483972"/>
                  <a:pt x="2559290" y="522302"/>
                  <a:pt x="2457229" y="560633"/>
                </a:cubicBezTo>
                <a:lnTo>
                  <a:pt x="2238288" y="509118"/>
                </a:lnTo>
                <a:cubicBezTo>
                  <a:pt x="2139789" y="525753"/>
                  <a:pt x="2058223" y="508523"/>
                  <a:pt x="1993590" y="444724"/>
                </a:cubicBezTo>
                <a:lnTo>
                  <a:pt x="1484874" y="283738"/>
                </a:lnTo>
                <a:lnTo>
                  <a:pt x="1439798" y="296617"/>
                </a:lnTo>
                <a:lnTo>
                  <a:pt x="976159" y="161388"/>
                </a:lnTo>
                <a:cubicBezTo>
                  <a:pt x="928699" y="150835"/>
                  <a:pt x="877004" y="131814"/>
                  <a:pt x="782976" y="167828"/>
                </a:cubicBezTo>
                <a:cubicBezTo>
                  <a:pt x="699204" y="215349"/>
                  <a:pt x="581565" y="300970"/>
                  <a:pt x="518959" y="373890"/>
                </a:cubicBezTo>
                <a:cubicBezTo>
                  <a:pt x="504053" y="403941"/>
                  <a:pt x="489147" y="429758"/>
                  <a:pt x="499640" y="464042"/>
                </a:cubicBezTo>
                <a:cubicBezTo>
                  <a:pt x="537601" y="469130"/>
                  <a:pt x="579795" y="453050"/>
                  <a:pt x="596590" y="496238"/>
                </a:cubicBezTo>
                <a:cubicBezTo>
                  <a:pt x="543922" y="547892"/>
                  <a:pt x="440454" y="519115"/>
                  <a:pt x="370852" y="528436"/>
                </a:cubicBezTo>
                <a:cubicBezTo>
                  <a:pt x="287438" y="569875"/>
                  <a:pt x="187090" y="721380"/>
                  <a:pt x="162942" y="800919"/>
                </a:cubicBezTo>
                <a:cubicBezTo>
                  <a:pt x="133607" y="908363"/>
                  <a:pt x="227037" y="1024273"/>
                  <a:pt x="248502" y="1140183"/>
                </a:cubicBezTo>
                <a:lnTo>
                  <a:pt x="776536" y="637907"/>
                </a:lnTo>
                <a:lnTo>
                  <a:pt x="673505" y="541315"/>
                </a:lnTo>
                <a:lnTo>
                  <a:pt x="705702" y="509118"/>
                </a:lnTo>
                <a:lnTo>
                  <a:pt x="847370" y="573512"/>
                </a:lnTo>
                <a:lnTo>
                  <a:pt x="821612" y="876166"/>
                </a:lnTo>
                <a:lnTo>
                  <a:pt x="396609" y="1301169"/>
                </a:lnTo>
                <a:cubicBezTo>
                  <a:pt x="390290" y="1341773"/>
                  <a:pt x="400902" y="1356977"/>
                  <a:pt x="403049" y="1384881"/>
                </a:cubicBezTo>
                <a:lnTo>
                  <a:pt x="1062436" y="835145"/>
                </a:lnTo>
                <a:cubicBezTo>
                  <a:pt x="1144896" y="814575"/>
                  <a:pt x="1179776" y="923686"/>
                  <a:pt x="1240176" y="914802"/>
                </a:cubicBezTo>
                <a:cubicBezTo>
                  <a:pt x="1290618" y="889342"/>
                  <a:pt x="1251384" y="862928"/>
                  <a:pt x="1265933" y="715180"/>
                </a:cubicBezTo>
                <a:cubicBezTo>
                  <a:pt x="1282210" y="647924"/>
                  <a:pt x="1131539" y="757333"/>
                  <a:pt x="1014795" y="689421"/>
                </a:cubicBezTo>
                <a:cubicBezTo>
                  <a:pt x="1012649" y="674396"/>
                  <a:pt x="1058799" y="395295"/>
                  <a:pt x="1156464" y="391002"/>
                </a:cubicBezTo>
                <a:cubicBezTo>
                  <a:pt x="1226225" y="367391"/>
                  <a:pt x="1413266" y="415925"/>
                  <a:pt x="1581466" y="470481"/>
                </a:cubicBezTo>
                <a:cubicBezTo>
                  <a:pt x="1652300" y="496239"/>
                  <a:pt x="2186773" y="642200"/>
                  <a:pt x="2186773" y="670104"/>
                </a:cubicBezTo>
                <a:cubicBezTo>
                  <a:pt x="2262973" y="701228"/>
                  <a:pt x="2081595" y="752743"/>
                  <a:pt x="1980711" y="747377"/>
                </a:cubicBezTo>
                <a:cubicBezTo>
                  <a:pt x="1879827" y="742011"/>
                  <a:pt x="1632981" y="603563"/>
                  <a:pt x="1581466" y="637907"/>
                </a:cubicBezTo>
                <a:cubicBezTo>
                  <a:pt x="1529951" y="672251"/>
                  <a:pt x="1535317" y="872946"/>
                  <a:pt x="1729573" y="863287"/>
                </a:cubicBezTo>
                <a:cubicBezTo>
                  <a:pt x="2015664" y="836991"/>
                  <a:pt x="2526122" y="759894"/>
                  <a:pt x="2587847" y="784399"/>
                </a:cubicBezTo>
                <a:cubicBezTo>
                  <a:pt x="2656818" y="803744"/>
                  <a:pt x="2641124" y="1000889"/>
                  <a:pt x="2642362" y="1104900"/>
                </a:cubicBezTo>
                <a:cubicBezTo>
                  <a:pt x="2629353" y="1174040"/>
                  <a:pt x="2592763" y="1222220"/>
                  <a:pt x="2509012" y="1257300"/>
                </a:cubicBezTo>
                <a:cubicBezTo>
                  <a:pt x="2248662" y="1336675"/>
                  <a:pt x="1778707" y="1512992"/>
                  <a:pt x="1727962" y="1495425"/>
                </a:cubicBezTo>
                <a:cubicBezTo>
                  <a:pt x="1693993" y="1476557"/>
                  <a:pt x="1646922" y="1276905"/>
                  <a:pt x="1594612" y="1171575"/>
                </a:cubicBezTo>
                <a:cubicBezTo>
                  <a:pt x="1573342" y="1141090"/>
                  <a:pt x="1544212" y="1134184"/>
                  <a:pt x="1507222" y="1158720"/>
                </a:cubicBezTo>
                <a:cubicBezTo>
                  <a:pt x="1500708" y="1196647"/>
                  <a:pt x="1541356" y="1313176"/>
                  <a:pt x="1558423" y="1390404"/>
                </a:cubicBezTo>
                <a:cubicBezTo>
                  <a:pt x="1587708" y="1487564"/>
                  <a:pt x="1598652" y="1597825"/>
                  <a:pt x="1680337" y="1647825"/>
                </a:cubicBezTo>
                <a:lnTo>
                  <a:pt x="2502816" y="1388276"/>
                </a:lnTo>
                <a:cubicBezTo>
                  <a:pt x="2578952" y="1361029"/>
                  <a:pt x="2631508" y="1480506"/>
                  <a:pt x="2545201" y="1526620"/>
                </a:cubicBezTo>
                <a:lnTo>
                  <a:pt x="1651762" y="1819275"/>
                </a:lnTo>
                <a:lnTo>
                  <a:pt x="642112" y="2100494"/>
                </a:lnTo>
                <a:cubicBezTo>
                  <a:pt x="534890" y="2125812"/>
                  <a:pt x="550001" y="2059546"/>
                  <a:pt x="510618" y="2026204"/>
                </a:cubicBezTo>
                <a:cubicBezTo>
                  <a:pt x="481715" y="1971902"/>
                  <a:pt x="435333" y="1932834"/>
                  <a:pt x="405816" y="1924023"/>
                </a:cubicBezTo>
                <a:cubicBezTo>
                  <a:pt x="345650" y="1926411"/>
                  <a:pt x="381125" y="2080679"/>
                  <a:pt x="296837" y="2012640"/>
                </a:cubicBezTo>
                <a:cubicBezTo>
                  <a:pt x="302577" y="1801608"/>
                  <a:pt x="187796" y="1459572"/>
                  <a:pt x="133275" y="1183038"/>
                </a:cubicBezTo>
                <a:cubicBezTo>
                  <a:pt x="-43542" y="950126"/>
                  <a:pt x="-5515" y="780095"/>
                  <a:pt x="29892" y="735827"/>
                </a:cubicBezTo>
                <a:cubicBezTo>
                  <a:pt x="217527" y="499276"/>
                  <a:pt x="527812" y="193675"/>
                  <a:pt x="689737" y="104775"/>
                </a:cubicBezTo>
                <a:cubicBezTo>
                  <a:pt x="854837" y="31750"/>
                  <a:pt x="1038987" y="6350"/>
                  <a:pt x="1213612" y="0"/>
                </a:cubicBezTo>
                <a:close/>
              </a:path>
            </a:pathLst>
          </a:custGeom>
          <a:solidFill>
            <a:srgbClr val="FFD800">
              <a:alpha val="50196"/>
            </a:srgbClr>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sz="1800">
              <a:solidFill>
                <a:prstClr val="white"/>
              </a:solidFill>
            </a:endParaRPr>
          </a:p>
        </p:txBody>
      </p:sp>
      <p:sp>
        <p:nvSpPr>
          <p:cNvPr id="7" name="Vrije vorm 28"/>
          <p:cNvSpPr/>
          <p:nvPr/>
        </p:nvSpPr>
        <p:spPr>
          <a:xfrm>
            <a:off x="10468180" y="4556480"/>
            <a:ext cx="1725408" cy="977121"/>
          </a:xfrm>
          <a:custGeom>
            <a:avLst/>
            <a:gdLst>
              <a:gd name="connsiteX0" fmla="*/ 1507645 w 3363208"/>
              <a:gd name="connsiteY0" fmla="*/ 0 h 1904629"/>
              <a:gd name="connsiteX1" fmla="*/ 1837721 w 3363208"/>
              <a:gd name="connsiteY1" fmla="*/ 40145 h 1904629"/>
              <a:gd name="connsiteX2" fmla="*/ 1904320 w 3363208"/>
              <a:gd name="connsiteY2" fmla="*/ 127537 h 1904629"/>
              <a:gd name="connsiteX3" fmla="*/ 1900168 w 3363208"/>
              <a:gd name="connsiteY3" fmla="*/ 129354 h 1904629"/>
              <a:gd name="connsiteX4" fmla="*/ 1422896 w 3363208"/>
              <a:gd name="connsiteY4" fmla="*/ 338997 h 1904629"/>
              <a:gd name="connsiteX5" fmla="*/ 1525487 w 3363208"/>
              <a:gd name="connsiteY5" fmla="*/ 432668 h 1904629"/>
              <a:gd name="connsiteX6" fmla="*/ 1842182 w 3363208"/>
              <a:gd name="connsiteY6" fmla="*/ 285472 h 1904629"/>
              <a:gd name="connsiteX7" fmla="*/ 2016621 w 3363208"/>
              <a:gd name="connsiteY7" fmla="*/ 274900 h 1904629"/>
              <a:gd name="connsiteX8" fmla="*/ 2147782 w 3363208"/>
              <a:gd name="connsiteY8" fmla="*/ 447012 h 1904629"/>
              <a:gd name="connsiteX9" fmla="*/ 2141035 w 3363208"/>
              <a:gd name="connsiteY9" fmla="*/ 450510 h 1904629"/>
              <a:gd name="connsiteX10" fmla="*/ 1686065 w 3363208"/>
              <a:gd name="connsiteY10" fmla="*/ 682455 h 1904629"/>
              <a:gd name="connsiteX11" fmla="*/ 1761893 w 3363208"/>
              <a:gd name="connsiteY11" fmla="*/ 771665 h 1904629"/>
              <a:gd name="connsiteX12" fmla="*/ 2154416 w 3363208"/>
              <a:gd name="connsiteY12" fmla="*/ 575403 h 1904629"/>
              <a:gd name="connsiteX13" fmla="*/ 2247037 w 3363208"/>
              <a:gd name="connsiteY13" fmla="*/ 577256 h 1904629"/>
              <a:gd name="connsiteX14" fmla="*/ 2310465 w 3363208"/>
              <a:gd name="connsiteY14" fmla="*/ 660488 h 1904629"/>
              <a:gd name="connsiteX15" fmla="*/ 1967076 w 3363208"/>
              <a:gd name="connsiteY15" fmla="*/ 834112 h 1904629"/>
              <a:gd name="connsiteX16" fmla="*/ 1873405 w 3363208"/>
              <a:gd name="connsiteY16" fmla="*/ 825191 h 1904629"/>
              <a:gd name="connsiteX17" fmla="*/ 1842182 w 3363208"/>
              <a:gd name="connsiteY17" fmla="*/ 869795 h 1904629"/>
              <a:gd name="connsiteX18" fmla="*/ 1940313 w 3363208"/>
              <a:gd name="connsiteY18" fmla="*/ 981308 h 1904629"/>
              <a:gd name="connsiteX19" fmla="*/ 2323915 w 3363208"/>
              <a:gd name="connsiteY19" fmla="*/ 798428 h 1904629"/>
              <a:gd name="connsiteX20" fmla="*/ 2364059 w 3363208"/>
              <a:gd name="connsiteY20" fmla="*/ 865335 h 1904629"/>
              <a:gd name="connsiteX21" fmla="*/ 1998299 w 3363208"/>
              <a:gd name="connsiteY21" fmla="*/ 1039294 h 1904629"/>
              <a:gd name="connsiteX22" fmla="*/ 2051825 w 3363208"/>
              <a:gd name="connsiteY22" fmla="*/ 1159727 h 1904629"/>
              <a:gd name="connsiteX23" fmla="*/ 2225784 w 3363208"/>
              <a:gd name="connsiteY23" fmla="*/ 1079438 h 1904629"/>
              <a:gd name="connsiteX24" fmla="*/ 2265928 w 3363208"/>
              <a:gd name="connsiteY24" fmla="*/ 1190951 h 1904629"/>
              <a:gd name="connsiteX25" fmla="*/ 2167798 w 3363208"/>
              <a:gd name="connsiteY25" fmla="*/ 1248937 h 1904629"/>
              <a:gd name="connsiteX26" fmla="*/ 2301612 w 3363208"/>
              <a:gd name="connsiteY26" fmla="*/ 1333686 h 1904629"/>
              <a:gd name="connsiteX27" fmla="*/ 2350678 w 3363208"/>
              <a:gd name="connsiteY27" fmla="*/ 1302463 h 1904629"/>
              <a:gd name="connsiteX28" fmla="*/ 2796726 w 3363208"/>
              <a:gd name="connsiteY28" fmla="*/ 1391673 h 1904629"/>
              <a:gd name="connsiteX29" fmla="*/ 2818317 w 3363208"/>
              <a:gd name="connsiteY29" fmla="*/ 1326900 h 1904629"/>
              <a:gd name="connsiteX30" fmla="*/ 2823489 w 3363208"/>
              <a:gd name="connsiteY30" fmla="*/ 1333686 h 1904629"/>
              <a:gd name="connsiteX31" fmla="*/ 3050974 w 3363208"/>
              <a:gd name="connsiteY31" fmla="*/ 1351528 h 1904629"/>
              <a:gd name="connsiteX32" fmla="*/ 3086658 w 3363208"/>
              <a:gd name="connsiteY32" fmla="*/ 1289081 h 1904629"/>
              <a:gd name="connsiteX33" fmla="*/ 2903778 w 3363208"/>
              <a:gd name="connsiteY33" fmla="*/ 1275700 h 1904629"/>
              <a:gd name="connsiteX34" fmla="*/ 2814568 w 3363208"/>
              <a:gd name="connsiteY34" fmla="*/ 1097280 h 1904629"/>
              <a:gd name="connsiteX35" fmla="*/ 3108960 w 3363208"/>
              <a:gd name="connsiteY35" fmla="*/ 1186490 h 1904629"/>
              <a:gd name="connsiteX36" fmla="*/ 3149105 w 3363208"/>
              <a:gd name="connsiteY36" fmla="*/ 985768 h 1904629"/>
              <a:gd name="connsiteX37" fmla="*/ 2676293 w 3363208"/>
              <a:gd name="connsiteY37" fmla="*/ 829651 h 1904629"/>
              <a:gd name="connsiteX38" fmla="*/ 3086658 w 3363208"/>
              <a:gd name="connsiteY38" fmla="*/ 856414 h 1904629"/>
              <a:gd name="connsiteX39" fmla="*/ 2488953 w 3363208"/>
              <a:gd name="connsiteY39" fmla="*/ 673534 h 1904629"/>
              <a:gd name="connsiteX40" fmla="*/ 2600465 w 3363208"/>
              <a:gd name="connsiteY40" fmla="*/ 597706 h 1904629"/>
              <a:gd name="connsiteX41" fmla="*/ 2640609 w 3363208"/>
              <a:gd name="connsiteY41" fmla="*/ 530798 h 1904629"/>
              <a:gd name="connsiteX42" fmla="*/ 2627228 w 3363208"/>
              <a:gd name="connsiteY42" fmla="*/ 423747 h 1904629"/>
              <a:gd name="connsiteX43" fmla="*/ 3238315 w 3363208"/>
              <a:gd name="connsiteY43" fmla="*/ 535259 h 1904629"/>
              <a:gd name="connsiteX44" fmla="*/ 3247236 w 3363208"/>
              <a:gd name="connsiteY44" fmla="*/ 490654 h 1904629"/>
              <a:gd name="connsiteX45" fmla="*/ 2257007 w 3363208"/>
              <a:gd name="connsiteY45" fmla="*/ 285472 h 1904629"/>
              <a:gd name="connsiteX46" fmla="*/ 2145495 w 3363208"/>
              <a:gd name="connsiteY46" fmla="*/ 89210 h 1904629"/>
              <a:gd name="connsiteX47" fmla="*/ 2395282 w 3363208"/>
              <a:gd name="connsiteY47" fmla="*/ 133815 h 1904629"/>
              <a:gd name="connsiteX48" fmla="*/ 2471111 w 3363208"/>
              <a:gd name="connsiteY48" fmla="*/ 200722 h 1904629"/>
              <a:gd name="connsiteX49" fmla="*/ 2653991 w 3363208"/>
              <a:gd name="connsiteY49" fmla="*/ 214104 h 1904629"/>
              <a:gd name="connsiteX50" fmla="*/ 2738740 w 3363208"/>
              <a:gd name="connsiteY50" fmla="*/ 191801 h 1904629"/>
              <a:gd name="connsiteX51" fmla="*/ 3050974 w 3363208"/>
              <a:gd name="connsiteY51" fmla="*/ 218564 h 1904629"/>
              <a:gd name="connsiteX52" fmla="*/ 3046514 w 3363208"/>
              <a:gd name="connsiteY52" fmla="*/ 312234 h 1904629"/>
              <a:gd name="connsiteX53" fmla="*/ 3104500 w 3363208"/>
              <a:gd name="connsiteY53" fmla="*/ 316695 h 1904629"/>
              <a:gd name="connsiteX54" fmla="*/ 3108960 w 3363208"/>
              <a:gd name="connsiteY54" fmla="*/ 214104 h 1904629"/>
              <a:gd name="connsiteX55" fmla="*/ 3233854 w 3363208"/>
              <a:gd name="connsiteY55" fmla="*/ 205183 h 1904629"/>
              <a:gd name="connsiteX56" fmla="*/ 3265078 w 3363208"/>
              <a:gd name="connsiteY56" fmla="*/ 338997 h 1904629"/>
              <a:gd name="connsiteX57" fmla="*/ 3363208 w 3363208"/>
              <a:gd name="connsiteY57" fmla="*/ 370221 h 1904629"/>
              <a:gd name="connsiteX58" fmla="*/ 3126802 w 3363208"/>
              <a:gd name="connsiteY58" fmla="*/ 1458580 h 1904629"/>
              <a:gd name="connsiteX59" fmla="*/ 3211552 w 3363208"/>
              <a:gd name="connsiteY59" fmla="*/ 1797577 h 1904629"/>
              <a:gd name="connsiteX60" fmla="*/ 2506795 w 3363208"/>
              <a:gd name="connsiteY60" fmla="*/ 1904629 h 1904629"/>
              <a:gd name="connsiteX61" fmla="*/ 2105351 w 3363208"/>
              <a:gd name="connsiteY61" fmla="*/ 1855563 h 1904629"/>
              <a:gd name="connsiteX62" fmla="*/ 285472 w 3363208"/>
              <a:gd name="connsiteY62" fmla="*/ 1440738 h 1904629"/>
              <a:gd name="connsiteX63" fmla="*/ 0 w 3363208"/>
              <a:gd name="connsiteY63" fmla="*/ 1440738 h 1904629"/>
              <a:gd name="connsiteX64" fmla="*/ 49066 w 3363208"/>
              <a:gd name="connsiteY64" fmla="*/ 1195411 h 1904629"/>
              <a:gd name="connsiteX65" fmla="*/ 249788 w 3363208"/>
              <a:gd name="connsiteY65" fmla="*/ 1106201 h 1904629"/>
              <a:gd name="connsiteX66" fmla="*/ 401444 w 3363208"/>
              <a:gd name="connsiteY66" fmla="*/ 660153 h 1904629"/>
              <a:gd name="connsiteX67" fmla="*/ 744902 w 3363208"/>
              <a:gd name="connsiteY67" fmla="*/ 1039294 h 1904629"/>
              <a:gd name="connsiteX68" fmla="*/ 773909 w 3363208"/>
              <a:gd name="connsiteY68" fmla="*/ 1196412 h 1904629"/>
              <a:gd name="connsiteX69" fmla="*/ 151658 w 3363208"/>
              <a:gd name="connsiteY69" fmla="*/ 1271239 h 1904629"/>
              <a:gd name="connsiteX70" fmla="*/ 178421 w 3363208"/>
              <a:gd name="connsiteY70" fmla="*/ 1373831 h 1904629"/>
              <a:gd name="connsiteX71" fmla="*/ 704759 w 3363208"/>
              <a:gd name="connsiteY71" fmla="*/ 1329226 h 1904629"/>
              <a:gd name="connsiteX72" fmla="*/ 797742 w 3363208"/>
              <a:gd name="connsiteY72" fmla="*/ 1325507 h 1904629"/>
              <a:gd name="connsiteX73" fmla="*/ 798428 w 3363208"/>
              <a:gd name="connsiteY73" fmla="*/ 1329226 h 1904629"/>
              <a:gd name="connsiteX74" fmla="*/ 1146346 w 3363208"/>
              <a:gd name="connsiteY74" fmla="*/ 1454119 h 1904629"/>
              <a:gd name="connsiteX75" fmla="*/ 1088360 w 3363208"/>
              <a:gd name="connsiteY75" fmla="*/ 1293542 h 1904629"/>
              <a:gd name="connsiteX76" fmla="*/ 1779735 w 3363208"/>
              <a:gd name="connsiteY76" fmla="*/ 1512106 h 1904629"/>
              <a:gd name="connsiteX77" fmla="*/ 1824340 w 3363208"/>
              <a:gd name="connsiteY77" fmla="*/ 1382752 h 1904629"/>
              <a:gd name="connsiteX78" fmla="*/ 927782 w 3363208"/>
              <a:gd name="connsiteY78" fmla="*/ 1150806 h 1904629"/>
              <a:gd name="connsiteX79" fmla="*/ 865335 w 3363208"/>
              <a:gd name="connsiteY79" fmla="*/ 954545 h 1904629"/>
              <a:gd name="connsiteX80" fmla="*/ 1833261 w 3363208"/>
              <a:gd name="connsiteY80" fmla="*/ 1195411 h 1904629"/>
              <a:gd name="connsiteX81" fmla="*/ 1793117 w 3363208"/>
              <a:gd name="connsiteY81" fmla="*/ 1083899 h 1904629"/>
              <a:gd name="connsiteX82" fmla="*/ 691376 w 3363208"/>
              <a:gd name="connsiteY82" fmla="*/ 811809 h 1904629"/>
              <a:gd name="connsiteX83" fmla="*/ 343458 w 3363208"/>
              <a:gd name="connsiteY83" fmla="*/ 338997 h 1904629"/>
              <a:gd name="connsiteX84" fmla="*/ 885202 w 3363208"/>
              <a:gd name="connsiteY84" fmla="*/ 162159 h 1904629"/>
              <a:gd name="connsiteX85" fmla="*/ 972387 w 3363208"/>
              <a:gd name="connsiteY85" fmla="*/ 437128 h 1904629"/>
              <a:gd name="connsiteX86" fmla="*/ 1106201 w 3363208"/>
              <a:gd name="connsiteY86" fmla="*/ 606627 h 1904629"/>
              <a:gd name="connsiteX87" fmla="*/ 1405054 w 3363208"/>
              <a:gd name="connsiteY87" fmla="*/ 677994 h 1904629"/>
              <a:gd name="connsiteX88" fmla="*/ 1195411 w 3363208"/>
              <a:gd name="connsiteY88" fmla="*/ 597706 h 1904629"/>
              <a:gd name="connsiteX89" fmla="*/ 1137425 w 3363208"/>
              <a:gd name="connsiteY89" fmla="*/ 521877 h 1904629"/>
              <a:gd name="connsiteX90" fmla="*/ 1271240 w 3363208"/>
              <a:gd name="connsiteY90" fmla="*/ 535259 h 1904629"/>
              <a:gd name="connsiteX91" fmla="*/ 1208793 w 3363208"/>
              <a:gd name="connsiteY91" fmla="*/ 468352 h 1904629"/>
              <a:gd name="connsiteX92" fmla="*/ 1061597 w 3363208"/>
              <a:gd name="connsiteY92" fmla="*/ 303314 h 1904629"/>
              <a:gd name="connsiteX93" fmla="*/ 1027219 w 3363208"/>
              <a:gd name="connsiteY93" fmla="*/ 115801 h 1904629"/>
              <a:gd name="connsiteX94" fmla="*/ 1204332 w 3363208"/>
              <a:gd name="connsiteY94" fmla="*/ 57987 h 1904629"/>
              <a:gd name="connsiteX95" fmla="*/ 1507645 w 3363208"/>
              <a:gd name="connsiteY95" fmla="*/ 0 h 1904629"/>
              <a:gd name="connsiteX0" fmla="*/ 1507645 w 3363208"/>
              <a:gd name="connsiteY0" fmla="*/ 0 h 1904629"/>
              <a:gd name="connsiteX1" fmla="*/ 1837721 w 3363208"/>
              <a:gd name="connsiteY1" fmla="*/ 40145 h 1904629"/>
              <a:gd name="connsiteX2" fmla="*/ 1904320 w 3363208"/>
              <a:gd name="connsiteY2" fmla="*/ 127537 h 1904629"/>
              <a:gd name="connsiteX3" fmla="*/ 1900168 w 3363208"/>
              <a:gd name="connsiteY3" fmla="*/ 129354 h 1904629"/>
              <a:gd name="connsiteX4" fmla="*/ 1422896 w 3363208"/>
              <a:gd name="connsiteY4" fmla="*/ 338997 h 1904629"/>
              <a:gd name="connsiteX5" fmla="*/ 1525487 w 3363208"/>
              <a:gd name="connsiteY5" fmla="*/ 432668 h 1904629"/>
              <a:gd name="connsiteX6" fmla="*/ 1842182 w 3363208"/>
              <a:gd name="connsiteY6" fmla="*/ 285472 h 1904629"/>
              <a:gd name="connsiteX7" fmla="*/ 2016621 w 3363208"/>
              <a:gd name="connsiteY7" fmla="*/ 274900 h 1904629"/>
              <a:gd name="connsiteX8" fmla="*/ 2147782 w 3363208"/>
              <a:gd name="connsiteY8" fmla="*/ 447012 h 1904629"/>
              <a:gd name="connsiteX9" fmla="*/ 2141035 w 3363208"/>
              <a:gd name="connsiteY9" fmla="*/ 450510 h 1904629"/>
              <a:gd name="connsiteX10" fmla="*/ 1686065 w 3363208"/>
              <a:gd name="connsiteY10" fmla="*/ 682455 h 1904629"/>
              <a:gd name="connsiteX11" fmla="*/ 1761893 w 3363208"/>
              <a:gd name="connsiteY11" fmla="*/ 771665 h 1904629"/>
              <a:gd name="connsiteX12" fmla="*/ 2154416 w 3363208"/>
              <a:gd name="connsiteY12" fmla="*/ 575403 h 1904629"/>
              <a:gd name="connsiteX13" fmla="*/ 2247037 w 3363208"/>
              <a:gd name="connsiteY13" fmla="*/ 577256 h 1904629"/>
              <a:gd name="connsiteX14" fmla="*/ 2310465 w 3363208"/>
              <a:gd name="connsiteY14" fmla="*/ 660488 h 1904629"/>
              <a:gd name="connsiteX15" fmla="*/ 1967076 w 3363208"/>
              <a:gd name="connsiteY15" fmla="*/ 834112 h 1904629"/>
              <a:gd name="connsiteX16" fmla="*/ 1873405 w 3363208"/>
              <a:gd name="connsiteY16" fmla="*/ 825191 h 1904629"/>
              <a:gd name="connsiteX17" fmla="*/ 1842182 w 3363208"/>
              <a:gd name="connsiteY17" fmla="*/ 869795 h 1904629"/>
              <a:gd name="connsiteX18" fmla="*/ 1940313 w 3363208"/>
              <a:gd name="connsiteY18" fmla="*/ 981308 h 1904629"/>
              <a:gd name="connsiteX19" fmla="*/ 2323915 w 3363208"/>
              <a:gd name="connsiteY19" fmla="*/ 798428 h 1904629"/>
              <a:gd name="connsiteX20" fmla="*/ 2364059 w 3363208"/>
              <a:gd name="connsiteY20" fmla="*/ 865335 h 1904629"/>
              <a:gd name="connsiteX21" fmla="*/ 1998299 w 3363208"/>
              <a:gd name="connsiteY21" fmla="*/ 1039294 h 1904629"/>
              <a:gd name="connsiteX22" fmla="*/ 2051825 w 3363208"/>
              <a:gd name="connsiteY22" fmla="*/ 1159727 h 1904629"/>
              <a:gd name="connsiteX23" fmla="*/ 2225784 w 3363208"/>
              <a:gd name="connsiteY23" fmla="*/ 1079438 h 1904629"/>
              <a:gd name="connsiteX24" fmla="*/ 2265928 w 3363208"/>
              <a:gd name="connsiteY24" fmla="*/ 1190951 h 1904629"/>
              <a:gd name="connsiteX25" fmla="*/ 2167798 w 3363208"/>
              <a:gd name="connsiteY25" fmla="*/ 1248937 h 1904629"/>
              <a:gd name="connsiteX26" fmla="*/ 2301612 w 3363208"/>
              <a:gd name="connsiteY26" fmla="*/ 1333686 h 1904629"/>
              <a:gd name="connsiteX27" fmla="*/ 2350678 w 3363208"/>
              <a:gd name="connsiteY27" fmla="*/ 1302463 h 1904629"/>
              <a:gd name="connsiteX28" fmla="*/ 2796726 w 3363208"/>
              <a:gd name="connsiteY28" fmla="*/ 1391673 h 1904629"/>
              <a:gd name="connsiteX29" fmla="*/ 2818317 w 3363208"/>
              <a:gd name="connsiteY29" fmla="*/ 1326900 h 1904629"/>
              <a:gd name="connsiteX30" fmla="*/ 2823489 w 3363208"/>
              <a:gd name="connsiteY30" fmla="*/ 1333686 h 1904629"/>
              <a:gd name="connsiteX31" fmla="*/ 3050974 w 3363208"/>
              <a:gd name="connsiteY31" fmla="*/ 1351528 h 1904629"/>
              <a:gd name="connsiteX32" fmla="*/ 3086658 w 3363208"/>
              <a:gd name="connsiteY32" fmla="*/ 1289081 h 1904629"/>
              <a:gd name="connsiteX33" fmla="*/ 2903778 w 3363208"/>
              <a:gd name="connsiteY33" fmla="*/ 1275700 h 1904629"/>
              <a:gd name="connsiteX34" fmla="*/ 2814568 w 3363208"/>
              <a:gd name="connsiteY34" fmla="*/ 1097280 h 1904629"/>
              <a:gd name="connsiteX35" fmla="*/ 3108960 w 3363208"/>
              <a:gd name="connsiteY35" fmla="*/ 1186490 h 1904629"/>
              <a:gd name="connsiteX36" fmla="*/ 3149105 w 3363208"/>
              <a:gd name="connsiteY36" fmla="*/ 985768 h 1904629"/>
              <a:gd name="connsiteX37" fmla="*/ 2676293 w 3363208"/>
              <a:gd name="connsiteY37" fmla="*/ 829651 h 1904629"/>
              <a:gd name="connsiteX38" fmla="*/ 3086658 w 3363208"/>
              <a:gd name="connsiteY38" fmla="*/ 856414 h 1904629"/>
              <a:gd name="connsiteX39" fmla="*/ 2488953 w 3363208"/>
              <a:gd name="connsiteY39" fmla="*/ 673534 h 1904629"/>
              <a:gd name="connsiteX40" fmla="*/ 2600465 w 3363208"/>
              <a:gd name="connsiteY40" fmla="*/ 597706 h 1904629"/>
              <a:gd name="connsiteX41" fmla="*/ 2640609 w 3363208"/>
              <a:gd name="connsiteY41" fmla="*/ 530798 h 1904629"/>
              <a:gd name="connsiteX42" fmla="*/ 2627228 w 3363208"/>
              <a:gd name="connsiteY42" fmla="*/ 423747 h 1904629"/>
              <a:gd name="connsiteX43" fmla="*/ 3238315 w 3363208"/>
              <a:gd name="connsiteY43" fmla="*/ 535259 h 1904629"/>
              <a:gd name="connsiteX44" fmla="*/ 3247236 w 3363208"/>
              <a:gd name="connsiteY44" fmla="*/ 490654 h 1904629"/>
              <a:gd name="connsiteX45" fmla="*/ 2257007 w 3363208"/>
              <a:gd name="connsiteY45" fmla="*/ 285472 h 1904629"/>
              <a:gd name="connsiteX46" fmla="*/ 2145495 w 3363208"/>
              <a:gd name="connsiteY46" fmla="*/ 89210 h 1904629"/>
              <a:gd name="connsiteX47" fmla="*/ 2395282 w 3363208"/>
              <a:gd name="connsiteY47" fmla="*/ 133815 h 1904629"/>
              <a:gd name="connsiteX48" fmla="*/ 2471111 w 3363208"/>
              <a:gd name="connsiteY48" fmla="*/ 200722 h 1904629"/>
              <a:gd name="connsiteX49" fmla="*/ 2653991 w 3363208"/>
              <a:gd name="connsiteY49" fmla="*/ 214104 h 1904629"/>
              <a:gd name="connsiteX50" fmla="*/ 2738740 w 3363208"/>
              <a:gd name="connsiteY50" fmla="*/ 191801 h 1904629"/>
              <a:gd name="connsiteX51" fmla="*/ 3050974 w 3363208"/>
              <a:gd name="connsiteY51" fmla="*/ 218564 h 1904629"/>
              <a:gd name="connsiteX52" fmla="*/ 3046514 w 3363208"/>
              <a:gd name="connsiteY52" fmla="*/ 312234 h 1904629"/>
              <a:gd name="connsiteX53" fmla="*/ 3104500 w 3363208"/>
              <a:gd name="connsiteY53" fmla="*/ 316695 h 1904629"/>
              <a:gd name="connsiteX54" fmla="*/ 3108960 w 3363208"/>
              <a:gd name="connsiteY54" fmla="*/ 214104 h 1904629"/>
              <a:gd name="connsiteX55" fmla="*/ 3233854 w 3363208"/>
              <a:gd name="connsiteY55" fmla="*/ 205183 h 1904629"/>
              <a:gd name="connsiteX56" fmla="*/ 3265078 w 3363208"/>
              <a:gd name="connsiteY56" fmla="*/ 338997 h 1904629"/>
              <a:gd name="connsiteX57" fmla="*/ 3363208 w 3363208"/>
              <a:gd name="connsiteY57" fmla="*/ 370221 h 1904629"/>
              <a:gd name="connsiteX58" fmla="*/ 3126802 w 3363208"/>
              <a:gd name="connsiteY58" fmla="*/ 1458580 h 1904629"/>
              <a:gd name="connsiteX59" fmla="*/ 3211552 w 3363208"/>
              <a:gd name="connsiteY59" fmla="*/ 1797577 h 1904629"/>
              <a:gd name="connsiteX60" fmla="*/ 2506795 w 3363208"/>
              <a:gd name="connsiteY60" fmla="*/ 1904629 h 1904629"/>
              <a:gd name="connsiteX61" fmla="*/ 2105351 w 3363208"/>
              <a:gd name="connsiteY61" fmla="*/ 1855563 h 1904629"/>
              <a:gd name="connsiteX62" fmla="*/ 285472 w 3363208"/>
              <a:gd name="connsiteY62" fmla="*/ 1440738 h 1904629"/>
              <a:gd name="connsiteX63" fmla="*/ 0 w 3363208"/>
              <a:gd name="connsiteY63" fmla="*/ 1440738 h 1904629"/>
              <a:gd name="connsiteX64" fmla="*/ 49066 w 3363208"/>
              <a:gd name="connsiteY64" fmla="*/ 1195411 h 1904629"/>
              <a:gd name="connsiteX65" fmla="*/ 249788 w 3363208"/>
              <a:gd name="connsiteY65" fmla="*/ 1106201 h 1904629"/>
              <a:gd name="connsiteX66" fmla="*/ 401444 w 3363208"/>
              <a:gd name="connsiteY66" fmla="*/ 660153 h 1904629"/>
              <a:gd name="connsiteX67" fmla="*/ 744902 w 3363208"/>
              <a:gd name="connsiteY67" fmla="*/ 1039294 h 1904629"/>
              <a:gd name="connsiteX68" fmla="*/ 773909 w 3363208"/>
              <a:gd name="connsiteY68" fmla="*/ 1196412 h 1904629"/>
              <a:gd name="connsiteX69" fmla="*/ 151658 w 3363208"/>
              <a:gd name="connsiteY69" fmla="*/ 1271239 h 1904629"/>
              <a:gd name="connsiteX70" fmla="*/ 178421 w 3363208"/>
              <a:gd name="connsiteY70" fmla="*/ 1373831 h 1904629"/>
              <a:gd name="connsiteX71" fmla="*/ 704759 w 3363208"/>
              <a:gd name="connsiteY71" fmla="*/ 1329226 h 1904629"/>
              <a:gd name="connsiteX72" fmla="*/ 797742 w 3363208"/>
              <a:gd name="connsiteY72" fmla="*/ 1325507 h 1904629"/>
              <a:gd name="connsiteX73" fmla="*/ 798428 w 3363208"/>
              <a:gd name="connsiteY73" fmla="*/ 1329226 h 1904629"/>
              <a:gd name="connsiteX74" fmla="*/ 1146346 w 3363208"/>
              <a:gd name="connsiteY74" fmla="*/ 1454119 h 1904629"/>
              <a:gd name="connsiteX75" fmla="*/ 1088360 w 3363208"/>
              <a:gd name="connsiteY75" fmla="*/ 1293542 h 1904629"/>
              <a:gd name="connsiteX76" fmla="*/ 1779735 w 3363208"/>
              <a:gd name="connsiteY76" fmla="*/ 1512106 h 1904629"/>
              <a:gd name="connsiteX77" fmla="*/ 1824340 w 3363208"/>
              <a:gd name="connsiteY77" fmla="*/ 1382752 h 1904629"/>
              <a:gd name="connsiteX78" fmla="*/ 927782 w 3363208"/>
              <a:gd name="connsiteY78" fmla="*/ 1150806 h 1904629"/>
              <a:gd name="connsiteX79" fmla="*/ 865335 w 3363208"/>
              <a:gd name="connsiteY79" fmla="*/ 954545 h 1904629"/>
              <a:gd name="connsiteX80" fmla="*/ 1833261 w 3363208"/>
              <a:gd name="connsiteY80" fmla="*/ 1195411 h 1904629"/>
              <a:gd name="connsiteX81" fmla="*/ 1793117 w 3363208"/>
              <a:gd name="connsiteY81" fmla="*/ 1083899 h 1904629"/>
              <a:gd name="connsiteX82" fmla="*/ 691376 w 3363208"/>
              <a:gd name="connsiteY82" fmla="*/ 811809 h 1904629"/>
              <a:gd name="connsiteX83" fmla="*/ 343458 w 3363208"/>
              <a:gd name="connsiteY83" fmla="*/ 338997 h 1904629"/>
              <a:gd name="connsiteX84" fmla="*/ 885202 w 3363208"/>
              <a:gd name="connsiteY84" fmla="*/ 162159 h 1904629"/>
              <a:gd name="connsiteX85" fmla="*/ 972387 w 3363208"/>
              <a:gd name="connsiteY85" fmla="*/ 437128 h 1904629"/>
              <a:gd name="connsiteX86" fmla="*/ 1106201 w 3363208"/>
              <a:gd name="connsiteY86" fmla="*/ 606627 h 1904629"/>
              <a:gd name="connsiteX87" fmla="*/ 1405054 w 3363208"/>
              <a:gd name="connsiteY87" fmla="*/ 677994 h 1904629"/>
              <a:gd name="connsiteX88" fmla="*/ 1195411 w 3363208"/>
              <a:gd name="connsiteY88" fmla="*/ 597706 h 1904629"/>
              <a:gd name="connsiteX89" fmla="*/ 1137425 w 3363208"/>
              <a:gd name="connsiteY89" fmla="*/ 521877 h 1904629"/>
              <a:gd name="connsiteX90" fmla="*/ 1271240 w 3363208"/>
              <a:gd name="connsiteY90" fmla="*/ 535259 h 1904629"/>
              <a:gd name="connsiteX91" fmla="*/ 1208793 w 3363208"/>
              <a:gd name="connsiteY91" fmla="*/ 468352 h 1904629"/>
              <a:gd name="connsiteX92" fmla="*/ 1061597 w 3363208"/>
              <a:gd name="connsiteY92" fmla="*/ 303314 h 1904629"/>
              <a:gd name="connsiteX93" fmla="*/ 1027219 w 3363208"/>
              <a:gd name="connsiteY93" fmla="*/ 115801 h 1904629"/>
              <a:gd name="connsiteX94" fmla="*/ 1204332 w 3363208"/>
              <a:gd name="connsiteY94" fmla="*/ 57987 h 1904629"/>
              <a:gd name="connsiteX95" fmla="*/ 1507645 w 3363208"/>
              <a:gd name="connsiteY95" fmla="*/ 0 h 1904629"/>
              <a:gd name="connsiteX0" fmla="*/ 1507645 w 3363208"/>
              <a:gd name="connsiteY0" fmla="*/ 0 h 1904629"/>
              <a:gd name="connsiteX1" fmla="*/ 1837721 w 3363208"/>
              <a:gd name="connsiteY1" fmla="*/ 40145 h 1904629"/>
              <a:gd name="connsiteX2" fmla="*/ 1904320 w 3363208"/>
              <a:gd name="connsiteY2" fmla="*/ 127537 h 1904629"/>
              <a:gd name="connsiteX3" fmla="*/ 1900168 w 3363208"/>
              <a:gd name="connsiteY3" fmla="*/ 129354 h 1904629"/>
              <a:gd name="connsiteX4" fmla="*/ 1422896 w 3363208"/>
              <a:gd name="connsiteY4" fmla="*/ 338997 h 1904629"/>
              <a:gd name="connsiteX5" fmla="*/ 1525487 w 3363208"/>
              <a:gd name="connsiteY5" fmla="*/ 432668 h 1904629"/>
              <a:gd name="connsiteX6" fmla="*/ 1842182 w 3363208"/>
              <a:gd name="connsiteY6" fmla="*/ 285472 h 1904629"/>
              <a:gd name="connsiteX7" fmla="*/ 2016621 w 3363208"/>
              <a:gd name="connsiteY7" fmla="*/ 274900 h 1904629"/>
              <a:gd name="connsiteX8" fmla="*/ 2147782 w 3363208"/>
              <a:gd name="connsiteY8" fmla="*/ 447012 h 1904629"/>
              <a:gd name="connsiteX9" fmla="*/ 2141035 w 3363208"/>
              <a:gd name="connsiteY9" fmla="*/ 450510 h 1904629"/>
              <a:gd name="connsiteX10" fmla="*/ 1686065 w 3363208"/>
              <a:gd name="connsiteY10" fmla="*/ 682455 h 1904629"/>
              <a:gd name="connsiteX11" fmla="*/ 1761893 w 3363208"/>
              <a:gd name="connsiteY11" fmla="*/ 771665 h 1904629"/>
              <a:gd name="connsiteX12" fmla="*/ 2154416 w 3363208"/>
              <a:gd name="connsiteY12" fmla="*/ 575403 h 1904629"/>
              <a:gd name="connsiteX13" fmla="*/ 2247037 w 3363208"/>
              <a:gd name="connsiteY13" fmla="*/ 577256 h 1904629"/>
              <a:gd name="connsiteX14" fmla="*/ 2310465 w 3363208"/>
              <a:gd name="connsiteY14" fmla="*/ 660488 h 1904629"/>
              <a:gd name="connsiteX15" fmla="*/ 1967076 w 3363208"/>
              <a:gd name="connsiteY15" fmla="*/ 834112 h 1904629"/>
              <a:gd name="connsiteX16" fmla="*/ 1873405 w 3363208"/>
              <a:gd name="connsiteY16" fmla="*/ 825191 h 1904629"/>
              <a:gd name="connsiteX17" fmla="*/ 1842182 w 3363208"/>
              <a:gd name="connsiteY17" fmla="*/ 869795 h 1904629"/>
              <a:gd name="connsiteX18" fmla="*/ 1940313 w 3363208"/>
              <a:gd name="connsiteY18" fmla="*/ 981308 h 1904629"/>
              <a:gd name="connsiteX19" fmla="*/ 2323915 w 3363208"/>
              <a:gd name="connsiteY19" fmla="*/ 798428 h 1904629"/>
              <a:gd name="connsiteX20" fmla="*/ 2364059 w 3363208"/>
              <a:gd name="connsiteY20" fmla="*/ 865335 h 1904629"/>
              <a:gd name="connsiteX21" fmla="*/ 1998299 w 3363208"/>
              <a:gd name="connsiteY21" fmla="*/ 1039294 h 1904629"/>
              <a:gd name="connsiteX22" fmla="*/ 2051825 w 3363208"/>
              <a:gd name="connsiteY22" fmla="*/ 1159727 h 1904629"/>
              <a:gd name="connsiteX23" fmla="*/ 2225784 w 3363208"/>
              <a:gd name="connsiteY23" fmla="*/ 1079438 h 1904629"/>
              <a:gd name="connsiteX24" fmla="*/ 2265928 w 3363208"/>
              <a:gd name="connsiteY24" fmla="*/ 1190951 h 1904629"/>
              <a:gd name="connsiteX25" fmla="*/ 2167798 w 3363208"/>
              <a:gd name="connsiteY25" fmla="*/ 1248937 h 1904629"/>
              <a:gd name="connsiteX26" fmla="*/ 2301612 w 3363208"/>
              <a:gd name="connsiteY26" fmla="*/ 1333686 h 1904629"/>
              <a:gd name="connsiteX27" fmla="*/ 2350678 w 3363208"/>
              <a:gd name="connsiteY27" fmla="*/ 1302463 h 1904629"/>
              <a:gd name="connsiteX28" fmla="*/ 2796726 w 3363208"/>
              <a:gd name="connsiteY28" fmla="*/ 1391673 h 1904629"/>
              <a:gd name="connsiteX29" fmla="*/ 2818317 w 3363208"/>
              <a:gd name="connsiteY29" fmla="*/ 1326900 h 1904629"/>
              <a:gd name="connsiteX30" fmla="*/ 2823489 w 3363208"/>
              <a:gd name="connsiteY30" fmla="*/ 1333686 h 1904629"/>
              <a:gd name="connsiteX31" fmla="*/ 3050974 w 3363208"/>
              <a:gd name="connsiteY31" fmla="*/ 1351528 h 1904629"/>
              <a:gd name="connsiteX32" fmla="*/ 3086658 w 3363208"/>
              <a:gd name="connsiteY32" fmla="*/ 1289081 h 1904629"/>
              <a:gd name="connsiteX33" fmla="*/ 2903778 w 3363208"/>
              <a:gd name="connsiteY33" fmla="*/ 1275700 h 1904629"/>
              <a:gd name="connsiteX34" fmla="*/ 2814568 w 3363208"/>
              <a:gd name="connsiteY34" fmla="*/ 1097280 h 1904629"/>
              <a:gd name="connsiteX35" fmla="*/ 3108960 w 3363208"/>
              <a:gd name="connsiteY35" fmla="*/ 1186490 h 1904629"/>
              <a:gd name="connsiteX36" fmla="*/ 3149105 w 3363208"/>
              <a:gd name="connsiteY36" fmla="*/ 985768 h 1904629"/>
              <a:gd name="connsiteX37" fmla="*/ 2676293 w 3363208"/>
              <a:gd name="connsiteY37" fmla="*/ 829651 h 1904629"/>
              <a:gd name="connsiteX38" fmla="*/ 3086658 w 3363208"/>
              <a:gd name="connsiteY38" fmla="*/ 856414 h 1904629"/>
              <a:gd name="connsiteX39" fmla="*/ 2488953 w 3363208"/>
              <a:gd name="connsiteY39" fmla="*/ 673534 h 1904629"/>
              <a:gd name="connsiteX40" fmla="*/ 2600465 w 3363208"/>
              <a:gd name="connsiteY40" fmla="*/ 597706 h 1904629"/>
              <a:gd name="connsiteX41" fmla="*/ 2640609 w 3363208"/>
              <a:gd name="connsiteY41" fmla="*/ 530798 h 1904629"/>
              <a:gd name="connsiteX42" fmla="*/ 2627228 w 3363208"/>
              <a:gd name="connsiteY42" fmla="*/ 423747 h 1904629"/>
              <a:gd name="connsiteX43" fmla="*/ 3238315 w 3363208"/>
              <a:gd name="connsiteY43" fmla="*/ 535259 h 1904629"/>
              <a:gd name="connsiteX44" fmla="*/ 3247236 w 3363208"/>
              <a:gd name="connsiteY44" fmla="*/ 490654 h 1904629"/>
              <a:gd name="connsiteX45" fmla="*/ 2257007 w 3363208"/>
              <a:gd name="connsiteY45" fmla="*/ 285472 h 1904629"/>
              <a:gd name="connsiteX46" fmla="*/ 2145495 w 3363208"/>
              <a:gd name="connsiteY46" fmla="*/ 89210 h 1904629"/>
              <a:gd name="connsiteX47" fmla="*/ 2395282 w 3363208"/>
              <a:gd name="connsiteY47" fmla="*/ 133815 h 1904629"/>
              <a:gd name="connsiteX48" fmla="*/ 2471111 w 3363208"/>
              <a:gd name="connsiteY48" fmla="*/ 200722 h 1904629"/>
              <a:gd name="connsiteX49" fmla="*/ 2653991 w 3363208"/>
              <a:gd name="connsiteY49" fmla="*/ 214104 h 1904629"/>
              <a:gd name="connsiteX50" fmla="*/ 2738740 w 3363208"/>
              <a:gd name="connsiteY50" fmla="*/ 191801 h 1904629"/>
              <a:gd name="connsiteX51" fmla="*/ 3050974 w 3363208"/>
              <a:gd name="connsiteY51" fmla="*/ 218564 h 1904629"/>
              <a:gd name="connsiteX52" fmla="*/ 3046514 w 3363208"/>
              <a:gd name="connsiteY52" fmla="*/ 312234 h 1904629"/>
              <a:gd name="connsiteX53" fmla="*/ 3104500 w 3363208"/>
              <a:gd name="connsiteY53" fmla="*/ 316695 h 1904629"/>
              <a:gd name="connsiteX54" fmla="*/ 3108960 w 3363208"/>
              <a:gd name="connsiteY54" fmla="*/ 214104 h 1904629"/>
              <a:gd name="connsiteX55" fmla="*/ 3233854 w 3363208"/>
              <a:gd name="connsiteY55" fmla="*/ 205183 h 1904629"/>
              <a:gd name="connsiteX56" fmla="*/ 3265078 w 3363208"/>
              <a:gd name="connsiteY56" fmla="*/ 338997 h 1904629"/>
              <a:gd name="connsiteX57" fmla="*/ 3363208 w 3363208"/>
              <a:gd name="connsiteY57" fmla="*/ 370221 h 1904629"/>
              <a:gd name="connsiteX58" fmla="*/ 3126802 w 3363208"/>
              <a:gd name="connsiteY58" fmla="*/ 1458580 h 1904629"/>
              <a:gd name="connsiteX59" fmla="*/ 3211552 w 3363208"/>
              <a:gd name="connsiteY59" fmla="*/ 1797577 h 1904629"/>
              <a:gd name="connsiteX60" fmla="*/ 2506795 w 3363208"/>
              <a:gd name="connsiteY60" fmla="*/ 1904629 h 1904629"/>
              <a:gd name="connsiteX61" fmla="*/ 2105351 w 3363208"/>
              <a:gd name="connsiteY61" fmla="*/ 1855563 h 1904629"/>
              <a:gd name="connsiteX62" fmla="*/ 285472 w 3363208"/>
              <a:gd name="connsiteY62" fmla="*/ 1440738 h 1904629"/>
              <a:gd name="connsiteX63" fmla="*/ 0 w 3363208"/>
              <a:gd name="connsiteY63" fmla="*/ 1440738 h 1904629"/>
              <a:gd name="connsiteX64" fmla="*/ 49066 w 3363208"/>
              <a:gd name="connsiteY64" fmla="*/ 1195411 h 1904629"/>
              <a:gd name="connsiteX65" fmla="*/ 249788 w 3363208"/>
              <a:gd name="connsiteY65" fmla="*/ 1106201 h 1904629"/>
              <a:gd name="connsiteX66" fmla="*/ 401444 w 3363208"/>
              <a:gd name="connsiteY66" fmla="*/ 660153 h 1904629"/>
              <a:gd name="connsiteX67" fmla="*/ 744902 w 3363208"/>
              <a:gd name="connsiteY67" fmla="*/ 1039294 h 1904629"/>
              <a:gd name="connsiteX68" fmla="*/ 773909 w 3363208"/>
              <a:gd name="connsiteY68" fmla="*/ 1196412 h 1904629"/>
              <a:gd name="connsiteX69" fmla="*/ 151658 w 3363208"/>
              <a:gd name="connsiteY69" fmla="*/ 1271239 h 1904629"/>
              <a:gd name="connsiteX70" fmla="*/ 178421 w 3363208"/>
              <a:gd name="connsiteY70" fmla="*/ 1373831 h 1904629"/>
              <a:gd name="connsiteX71" fmla="*/ 704759 w 3363208"/>
              <a:gd name="connsiteY71" fmla="*/ 1329226 h 1904629"/>
              <a:gd name="connsiteX72" fmla="*/ 797742 w 3363208"/>
              <a:gd name="connsiteY72" fmla="*/ 1325507 h 1904629"/>
              <a:gd name="connsiteX73" fmla="*/ 798428 w 3363208"/>
              <a:gd name="connsiteY73" fmla="*/ 1329226 h 1904629"/>
              <a:gd name="connsiteX74" fmla="*/ 1146346 w 3363208"/>
              <a:gd name="connsiteY74" fmla="*/ 1454119 h 1904629"/>
              <a:gd name="connsiteX75" fmla="*/ 1088360 w 3363208"/>
              <a:gd name="connsiteY75" fmla="*/ 1293542 h 1904629"/>
              <a:gd name="connsiteX76" fmla="*/ 1779735 w 3363208"/>
              <a:gd name="connsiteY76" fmla="*/ 1512106 h 1904629"/>
              <a:gd name="connsiteX77" fmla="*/ 1824340 w 3363208"/>
              <a:gd name="connsiteY77" fmla="*/ 1382752 h 1904629"/>
              <a:gd name="connsiteX78" fmla="*/ 927782 w 3363208"/>
              <a:gd name="connsiteY78" fmla="*/ 1150806 h 1904629"/>
              <a:gd name="connsiteX79" fmla="*/ 865335 w 3363208"/>
              <a:gd name="connsiteY79" fmla="*/ 954545 h 1904629"/>
              <a:gd name="connsiteX80" fmla="*/ 1833261 w 3363208"/>
              <a:gd name="connsiteY80" fmla="*/ 1195411 h 1904629"/>
              <a:gd name="connsiteX81" fmla="*/ 1793117 w 3363208"/>
              <a:gd name="connsiteY81" fmla="*/ 1083899 h 1904629"/>
              <a:gd name="connsiteX82" fmla="*/ 691376 w 3363208"/>
              <a:gd name="connsiteY82" fmla="*/ 811809 h 1904629"/>
              <a:gd name="connsiteX83" fmla="*/ 343458 w 3363208"/>
              <a:gd name="connsiteY83" fmla="*/ 338997 h 1904629"/>
              <a:gd name="connsiteX84" fmla="*/ 885202 w 3363208"/>
              <a:gd name="connsiteY84" fmla="*/ 162159 h 1904629"/>
              <a:gd name="connsiteX85" fmla="*/ 972387 w 3363208"/>
              <a:gd name="connsiteY85" fmla="*/ 437128 h 1904629"/>
              <a:gd name="connsiteX86" fmla="*/ 1106201 w 3363208"/>
              <a:gd name="connsiteY86" fmla="*/ 606627 h 1904629"/>
              <a:gd name="connsiteX87" fmla="*/ 1405054 w 3363208"/>
              <a:gd name="connsiteY87" fmla="*/ 677994 h 1904629"/>
              <a:gd name="connsiteX88" fmla="*/ 1195411 w 3363208"/>
              <a:gd name="connsiteY88" fmla="*/ 597706 h 1904629"/>
              <a:gd name="connsiteX89" fmla="*/ 1137425 w 3363208"/>
              <a:gd name="connsiteY89" fmla="*/ 521877 h 1904629"/>
              <a:gd name="connsiteX90" fmla="*/ 1271240 w 3363208"/>
              <a:gd name="connsiteY90" fmla="*/ 535259 h 1904629"/>
              <a:gd name="connsiteX91" fmla="*/ 1208793 w 3363208"/>
              <a:gd name="connsiteY91" fmla="*/ 468352 h 1904629"/>
              <a:gd name="connsiteX92" fmla="*/ 1061597 w 3363208"/>
              <a:gd name="connsiteY92" fmla="*/ 303314 h 1904629"/>
              <a:gd name="connsiteX93" fmla="*/ 1027219 w 3363208"/>
              <a:gd name="connsiteY93" fmla="*/ 115801 h 1904629"/>
              <a:gd name="connsiteX94" fmla="*/ 1204332 w 3363208"/>
              <a:gd name="connsiteY94" fmla="*/ 57987 h 1904629"/>
              <a:gd name="connsiteX95" fmla="*/ 1507645 w 3363208"/>
              <a:gd name="connsiteY95" fmla="*/ 0 h 1904629"/>
              <a:gd name="connsiteX0" fmla="*/ 1507645 w 3363208"/>
              <a:gd name="connsiteY0" fmla="*/ 0 h 1904629"/>
              <a:gd name="connsiteX1" fmla="*/ 1837721 w 3363208"/>
              <a:gd name="connsiteY1" fmla="*/ 40145 h 1904629"/>
              <a:gd name="connsiteX2" fmla="*/ 1904320 w 3363208"/>
              <a:gd name="connsiteY2" fmla="*/ 127537 h 1904629"/>
              <a:gd name="connsiteX3" fmla="*/ 1900168 w 3363208"/>
              <a:gd name="connsiteY3" fmla="*/ 129354 h 1904629"/>
              <a:gd name="connsiteX4" fmla="*/ 1422896 w 3363208"/>
              <a:gd name="connsiteY4" fmla="*/ 338997 h 1904629"/>
              <a:gd name="connsiteX5" fmla="*/ 1525487 w 3363208"/>
              <a:gd name="connsiteY5" fmla="*/ 432668 h 1904629"/>
              <a:gd name="connsiteX6" fmla="*/ 1842182 w 3363208"/>
              <a:gd name="connsiteY6" fmla="*/ 285472 h 1904629"/>
              <a:gd name="connsiteX7" fmla="*/ 2016621 w 3363208"/>
              <a:gd name="connsiteY7" fmla="*/ 274900 h 1904629"/>
              <a:gd name="connsiteX8" fmla="*/ 2147782 w 3363208"/>
              <a:gd name="connsiteY8" fmla="*/ 447012 h 1904629"/>
              <a:gd name="connsiteX9" fmla="*/ 2141035 w 3363208"/>
              <a:gd name="connsiteY9" fmla="*/ 450510 h 1904629"/>
              <a:gd name="connsiteX10" fmla="*/ 1686065 w 3363208"/>
              <a:gd name="connsiteY10" fmla="*/ 682455 h 1904629"/>
              <a:gd name="connsiteX11" fmla="*/ 1761893 w 3363208"/>
              <a:gd name="connsiteY11" fmla="*/ 771665 h 1904629"/>
              <a:gd name="connsiteX12" fmla="*/ 2154416 w 3363208"/>
              <a:gd name="connsiteY12" fmla="*/ 575403 h 1904629"/>
              <a:gd name="connsiteX13" fmla="*/ 2247037 w 3363208"/>
              <a:gd name="connsiteY13" fmla="*/ 577256 h 1904629"/>
              <a:gd name="connsiteX14" fmla="*/ 2310465 w 3363208"/>
              <a:gd name="connsiteY14" fmla="*/ 660488 h 1904629"/>
              <a:gd name="connsiteX15" fmla="*/ 1967076 w 3363208"/>
              <a:gd name="connsiteY15" fmla="*/ 834112 h 1904629"/>
              <a:gd name="connsiteX16" fmla="*/ 1873405 w 3363208"/>
              <a:gd name="connsiteY16" fmla="*/ 825191 h 1904629"/>
              <a:gd name="connsiteX17" fmla="*/ 1842182 w 3363208"/>
              <a:gd name="connsiteY17" fmla="*/ 869795 h 1904629"/>
              <a:gd name="connsiteX18" fmla="*/ 1940313 w 3363208"/>
              <a:gd name="connsiteY18" fmla="*/ 981308 h 1904629"/>
              <a:gd name="connsiteX19" fmla="*/ 2323915 w 3363208"/>
              <a:gd name="connsiteY19" fmla="*/ 798428 h 1904629"/>
              <a:gd name="connsiteX20" fmla="*/ 2364059 w 3363208"/>
              <a:gd name="connsiteY20" fmla="*/ 865335 h 1904629"/>
              <a:gd name="connsiteX21" fmla="*/ 1998299 w 3363208"/>
              <a:gd name="connsiteY21" fmla="*/ 1039294 h 1904629"/>
              <a:gd name="connsiteX22" fmla="*/ 2051825 w 3363208"/>
              <a:gd name="connsiteY22" fmla="*/ 1159727 h 1904629"/>
              <a:gd name="connsiteX23" fmla="*/ 2225784 w 3363208"/>
              <a:gd name="connsiteY23" fmla="*/ 1079438 h 1904629"/>
              <a:gd name="connsiteX24" fmla="*/ 2265928 w 3363208"/>
              <a:gd name="connsiteY24" fmla="*/ 1190951 h 1904629"/>
              <a:gd name="connsiteX25" fmla="*/ 2167798 w 3363208"/>
              <a:gd name="connsiteY25" fmla="*/ 1248937 h 1904629"/>
              <a:gd name="connsiteX26" fmla="*/ 2301612 w 3363208"/>
              <a:gd name="connsiteY26" fmla="*/ 1333686 h 1904629"/>
              <a:gd name="connsiteX27" fmla="*/ 2350678 w 3363208"/>
              <a:gd name="connsiteY27" fmla="*/ 1302463 h 1904629"/>
              <a:gd name="connsiteX28" fmla="*/ 2796726 w 3363208"/>
              <a:gd name="connsiteY28" fmla="*/ 1391673 h 1904629"/>
              <a:gd name="connsiteX29" fmla="*/ 2818317 w 3363208"/>
              <a:gd name="connsiteY29" fmla="*/ 1326900 h 1904629"/>
              <a:gd name="connsiteX30" fmla="*/ 2823489 w 3363208"/>
              <a:gd name="connsiteY30" fmla="*/ 1333686 h 1904629"/>
              <a:gd name="connsiteX31" fmla="*/ 3050974 w 3363208"/>
              <a:gd name="connsiteY31" fmla="*/ 1351528 h 1904629"/>
              <a:gd name="connsiteX32" fmla="*/ 3086658 w 3363208"/>
              <a:gd name="connsiteY32" fmla="*/ 1289081 h 1904629"/>
              <a:gd name="connsiteX33" fmla="*/ 2903778 w 3363208"/>
              <a:gd name="connsiteY33" fmla="*/ 1275700 h 1904629"/>
              <a:gd name="connsiteX34" fmla="*/ 2814568 w 3363208"/>
              <a:gd name="connsiteY34" fmla="*/ 1097280 h 1904629"/>
              <a:gd name="connsiteX35" fmla="*/ 3108960 w 3363208"/>
              <a:gd name="connsiteY35" fmla="*/ 1186490 h 1904629"/>
              <a:gd name="connsiteX36" fmla="*/ 3149105 w 3363208"/>
              <a:gd name="connsiteY36" fmla="*/ 985768 h 1904629"/>
              <a:gd name="connsiteX37" fmla="*/ 2676293 w 3363208"/>
              <a:gd name="connsiteY37" fmla="*/ 829651 h 1904629"/>
              <a:gd name="connsiteX38" fmla="*/ 3086658 w 3363208"/>
              <a:gd name="connsiteY38" fmla="*/ 856414 h 1904629"/>
              <a:gd name="connsiteX39" fmla="*/ 2488953 w 3363208"/>
              <a:gd name="connsiteY39" fmla="*/ 673534 h 1904629"/>
              <a:gd name="connsiteX40" fmla="*/ 2600465 w 3363208"/>
              <a:gd name="connsiteY40" fmla="*/ 597706 h 1904629"/>
              <a:gd name="connsiteX41" fmla="*/ 2640609 w 3363208"/>
              <a:gd name="connsiteY41" fmla="*/ 530798 h 1904629"/>
              <a:gd name="connsiteX42" fmla="*/ 2627228 w 3363208"/>
              <a:gd name="connsiteY42" fmla="*/ 423747 h 1904629"/>
              <a:gd name="connsiteX43" fmla="*/ 3238315 w 3363208"/>
              <a:gd name="connsiteY43" fmla="*/ 535259 h 1904629"/>
              <a:gd name="connsiteX44" fmla="*/ 3247236 w 3363208"/>
              <a:gd name="connsiteY44" fmla="*/ 490654 h 1904629"/>
              <a:gd name="connsiteX45" fmla="*/ 2257007 w 3363208"/>
              <a:gd name="connsiteY45" fmla="*/ 285472 h 1904629"/>
              <a:gd name="connsiteX46" fmla="*/ 2145495 w 3363208"/>
              <a:gd name="connsiteY46" fmla="*/ 89210 h 1904629"/>
              <a:gd name="connsiteX47" fmla="*/ 2395282 w 3363208"/>
              <a:gd name="connsiteY47" fmla="*/ 133815 h 1904629"/>
              <a:gd name="connsiteX48" fmla="*/ 2471111 w 3363208"/>
              <a:gd name="connsiteY48" fmla="*/ 200722 h 1904629"/>
              <a:gd name="connsiteX49" fmla="*/ 2653991 w 3363208"/>
              <a:gd name="connsiteY49" fmla="*/ 214104 h 1904629"/>
              <a:gd name="connsiteX50" fmla="*/ 2738740 w 3363208"/>
              <a:gd name="connsiteY50" fmla="*/ 191801 h 1904629"/>
              <a:gd name="connsiteX51" fmla="*/ 3050974 w 3363208"/>
              <a:gd name="connsiteY51" fmla="*/ 218564 h 1904629"/>
              <a:gd name="connsiteX52" fmla="*/ 3046514 w 3363208"/>
              <a:gd name="connsiteY52" fmla="*/ 312234 h 1904629"/>
              <a:gd name="connsiteX53" fmla="*/ 3104500 w 3363208"/>
              <a:gd name="connsiteY53" fmla="*/ 316695 h 1904629"/>
              <a:gd name="connsiteX54" fmla="*/ 3108960 w 3363208"/>
              <a:gd name="connsiteY54" fmla="*/ 214104 h 1904629"/>
              <a:gd name="connsiteX55" fmla="*/ 3233854 w 3363208"/>
              <a:gd name="connsiteY55" fmla="*/ 205183 h 1904629"/>
              <a:gd name="connsiteX56" fmla="*/ 3265078 w 3363208"/>
              <a:gd name="connsiteY56" fmla="*/ 338997 h 1904629"/>
              <a:gd name="connsiteX57" fmla="*/ 3363208 w 3363208"/>
              <a:gd name="connsiteY57" fmla="*/ 370221 h 1904629"/>
              <a:gd name="connsiteX58" fmla="*/ 3126802 w 3363208"/>
              <a:gd name="connsiteY58" fmla="*/ 1458580 h 1904629"/>
              <a:gd name="connsiteX59" fmla="*/ 3211552 w 3363208"/>
              <a:gd name="connsiteY59" fmla="*/ 1797577 h 1904629"/>
              <a:gd name="connsiteX60" fmla="*/ 2506795 w 3363208"/>
              <a:gd name="connsiteY60" fmla="*/ 1904629 h 1904629"/>
              <a:gd name="connsiteX61" fmla="*/ 2105351 w 3363208"/>
              <a:gd name="connsiteY61" fmla="*/ 1855563 h 1904629"/>
              <a:gd name="connsiteX62" fmla="*/ 285472 w 3363208"/>
              <a:gd name="connsiteY62" fmla="*/ 1440738 h 1904629"/>
              <a:gd name="connsiteX63" fmla="*/ 0 w 3363208"/>
              <a:gd name="connsiteY63" fmla="*/ 1440738 h 1904629"/>
              <a:gd name="connsiteX64" fmla="*/ 49066 w 3363208"/>
              <a:gd name="connsiteY64" fmla="*/ 1195411 h 1904629"/>
              <a:gd name="connsiteX65" fmla="*/ 249788 w 3363208"/>
              <a:gd name="connsiteY65" fmla="*/ 1106201 h 1904629"/>
              <a:gd name="connsiteX66" fmla="*/ 401444 w 3363208"/>
              <a:gd name="connsiteY66" fmla="*/ 660153 h 1904629"/>
              <a:gd name="connsiteX67" fmla="*/ 744902 w 3363208"/>
              <a:gd name="connsiteY67" fmla="*/ 1039294 h 1904629"/>
              <a:gd name="connsiteX68" fmla="*/ 773909 w 3363208"/>
              <a:gd name="connsiteY68" fmla="*/ 1196412 h 1904629"/>
              <a:gd name="connsiteX69" fmla="*/ 151658 w 3363208"/>
              <a:gd name="connsiteY69" fmla="*/ 1271239 h 1904629"/>
              <a:gd name="connsiteX70" fmla="*/ 178421 w 3363208"/>
              <a:gd name="connsiteY70" fmla="*/ 1373831 h 1904629"/>
              <a:gd name="connsiteX71" fmla="*/ 704759 w 3363208"/>
              <a:gd name="connsiteY71" fmla="*/ 1329226 h 1904629"/>
              <a:gd name="connsiteX72" fmla="*/ 797742 w 3363208"/>
              <a:gd name="connsiteY72" fmla="*/ 1325507 h 1904629"/>
              <a:gd name="connsiteX73" fmla="*/ 798428 w 3363208"/>
              <a:gd name="connsiteY73" fmla="*/ 1329226 h 1904629"/>
              <a:gd name="connsiteX74" fmla="*/ 1146346 w 3363208"/>
              <a:gd name="connsiteY74" fmla="*/ 1454119 h 1904629"/>
              <a:gd name="connsiteX75" fmla="*/ 1088360 w 3363208"/>
              <a:gd name="connsiteY75" fmla="*/ 1293542 h 1904629"/>
              <a:gd name="connsiteX76" fmla="*/ 1779735 w 3363208"/>
              <a:gd name="connsiteY76" fmla="*/ 1512106 h 1904629"/>
              <a:gd name="connsiteX77" fmla="*/ 1824340 w 3363208"/>
              <a:gd name="connsiteY77" fmla="*/ 1382752 h 1904629"/>
              <a:gd name="connsiteX78" fmla="*/ 927782 w 3363208"/>
              <a:gd name="connsiteY78" fmla="*/ 1150806 h 1904629"/>
              <a:gd name="connsiteX79" fmla="*/ 865335 w 3363208"/>
              <a:gd name="connsiteY79" fmla="*/ 954545 h 1904629"/>
              <a:gd name="connsiteX80" fmla="*/ 1833261 w 3363208"/>
              <a:gd name="connsiteY80" fmla="*/ 1195411 h 1904629"/>
              <a:gd name="connsiteX81" fmla="*/ 1793117 w 3363208"/>
              <a:gd name="connsiteY81" fmla="*/ 1083899 h 1904629"/>
              <a:gd name="connsiteX82" fmla="*/ 691376 w 3363208"/>
              <a:gd name="connsiteY82" fmla="*/ 811809 h 1904629"/>
              <a:gd name="connsiteX83" fmla="*/ 343458 w 3363208"/>
              <a:gd name="connsiteY83" fmla="*/ 338997 h 1904629"/>
              <a:gd name="connsiteX84" fmla="*/ 885202 w 3363208"/>
              <a:gd name="connsiteY84" fmla="*/ 162159 h 1904629"/>
              <a:gd name="connsiteX85" fmla="*/ 972387 w 3363208"/>
              <a:gd name="connsiteY85" fmla="*/ 437128 h 1904629"/>
              <a:gd name="connsiteX86" fmla="*/ 1106201 w 3363208"/>
              <a:gd name="connsiteY86" fmla="*/ 606627 h 1904629"/>
              <a:gd name="connsiteX87" fmla="*/ 1405054 w 3363208"/>
              <a:gd name="connsiteY87" fmla="*/ 677994 h 1904629"/>
              <a:gd name="connsiteX88" fmla="*/ 1195411 w 3363208"/>
              <a:gd name="connsiteY88" fmla="*/ 597706 h 1904629"/>
              <a:gd name="connsiteX89" fmla="*/ 1137425 w 3363208"/>
              <a:gd name="connsiteY89" fmla="*/ 521877 h 1904629"/>
              <a:gd name="connsiteX90" fmla="*/ 1271240 w 3363208"/>
              <a:gd name="connsiteY90" fmla="*/ 535259 h 1904629"/>
              <a:gd name="connsiteX91" fmla="*/ 1208793 w 3363208"/>
              <a:gd name="connsiteY91" fmla="*/ 468352 h 1904629"/>
              <a:gd name="connsiteX92" fmla="*/ 1061597 w 3363208"/>
              <a:gd name="connsiteY92" fmla="*/ 303314 h 1904629"/>
              <a:gd name="connsiteX93" fmla="*/ 1027219 w 3363208"/>
              <a:gd name="connsiteY93" fmla="*/ 115801 h 1904629"/>
              <a:gd name="connsiteX94" fmla="*/ 1204332 w 3363208"/>
              <a:gd name="connsiteY94" fmla="*/ 57987 h 1904629"/>
              <a:gd name="connsiteX95" fmla="*/ 1507645 w 3363208"/>
              <a:gd name="connsiteY95" fmla="*/ 0 h 190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3363208" h="1904629">
                <a:moveTo>
                  <a:pt x="1507645" y="0"/>
                </a:moveTo>
                <a:lnTo>
                  <a:pt x="1837721" y="40145"/>
                </a:lnTo>
                <a:lnTo>
                  <a:pt x="1904320" y="127537"/>
                </a:lnTo>
                <a:lnTo>
                  <a:pt x="1900168" y="129354"/>
                </a:lnTo>
                <a:lnTo>
                  <a:pt x="1422896" y="338997"/>
                </a:lnTo>
                <a:lnTo>
                  <a:pt x="1525487" y="432668"/>
                </a:lnTo>
                <a:lnTo>
                  <a:pt x="1842182" y="285472"/>
                </a:lnTo>
                <a:lnTo>
                  <a:pt x="2016621" y="274900"/>
                </a:lnTo>
                <a:lnTo>
                  <a:pt x="2147782" y="447012"/>
                </a:lnTo>
                <a:lnTo>
                  <a:pt x="2141035" y="450510"/>
                </a:lnTo>
                <a:lnTo>
                  <a:pt x="1686065" y="682455"/>
                </a:lnTo>
                <a:lnTo>
                  <a:pt x="1761893" y="771665"/>
                </a:lnTo>
                <a:lnTo>
                  <a:pt x="2154416" y="575403"/>
                </a:lnTo>
                <a:lnTo>
                  <a:pt x="2247037" y="577256"/>
                </a:lnTo>
                <a:lnTo>
                  <a:pt x="2310465" y="660488"/>
                </a:lnTo>
                <a:lnTo>
                  <a:pt x="1967076" y="834112"/>
                </a:lnTo>
                <a:lnTo>
                  <a:pt x="1873405" y="825191"/>
                </a:lnTo>
                <a:lnTo>
                  <a:pt x="1842182" y="869795"/>
                </a:lnTo>
                <a:lnTo>
                  <a:pt x="1940313" y="981308"/>
                </a:lnTo>
                <a:lnTo>
                  <a:pt x="2323915" y="798428"/>
                </a:lnTo>
                <a:lnTo>
                  <a:pt x="2364059" y="865335"/>
                </a:lnTo>
                <a:lnTo>
                  <a:pt x="1998299" y="1039294"/>
                </a:lnTo>
                <a:lnTo>
                  <a:pt x="2051825" y="1159727"/>
                </a:lnTo>
                <a:lnTo>
                  <a:pt x="2225784" y="1079438"/>
                </a:lnTo>
                <a:lnTo>
                  <a:pt x="2265928" y="1190951"/>
                </a:lnTo>
                <a:lnTo>
                  <a:pt x="2167798" y="1248937"/>
                </a:lnTo>
                <a:lnTo>
                  <a:pt x="2301612" y="1333686"/>
                </a:lnTo>
                <a:lnTo>
                  <a:pt x="2350678" y="1302463"/>
                </a:lnTo>
                <a:lnTo>
                  <a:pt x="2796726" y="1391673"/>
                </a:lnTo>
                <a:lnTo>
                  <a:pt x="2818317" y="1326900"/>
                </a:lnTo>
                <a:lnTo>
                  <a:pt x="2823489" y="1333686"/>
                </a:lnTo>
                <a:lnTo>
                  <a:pt x="3050974" y="1351528"/>
                </a:lnTo>
                <a:lnTo>
                  <a:pt x="3086658" y="1289081"/>
                </a:lnTo>
                <a:lnTo>
                  <a:pt x="2903778" y="1275700"/>
                </a:lnTo>
                <a:lnTo>
                  <a:pt x="2814568" y="1097280"/>
                </a:lnTo>
                <a:lnTo>
                  <a:pt x="3108960" y="1186490"/>
                </a:lnTo>
                <a:lnTo>
                  <a:pt x="3149105" y="985768"/>
                </a:lnTo>
                <a:lnTo>
                  <a:pt x="2676293" y="829651"/>
                </a:lnTo>
                <a:lnTo>
                  <a:pt x="3086658" y="856414"/>
                </a:lnTo>
                <a:lnTo>
                  <a:pt x="2488953" y="673534"/>
                </a:lnTo>
                <a:lnTo>
                  <a:pt x="2600465" y="597706"/>
                </a:lnTo>
                <a:lnTo>
                  <a:pt x="2640609" y="530798"/>
                </a:lnTo>
                <a:lnTo>
                  <a:pt x="2627228" y="423747"/>
                </a:lnTo>
                <a:lnTo>
                  <a:pt x="3238315" y="535259"/>
                </a:lnTo>
                <a:lnTo>
                  <a:pt x="3247236" y="490654"/>
                </a:lnTo>
                <a:lnTo>
                  <a:pt x="2257007" y="285472"/>
                </a:lnTo>
                <a:lnTo>
                  <a:pt x="2145495" y="89210"/>
                </a:lnTo>
                <a:lnTo>
                  <a:pt x="2395282" y="133815"/>
                </a:lnTo>
                <a:lnTo>
                  <a:pt x="2471111" y="200722"/>
                </a:lnTo>
                <a:lnTo>
                  <a:pt x="2653991" y="214104"/>
                </a:lnTo>
                <a:lnTo>
                  <a:pt x="2738740" y="191801"/>
                </a:lnTo>
                <a:lnTo>
                  <a:pt x="3050974" y="218564"/>
                </a:lnTo>
                <a:lnTo>
                  <a:pt x="3046514" y="312234"/>
                </a:lnTo>
                <a:lnTo>
                  <a:pt x="3104500" y="316695"/>
                </a:lnTo>
                <a:lnTo>
                  <a:pt x="3108960" y="214104"/>
                </a:lnTo>
                <a:lnTo>
                  <a:pt x="3233854" y="205183"/>
                </a:lnTo>
                <a:lnTo>
                  <a:pt x="3265078" y="338997"/>
                </a:lnTo>
                <a:lnTo>
                  <a:pt x="3363208" y="370221"/>
                </a:lnTo>
                <a:lnTo>
                  <a:pt x="3126802" y="1458580"/>
                </a:lnTo>
                <a:lnTo>
                  <a:pt x="3211552" y="1797577"/>
                </a:lnTo>
                <a:lnTo>
                  <a:pt x="2506795" y="1904629"/>
                </a:lnTo>
                <a:lnTo>
                  <a:pt x="2105351" y="1855563"/>
                </a:lnTo>
                <a:lnTo>
                  <a:pt x="285472" y="1440738"/>
                </a:lnTo>
                <a:lnTo>
                  <a:pt x="0" y="1440738"/>
                </a:lnTo>
                <a:lnTo>
                  <a:pt x="49066" y="1195411"/>
                </a:lnTo>
                <a:lnTo>
                  <a:pt x="249788" y="1106201"/>
                </a:lnTo>
                <a:lnTo>
                  <a:pt x="401444" y="660153"/>
                </a:lnTo>
                <a:lnTo>
                  <a:pt x="744902" y="1039294"/>
                </a:lnTo>
                <a:lnTo>
                  <a:pt x="773909" y="1196412"/>
                </a:lnTo>
                <a:lnTo>
                  <a:pt x="151658" y="1271239"/>
                </a:lnTo>
                <a:lnTo>
                  <a:pt x="178421" y="1373831"/>
                </a:lnTo>
                <a:lnTo>
                  <a:pt x="704759" y="1329226"/>
                </a:lnTo>
                <a:lnTo>
                  <a:pt x="797742" y="1325507"/>
                </a:lnTo>
                <a:lnTo>
                  <a:pt x="798428" y="1329226"/>
                </a:lnTo>
                <a:lnTo>
                  <a:pt x="1146346" y="1454119"/>
                </a:lnTo>
                <a:lnTo>
                  <a:pt x="1088360" y="1293542"/>
                </a:lnTo>
                <a:lnTo>
                  <a:pt x="1779735" y="1512106"/>
                </a:lnTo>
                <a:lnTo>
                  <a:pt x="1824340" y="1382752"/>
                </a:lnTo>
                <a:lnTo>
                  <a:pt x="927782" y="1150806"/>
                </a:lnTo>
                <a:lnTo>
                  <a:pt x="865335" y="954545"/>
                </a:lnTo>
                <a:lnTo>
                  <a:pt x="1833261" y="1195411"/>
                </a:lnTo>
                <a:lnTo>
                  <a:pt x="1793117" y="1083899"/>
                </a:lnTo>
                <a:lnTo>
                  <a:pt x="691376" y="811809"/>
                </a:lnTo>
                <a:lnTo>
                  <a:pt x="343458" y="338997"/>
                </a:lnTo>
                <a:lnTo>
                  <a:pt x="885202" y="162159"/>
                </a:lnTo>
                <a:lnTo>
                  <a:pt x="972387" y="437128"/>
                </a:lnTo>
                <a:lnTo>
                  <a:pt x="1106201" y="606627"/>
                </a:lnTo>
                <a:cubicBezTo>
                  <a:pt x="1134451" y="634877"/>
                  <a:pt x="1363423" y="725572"/>
                  <a:pt x="1405054" y="677994"/>
                </a:cubicBezTo>
                <a:cubicBezTo>
                  <a:pt x="1384238" y="633389"/>
                  <a:pt x="1265292" y="624469"/>
                  <a:pt x="1195411" y="597706"/>
                </a:cubicBezTo>
                <a:lnTo>
                  <a:pt x="1137425" y="521877"/>
                </a:lnTo>
                <a:lnTo>
                  <a:pt x="1271240" y="535259"/>
                </a:lnTo>
                <a:lnTo>
                  <a:pt x="1208793" y="468352"/>
                </a:lnTo>
                <a:lnTo>
                  <a:pt x="1061597" y="303314"/>
                </a:lnTo>
                <a:lnTo>
                  <a:pt x="1027219" y="115801"/>
                </a:lnTo>
                <a:lnTo>
                  <a:pt x="1204332" y="57987"/>
                </a:lnTo>
                <a:lnTo>
                  <a:pt x="1507645" y="0"/>
                </a:lnTo>
                <a:close/>
              </a:path>
            </a:pathLst>
          </a:custGeom>
          <a:solidFill>
            <a:schemeClr val="bg2">
              <a:alpha val="50000"/>
            </a:schemeClr>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solidFill>
                <a:prstClr val="white"/>
              </a:solidFill>
            </a:endParaRPr>
          </a:p>
        </p:txBody>
      </p:sp>
      <p:pic>
        <p:nvPicPr>
          <p:cNvPr id="9" name="Tijdelijke aanduiding voor afbeelding 26"/>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361325" y="1900297"/>
            <a:ext cx="2655753" cy="2655753"/>
          </a:xfrm>
          <a:prstGeom prst="ellipse">
            <a:avLst/>
          </a:prstGeom>
          <a:solidFill>
            <a:schemeClr val="accent2"/>
          </a:solidFill>
          <a:ln w="28575">
            <a:solidFill>
              <a:schemeClr val="bg1"/>
            </a:solidFill>
          </a:ln>
        </p:spPr>
      </p:pic>
      <p:pic>
        <p:nvPicPr>
          <p:cNvPr id="14" name="Tijdelijke aanduiding voor afbeelding 26"/>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217268" y="2173685"/>
            <a:ext cx="2407444" cy="2407444"/>
          </a:xfrm>
          <a:prstGeom prst="ellipse">
            <a:avLst/>
          </a:prstGeom>
          <a:solidFill>
            <a:schemeClr val="accent2"/>
          </a:solidFill>
          <a:ln w="28575">
            <a:solidFill>
              <a:schemeClr val="bg1"/>
            </a:solidFill>
          </a:ln>
        </p:spPr>
      </p:pic>
      <p:sp>
        <p:nvSpPr>
          <p:cNvPr id="16" name="Titel 24"/>
          <p:cNvSpPr txBox="1">
            <a:spLocks/>
          </p:cNvSpPr>
          <p:nvPr/>
        </p:nvSpPr>
        <p:spPr>
          <a:xfrm>
            <a:off x="2827171" y="4772102"/>
            <a:ext cx="3064953" cy="647831"/>
          </a:xfrm>
          <a:prstGeom prst="rect">
            <a:avLst/>
          </a:prstGeom>
          <a:solidFill>
            <a:schemeClr val="bg2"/>
          </a:solidFill>
        </p:spPr>
        <p:txBody>
          <a:bodyPr vert="horz" lIns="71981" tIns="143963" rIns="71981" bIns="143963" rtlCol="0" anchor="ctr">
            <a:noAutofit/>
          </a:bodyPr>
          <a:lstStyle>
            <a:lvl1pPr algn="l" defTabSz="914400" rtl="0" eaLnBrk="1" latinLnBrk="0" hangingPunct="1">
              <a:lnSpc>
                <a:spcPct val="90000"/>
              </a:lnSpc>
              <a:spcBef>
                <a:spcPct val="0"/>
              </a:spcBef>
              <a:buNone/>
              <a:defRPr sz="3200" kern="1200">
                <a:solidFill>
                  <a:schemeClr val="tx2"/>
                </a:solidFill>
                <a:latin typeface="+mj-lt"/>
                <a:ea typeface="+mj-ea"/>
                <a:cs typeface="+mj-cs"/>
              </a:defRPr>
            </a:lvl1pPr>
          </a:lstStyle>
          <a:p>
            <a:pPr algn="ctr"/>
            <a:r>
              <a:rPr lang="en-US" sz="1800" b="1" dirty="0">
                <a:latin typeface="+mn-lt"/>
                <a:ea typeface="Futura Std Book" charset="0"/>
                <a:cs typeface="Futura Std Book" charset="0"/>
              </a:rPr>
              <a:t>MAASVLAKTE</a:t>
            </a:r>
          </a:p>
          <a:p>
            <a:pPr algn="ctr"/>
            <a:r>
              <a:rPr lang="en-US" sz="1800" dirty="0">
                <a:latin typeface="+mn-lt"/>
                <a:ea typeface="Futura Std Medium" charset="0"/>
                <a:cs typeface="Futura Std Medium" charset="0"/>
              </a:rPr>
              <a:t>Deepsea</a:t>
            </a:r>
            <a:endParaRPr lang="nl-NL" sz="1800" dirty="0">
              <a:latin typeface="+mn-lt"/>
              <a:ea typeface="Futura Std Medium" charset="0"/>
              <a:cs typeface="Futura Std Medium" charset="0"/>
            </a:endParaRPr>
          </a:p>
        </p:txBody>
      </p:sp>
      <p:sp>
        <p:nvSpPr>
          <p:cNvPr id="20" name="Titel 24"/>
          <p:cNvSpPr txBox="1">
            <a:spLocks/>
          </p:cNvSpPr>
          <p:nvPr/>
        </p:nvSpPr>
        <p:spPr>
          <a:xfrm>
            <a:off x="7213031" y="4973056"/>
            <a:ext cx="3064953" cy="647831"/>
          </a:xfrm>
          <a:prstGeom prst="rect">
            <a:avLst/>
          </a:prstGeom>
          <a:solidFill>
            <a:schemeClr val="bg2"/>
          </a:solidFill>
        </p:spPr>
        <p:txBody>
          <a:bodyPr vert="horz" lIns="71981" tIns="143963" rIns="71981" bIns="143963" rtlCol="0" anchor="ctr">
            <a:noAutofit/>
          </a:bodyPr>
          <a:lstStyle>
            <a:lvl1pPr algn="l" defTabSz="914400" rtl="0" eaLnBrk="1" latinLnBrk="0" hangingPunct="1">
              <a:lnSpc>
                <a:spcPct val="90000"/>
              </a:lnSpc>
              <a:spcBef>
                <a:spcPct val="0"/>
              </a:spcBef>
              <a:buNone/>
              <a:defRPr sz="3200" kern="1200">
                <a:solidFill>
                  <a:schemeClr val="tx2"/>
                </a:solidFill>
                <a:latin typeface="+mj-lt"/>
                <a:ea typeface="+mj-ea"/>
                <a:cs typeface="+mj-cs"/>
              </a:defRPr>
            </a:lvl1pPr>
          </a:lstStyle>
          <a:p>
            <a:pPr algn="ctr"/>
            <a:r>
              <a:rPr lang="en-US" sz="1800" b="1" dirty="0">
                <a:latin typeface="+mn-lt"/>
                <a:ea typeface="Futura Std Book" charset="0"/>
                <a:cs typeface="Futura Std Book" charset="0"/>
              </a:rPr>
              <a:t>WAAL- &amp; EEMHAVEN</a:t>
            </a:r>
          </a:p>
          <a:p>
            <a:pPr algn="ctr"/>
            <a:r>
              <a:rPr lang="en-US" sz="1800" dirty="0">
                <a:latin typeface="+mn-lt"/>
                <a:ea typeface="Futura Std Medium" charset="0"/>
                <a:cs typeface="Futura Std Medium" charset="0"/>
              </a:rPr>
              <a:t>Shortsea</a:t>
            </a:r>
            <a:endParaRPr lang="nl-NL" sz="1800" dirty="0">
              <a:latin typeface="+mn-lt"/>
              <a:ea typeface="Futura Std Medium" charset="0"/>
              <a:cs typeface="Futura Std Medium" charset="0"/>
            </a:endParaRPr>
          </a:p>
        </p:txBody>
      </p:sp>
      <p:sp>
        <p:nvSpPr>
          <p:cNvPr id="22" name="Rectangle 21"/>
          <p:cNvSpPr/>
          <p:nvPr/>
        </p:nvSpPr>
        <p:spPr>
          <a:xfrm>
            <a:off x="7219375" y="5607045"/>
            <a:ext cx="5049908" cy="7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ijdelijke aanduiding voor datum 4">
            <a:extLst>
              <a:ext uri="{FF2B5EF4-FFF2-40B4-BE49-F238E27FC236}">
                <a16:creationId xmlns:a16="http://schemas.microsoft.com/office/drawing/2014/main" id="{D46A87EF-8492-4CA4-A37F-35135AA0362B}"/>
              </a:ext>
            </a:extLst>
          </p:cNvPr>
          <p:cNvSpPr>
            <a:spLocks noGrp="1"/>
          </p:cNvSpPr>
          <p:nvPr>
            <p:ph type="dt" sz="half" idx="10"/>
          </p:nvPr>
        </p:nvSpPr>
        <p:spPr/>
        <p:txBody>
          <a:bodyPr/>
          <a:lstStyle/>
          <a:p>
            <a:fld id="{CA02D419-3443-48C1-8DF7-484A724754B7}" type="datetime4">
              <a:rPr lang="en-GB" smtClean="0"/>
              <a:t>29 May 2020</a:t>
            </a:fld>
            <a:endParaRPr lang="en-GB"/>
          </a:p>
        </p:txBody>
      </p:sp>
      <p:sp>
        <p:nvSpPr>
          <p:cNvPr id="8" name="Tijdelijke aanduiding voor voettekst 7">
            <a:extLst>
              <a:ext uri="{FF2B5EF4-FFF2-40B4-BE49-F238E27FC236}">
                <a16:creationId xmlns:a16="http://schemas.microsoft.com/office/drawing/2014/main" id="{1EC0C626-F7A9-4289-A819-B7B5BEA8942C}"/>
              </a:ext>
            </a:extLst>
          </p:cNvPr>
          <p:cNvSpPr>
            <a:spLocks noGrp="1"/>
          </p:cNvSpPr>
          <p:nvPr>
            <p:ph type="ftr" sz="quarter" idx="11"/>
          </p:nvPr>
        </p:nvSpPr>
        <p:spPr/>
        <p:txBody>
          <a:bodyPr/>
          <a:lstStyle/>
          <a:p>
            <a:r>
              <a:rPr lang="en-GB"/>
              <a:t>|</a:t>
            </a:r>
          </a:p>
        </p:txBody>
      </p:sp>
      <p:sp>
        <p:nvSpPr>
          <p:cNvPr id="10" name="Tijdelijke aanduiding voor dianummer 9">
            <a:extLst>
              <a:ext uri="{FF2B5EF4-FFF2-40B4-BE49-F238E27FC236}">
                <a16:creationId xmlns:a16="http://schemas.microsoft.com/office/drawing/2014/main" id="{4506B328-F9B2-492D-8C15-6C31B92C8857}"/>
              </a:ext>
            </a:extLst>
          </p:cNvPr>
          <p:cNvSpPr>
            <a:spLocks noGrp="1"/>
          </p:cNvSpPr>
          <p:nvPr>
            <p:ph type="sldNum" sz="quarter" idx="12"/>
          </p:nvPr>
        </p:nvSpPr>
        <p:spPr/>
        <p:txBody>
          <a:bodyPr/>
          <a:lstStyle/>
          <a:p>
            <a:fld id="{534B5F9C-CFE5-4EC6-9BBB-664E2F56B033}" type="slidenum">
              <a:rPr lang="en-GB" smtClean="0"/>
              <a:t>24</a:t>
            </a:fld>
            <a:endParaRPr lang="en-GB"/>
          </a:p>
        </p:txBody>
      </p:sp>
    </p:spTree>
    <p:custDataLst>
      <p:tags r:id="rId1"/>
    </p:custDataLst>
    <p:extLst>
      <p:ext uri="{BB962C8B-B14F-4D97-AF65-F5344CB8AC3E}">
        <p14:creationId xmlns:p14="http://schemas.microsoft.com/office/powerpoint/2010/main" val="1247134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a14="http://schemas.microsoft.com/office/drawing/2010/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Tijdelijke aanduiding voor afbeelding 13">
            <a:extLst>
              <a:ext uri="{FF2B5EF4-FFF2-40B4-BE49-F238E27FC236}">
                <a16:creationId xmlns:a16="http://schemas.microsoft.com/office/drawing/2014/main" id="{5F8B18C0-B686-48A1-B37C-442FB1E6D63A}"/>
              </a:ext>
            </a:extLst>
          </p:cNvPr>
          <p:cNvPicPr>
            <a:picLocks noGrp="1" noChangeAspect="1"/>
          </p:cNvPicPr>
          <p:nvPr>
            <p:ph type="pic" idx="13"/>
          </p:nvPr>
        </p:nvPicPr>
        <p:blipFill>
          <a:blip r:embed="rId4">
            <a:extLst>
              <a:ext uri="{28A0092B-C50C-407E-A947-70E740481C1C}">
                <a14:useLocalDpi xmlns:a14="http://schemas.microsoft.com/office/drawing/2010/main" val="0"/>
              </a:ext>
            </a:extLst>
          </a:blip>
          <a:srcRect t="42" b="42"/>
          <a:stretch>
            <a:fillRect/>
          </a:stretch>
        </p:blipFill>
        <p:spPr/>
        <p:style>
          <a:lnRef idx="2">
            <a:schemeClr val="accent6"/>
          </a:lnRef>
          <a:fillRef idx="1">
            <a:schemeClr val="lt1"/>
          </a:fillRef>
          <a:effectRef idx="0">
            <a:schemeClr val="accent6"/>
          </a:effectRef>
          <a:fontRef idx="minor">
            <a:schemeClr val="dk1"/>
          </a:fontRef>
        </p:style>
      </p:pic>
      <p:sp>
        <p:nvSpPr>
          <p:cNvPr id="10" name="Titel 9">
            <a:extLst>
              <a:ext uri="{FF2B5EF4-FFF2-40B4-BE49-F238E27FC236}">
                <a16:creationId xmlns:a16="http://schemas.microsoft.com/office/drawing/2014/main" id="{42A8678D-1896-4356-8EBA-E80F9E73D23A}"/>
              </a:ext>
            </a:extLst>
          </p:cNvPr>
          <p:cNvSpPr>
            <a:spLocks noGrp="1"/>
          </p:cNvSpPr>
          <p:nvPr>
            <p:ph type="title"/>
          </p:nvPr>
        </p:nvSpPr>
        <p:spPr/>
        <p:txBody>
          <a:bodyPr/>
          <a:lstStyle/>
          <a:p>
            <a:r>
              <a:rPr lang="nl-NL" dirty="0"/>
              <a:t>COMPETITIVE SHORT SEA NETWORK</a:t>
            </a:r>
          </a:p>
        </p:txBody>
      </p:sp>
      <p:sp>
        <p:nvSpPr>
          <p:cNvPr id="4" name="Tijdelijke aanduiding voor datum 3">
            <a:extLst>
              <a:ext uri="{FF2B5EF4-FFF2-40B4-BE49-F238E27FC236}">
                <a16:creationId xmlns:a16="http://schemas.microsoft.com/office/drawing/2014/main" id="{80CEFA7E-D5C5-47E6-A5AD-F6688269A8DC}"/>
              </a:ext>
            </a:extLst>
          </p:cNvPr>
          <p:cNvSpPr>
            <a:spLocks noGrp="1"/>
          </p:cNvSpPr>
          <p:nvPr>
            <p:ph type="dt" sz="half" idx="10"/>
          </p:nvPr>
        </p:nvSpPr>
        <p:spPr/>
        <p:txBody>
          <a:bodyPr/>
          <a:lstStyle/>
          <a:p>
            <a:pPr defTabSz="1218986"/>
            <a:fld id="{C88A0716-34FD-493E-B621-4B6D011AECDA}" type="datetime4">
              <a:rPr lang="en-GB">
                <a:solidFill>
                  <a:srgbClr val="001F4B"/>
                </a:solidFill>
                <a:latin typeface="NLRTM"/>
              </a:rPr>
              <a:pPr defTabSz="1218986"/>
              <a:t>29 May 2020</a:t>
            </a:fld>
            <a:endParaRPr lang="en-GB">
              <a:solidFill>
                <a:srgbClr val="001F4B"/>
              </a:solidFill>
              <a:latin typeface="NLRTM"/>
            </a:endParaRPr>
          </a:p>
        </p:txBody>
      </p:sp>
      <p:sp>
        <p:nvSpPr>
          <p:cNvPr id="5" name="Tijdelijke aanduiding voor voettekst 4">
            <a:extLst>
              <a:ext uri="{FF2B5EF4-FFF2-40B4-BE49-F238E27FC236}">
                <a16:creationId xmlns:a16="http://schemas.microsoft.com/office/drawing/2014/main" id="{944D3BE4-3F96-4834-92E3-9CE1C1E89656}"/>
              </a:ext>
            </a:extLst>
          </p:cNvPr>
          <p:cNvSpPr>
            <a:spLocks noGrp="1"/>
          </p:cNvSpPr>
          <p:nvPr>
            <p:ph type="ftr" sz="quarter" idx="11"/>
          </p:nvPr>
        </p:nvSpPr>
        <p:spPr/>
        <p:txBody>
          <a:bodyPr/>
          <a:lstStyle/>
          <a:p>
            <a:pPr defTabSz="1218986"/>
            <a:r>
              <a:rPr lang="en-GB">
                <a:solidFill>
                  <a:srgbClr val="001F4B"/>
                </a:solidFill>
                <a:latin typeface="NLRTM"/>
              </a:rPr>
              <a:t>|</a:t>
            </a:r>
          </a:p>
        </p:txBody>
      </p:sp>
      <p:sp>
        <p:nvSpPr>
          <p:cNvPr id="6" name="Tijdelijke aanduiding voor dianummer 5">
            <a:extLst>
              <a:ext uri="{FF2B5EF4-FFF2-40B4-BE49-F238E27FC236}">
                <a16:creationId xmlns:a16="http://schemas.microsoft.com/office/drawing/2014/main" id="{5FB62D0B-9BDB-4A22-80E8-EFC7C5BF7167}"/>
              </a:ext>
            </a:extLst>
          </p:cNvPr>
          <p:cNvSpPr>
            <a:spLocks noGrp="1"/>
          </p:cNvSpPr>
          <p:nvPr>
            <p:ph type="sldNum" sz="quarter" idx="12"/>
          </p:nvPr>
        </p:nvSpPr>
        <p:spPr/>
        <p:txBody>
          <a:bodyPr/>
          <a:lstStyle/>
          <a:p>
            <a:pPr defTabSz="1218986"/>
            <a:fld id="{534B5F9C-CFE5-4EC6-9BBB-664E2F56B033}" type="slidenum">
              <a:rPr lang="en-GB">
                <a:solidFill>
                  <a:srgbClr val="001F4B"/>
                </a:solidFill>
                <a:latin typeface="NLRTM"/>
              </a:rPr>
              <a:pPr defTabSz="1218986"/>
              <a:t>25</a:t>
            </a:fld>
            <a:endParaRPr lang="en-GB">
              <a:solidFill>
                <a:srgbClr val="001F4B"/>
              </a:solidFill>
              <a:latin typeface="NLRTM"/>
            </a:endParaRPr>
          </a:p>
        </p:txBody>
      </p:sp>
      <p:sp>
        <p:nvSpPr>
          <p:cNvPr id="12" name="Tijdelijke aanduiding voor SmartArt 11">
            <a:extLst>
              <a:ext uri="{FF2B5EF4-FFF2-40B4-BE49-F238E27FC236}">
                <a16:creationId xmlns:a16="http://schemas.microsoft.com/office/drawing/2014/main" id="{0C9ABAB8-1FD8-49E8-9229-6C61C284DFED}"/>
              </a:ext>
            </a:extLst>
          </p:cNvPr>
          <p:cNvSpPr>
            <a:spLocks noGrp="1"/>
          </p:cNvSpPr>
          <p:nvPr>
            <p:ph type="dgm" sz="quarter" idx="14"/>
          </p:nvPr>
        </p:nvSpPr>
        <p:spPr/>
      </p:sp>
      <p:sp>
        <p:nvSpPr>
          <p:cNvPr id="9" name="Rechthoek 8">
            <a:extLst>
              <a:ext uri="{FF2B5EF4-FFF2-40B4-BE49-F238E27FC236}">
                <a16:creationId xmlns:a16="http://schemas.microsoft.com/office/drawing/2014/main" id="{3E1720A9-DE04-44FC-BCC4-44357BD3A48D}"/>
              </a:ext>
            </a:extLst>
          </p:cNvPr>
          <p:cNvSpPr/>
          <p:nvPr/>
        </p:nvSpPr>
        <p:spPr>
          <a:xfrm>
            <a:off x="8761850" y="2591440"/>
            <a:ext cx="2953900" cy="16751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3" tIns="60952" rIns="121903" bIns="60952" rtlCol="0" anchor="ctr"/>
          <a:lstStyle/>
          <a:p>
            <a:pPr>
              <a:spcBef>
                <a:spcPts val="600"/>
              </a:spcBef>
              <a:spcAft>
                <a:spcPts val="600"/>
              </a:spcAft>
            </a:pPr>
            <a:endParaRPr lang="nl-NL" sz="2000" b="1" dirty="0">
              <a:solidFill>
                <a:srgbClr val="001F4B"/>
              </a:solidFill>
              <a:ea typeface="Futura Std Book" charset="0"/>
              <a:cs typeface="Futura Std Book" charset="0"/>
            </a:endParaRPr>
          </a:p>
          <a:p>
            <a:pPr>
              <a:spcBef>
                <a:spcPts val="600"/>
              </a:spcBef>
              <a:spcAft>
                <a:spcPts val="600"/>
              </a:spcAft>
            </a:pPr>
            <a:r>
              <a:rPr lang="en-US" sz="2000" b="1" dirty="0">
                <a:solidFill>
                  <a:srgbClr val="001F4B"/>
                </a:solidFill>
                <a:ea typeface="Futura Std Medium" charset="0"/>
                <a:cs typeface="Futura Std Medium" charset="0"/>
              </a:rPr>
              <a:t>More than 150 weekly services </a:t>
            </a:r>
            <a:r>
              <a:rPr lang="en-US" sz="2000" dirty="0">
                <a:solidFill>
                  <a:srgbClr val="001F4B"/>
                </a:solidFill>
                <a:ea typeface="Futura Std Medium" charset="0"/>
                <a:cs typeface="Futura Std Medium" charset="0"/>
              </a:rPr>
              <a:t>connect the port of Rotterdam with the rest of Europe</a:t>
            </a:r>
          </a:p>
          <a:p>
            <a:pPr>
              <a:spcBef>
                <a:spcPts val="600"/>
              </a:spcBef>
              <a:spcAft>
                <a:spcPts val="600"/>
              </a:spcAft>
            </a:pPr>
            <a:endParaRPr lang="en" sz="2000" dirty="0">
              <a:solidFill>
                <a:srgbClr val="001F4B"/>
              </a:solidFill>
              <a:ea typeface="Futura Std Medium" charset="0"/>
              <a:cs typeface="Futura Std Medium" charset="0"/>
            </a:endParaRPr>
          </a:p>
        </p:txBody>
      </p:sp>
    </p:spTree>
    <p:custDataLst>
      <p:tags r:id="rId1"/>
    </p:custDataLst>
    <p:extLst>
      <p:ext uri="{BB962C8B-B14F-4D97-AF65-F5344CB8AC3E}">
        <p14:creationId xmlns:p14="http://schemas.microsoft.com/office/powerpoint/2010/main" val="2664842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14="http://schemas.microsoft.com/office/drawing/2010/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Tijdelijke aanduiding voor afbeelding 26"/>
          <p:cNvPicPr>
            <a:picLocks noGrp="1" noChangeAspect="1"/>
          </p:cNvPicPr>
          <p:nvPr>
            <p:ph type="pic" idx="13"/>
          </p:nvPr>
        </p:nvPicPr>
        <p:blipFill rotWithShape="1">
          <a:blip r:embed="rId4" cstate="email">
            <a:extLst>
              <a:ext uri="{BEBA8EAE-BF5A-486C-A8C5-ECC9F3942E4B}">
                <a14:imgProps xmlns:a14="http://schemas.microsoft.com/office/drawing/2010/main">
                  <a14:imgLayer r:embed="rId5">
                    <a14:imgEffect>
                      <a14:brightnessContrast contrast="-20000"/>
                    </a14:imgEffect>
                  </a14:imgLayer>
                </a14:imgProps>
              </a:ext>
              <a:ext uri="{28A0092B-C50C-407E-A947-70E740481C1C}">
                <a14:useLocalDpi xmlns:a14="http://schemas.microsoft.com/office/drawing/2010/main"/>
              </a:ext>
            </a:extLst>
          </a:blip>
          <a:srcRect l="20" r="20"/>
          <a:stretch/>
        </p:blipFill>
        <p:spPr>
          <a:xfrm>
            <a:off x="-3610" y="0"/>
            <a:ext cx="12200599" cy="6859311"/>
          </a:xfrm>
        </p:spPr>
      </p:pic>
      <p:sp>
        <p:nvSpPr>
          <p:cNvPr id="105" name="Titel 24"/>
          <p:cNvSpPr>
            <a:spLocks noGrp="1"/>
          </p:cNvSpPr>
          <p:nvPr>
            <p:ph type="title"/>
          </p:nvPr>
        </p:nvSpPr>
        <p:spPr/>
        <p:txBody>
          <a:bodyPr>
            <a:noAutofit/>
          </a:bodyPr>
          <a:lstStyle/>
          <a:p>
            <a:r>
              <a:rPr lang="en-US" dirty="0"/>
              <a:t>EEMHAVEN - SHORT</a:t>
            </a:r>
            <a:r>
              <a:rPr lang="nl-NL" dirty="0"/>
              <a:t> </a:t>
            </a:r>
            <a:r>
              <a:rPr lang="en-US" dirty="0"/>
              <a:t>SEA</a:t>
            </a:r>
            <a:endParaRPr lang="nl-NL" dirty="0"/>
          </a:p>
        </p:txBody>
      </p:sp>
      <p:sp>
        <p:nvSpPr>
          <p:cNvPr id="3" name="Tijdelijke aanduiding voor SmartArt 2">
            <a:extLst>
              <a:ext uri="{FF2B5EF4-FFF2-40B4-BE49-F238E27FC236}">
                <a16:creationId xmlns:a16="http://schemas.microsoft.com/office/drawing/2014/main" id="{D1901661-FF5E-46B5-9E18-BC422EE4CE2B}"/>
              </a:ext>
            </a:extLst>
          </p:cNvPr>
          <p:cNvSpPr>
            <a:spLocks noGrp="1"/>
          </p:cNvSpPr>
          <p:nvPr>
            <p:ph type="dgm" sz="quarter" idx="14"/>
          </p:nvPr>
        </p:nvSpPr>
        <p:spPr/>
      </p:sp>
      <p:sp>
        <p:nvSpPr>
          <p:cNvPr id="75" name="NIEUW"/>
          <p:cNvSpPr/>
          <p:nvPr/>
        </p:nvSpPr>
        <p:spPr>
          <a:xfrm>
            <a:off x="5174806" y="4324649"/>
            <a:ext cx="3255155" cy="2437025"/>
          </a:xfrm>
          <a:custGeom>
            <a:avLst/>
            <a:gdLst>
              <a:gd name="connsiteX0" fmla="*/ 97766 w 1823049"/>
              <a:gd name="connsiteY0" fmla="*/ 189781 h 1040920"/>
              <a:gd name="connsiteX1" fmla="*/ 937404 w 1823049"/>
              <a:gd name="connsiteY1" fmla="*/ 0 h 1040920"/>
              <a:gd name="connsiteX2" fmla="*/ 1823049 w 1823049"/>
              <a:gd name="connsiteY2" fmla="*/ 816633 h 1040920"/>
              <a:gd name="connsiteX3" fmla="*/ 902898 w 1823049"/>
              <a:gd name="connsiteY3" fmla="*/ 1040920 h 1040920"/>
              <a:gd name="connsiteX4" fmla="*/ 161026 w 1823049"/>
              <a:gd name="connsiteY4" fmla="*/ 287547 h 1040920"/>
              <a:gd name="connsiteX5" fmla="*/ 86264 w 1823049"/>
              <a:gd name="connsiteY5" fmla="*/ 293298 h 1040920"/>
              <a:gd name="connsiteX6" fmla="*/ 0 w 1823049"/>
              <a:gd name="connsiteY6" fmla="*/ 207033 h 1040920"/>
              <a:gd name="connsiteX7" fmla="*/ 97766 w 1823049"/>
              <a:gd name="connsiteY7" fmla="*/ 189781 h 1040920"/>
              <a:gd name="connsiteX0" fmla="*/ 97766 w 1823049"/>
              <a:gd name="connsiteY0" fmla="*/ 189781 h 1116283"/>
              <a:gd name="connsiteX1" fmla="*/ 937404 w 1823049"/>
              <a:gd name="connsiteY1" fmla="*/ 0 h 1116283"/>
              <a:gd name="connsiteX2" fmla="*/ 1823049 w 1823049"/>
              <a:gd name="connsiteY2" fmla="*/ 816633 h 1116283"/>
              <a:gd name="connsiteX3" fmla="*/ 983285 w 1823049"/>
              <a:gd name="connsiteY3" fmla="*/ 1116283 h 1116283"/>
              <a:gd name="connsiteX4" fmla="*/ 161026 w 1823049"/>
              <a:gd name="connsiteY4" fmla="*/ 287547 h 1116283"/>
              <a:gd name="connsiteX5" fmla="*/ 86264 w 1823049"/>
              <a:gd name="connsiteY5" fmla="*/ 293298 h 1116283"/>
              <a:gd name="connsiteX6" fmla="*/ 0 w 1823049"/>
              <a:gd name="connsiteY6" fmla="*/ 207033 h 1116283"/>
              <a:gd name="connsiteX7" fmla="*/ 97766 w 1823049"/>
              <a:gd name="connsiteY7" fmla="*/ 189781 h 1116283"/>
              <a:gd name="connsiteX0" fmla="*/ 97766 w 2893199"/>
              <a:gd name="connsiteY0" fmla="*/ 189781 h 1806395"/>
              <a:gd name="connsiteX1" fmla="*/ 937404 w 2893199"/>
              <a:gd name="connsiteY1" fmla="*/ 0 h 1806395"/>
              <a:gd name="connsiteX2" fmla="*/ 2893199 w 2893199"/>
              <a:gd name="connsiteY2" fmla="*/ 1806395 h 1806395"/>
              <a:gd name="connsiteX3" fmla="*/ 983285 w 2893199"/>
              <a:gd name="connsiteY3" fmla="*/ 1116283 h 1806395"/>
              <a:gd name="connsiteX4" fmla="*/ 161026 w 2893199"/>
              <a:gd name="connsiteY4" fmla="*/ 287547 h 1806395"/>
              <a:gd name="connsiteX5" fmla="*/ 86264 w 2893199"/>
              <a:gd name="connsiteY5" fmla="*/ 293298 h 1806395"/>
              <a:gd name="connsiteX6" fmla="*/ 0 w 2893199"/>
              <a:gd name="connsiteY6" fmla="*/ 207033 h 1806395"/>
              <a:gd name="connsiteX7" fmla="*/ 97766 w 2893199"/>
              <a:gd name="connsiteY7" fmla="*/ 189781 h 1806395"/>
              <a:gd name="connsiteX0" fmla="*/ 97766 w 2893199"/>
              <a:gd name="connsiteY0" fmla="*/ 204854 h 1821468"/>
              <a:gd name="connsiteX1" fmla="*/ 972573 w 2893199"/>
              <a:gd name="connsiteY1" fmla="*/ 0 h 1821468"/>
              <a:gd name="connsiteX2" fmla="*/ 2893199 w 2893199"/>
              <a:gd name="connsiteY2" fmla="*/ 1821468 h 1821468"/>
              <a:gd name="connsiteX3" fmla="*/ 983285 w 2893199"/>
              <a:gd name="connsiteY3" fmla="*/ 1131356 h 1821468"/>
              <a:gd name="connsiteX4" fmla="*/ 161026 w 2893199"/>
              <a:gd name="connsiteY4" fmla="*/ 302620 h 1821468"/>
              <a:gd name="connsiteX5" fmla="*/ 86264 w 2893199"/>
              <a:gd name="connsiteY5" fmla="*/ 308371 h 1821468"/>
              <a:gd name="connsiteX6" fmla="*/ 0 w 2893199"/>
              <a:gd name="connsiteY6" fmla="*/ 222106 h 1821468"/>
              <a:gd name="connsiteX7" fmla="*/ 97766 w 2893199"/>
              <a:gd name="connsiteY7" fmla="*/ 204854 h 1821468"/>
              <a:gd name="connsiteX0" fmla="*/ 97766 w 2893199"/>
              <a:gd name="connsiteY0" fmla="*/ 204854 h 1821468"/>
              <a:gd name="connsiteX1" fmla="*/ 972573 w 2893199"/>
              <a:gd name="connsiteY1" fmla="*/ 0 h 1821468"/>
              <a:gd name="connsiteX2" fmla="*/ 2893199 w 2893199"/>
              <a:gd name="connsiteY2" fmla="*/ 1821468 h 1821468"/>
              <a:gd name="connsiteX3" fmla="*/ 1281503 w 2893199"/>
              <a:gd name="connsiteY3" fmla="*/ 1387607 h 1821468"/>
              <a:gd name="connsiteX4" fmla="*/ 983285 w 2893199"/>
              <a:gd name="connsiteY4" fmla="*/ 1131356 h 1821468"/>
              <a:gd name="connsiteX5" fmla="*/ 161026 w 2893199"/>
              <a:gd name="connsiteY5" fmla="*/ 302620 h 1821468"/>
              <a:gd name="connsiteX6" fmla="*/ 86264 w 2893199"/>
              <a:gd name="connsiteY6" fmla="*/ 308371 h 1821468"/>
              <a:gd name="connsiteX7" fmla="*/ 0 w 2893199"/>
              <a:gd name="connsiteY7" fmla="*/ 222106 h 1821468"/>
              <a:gd name="connsiteX8" fmla="*/ 97766 w 2893199"/>
              <a:gd name="connsiteY8" fmla="*/ 204854 h 1821468"/>
              <a:gd name="connsiteX0" fmla="*/ 97766 w 2902912"/>
              <a:gd name="connsiteY0" fmla="*/ 204854 h 2445600"/>
              <a:gd name="connsiteX1" fmla="*/ 972573 w 2902912"/>
              <a:gd name="connsiteY1" fmla="*/ 0 h 2445600"/>
              <a:gd name="connsiteX2" fmla="*/ 2893199 w 2902912"/>
              <a:gd name="connsiteY2" fmla="*/ 1821468 h 2445600"/>
              <a:gd name="connsiteX3" fmla="*/ 1743727 w 2902912"/>
              <a:gd name="connsiteY3" fmla="*/ 2437660 h 2445600"/>
              <a:gd name="connsiteX4" fmla="*/ 1281503 w 2902912"/>
              <a:gd name="connsiteY4" fmla="*/ 1387607 h 2445600"/>
              <a:gd name="connsiteX5" fmla="*/ 983285 w 2902912"/>
              <a:gd name="connsiteY5" fmla="*/ 1131356 h 2445600"/>
              <a:gd name="connsiteX6" fmla="*/ 161026 w 2902912"/>
              <a:gd name="connsiteY6" fmla="*/ 302620 h 2445600"/>
              <a:gd name="connsiteX7" fmla="*/ 86264 w 2902912"/>
              <a:gd name="connsiteY7" fmla="*/ 308371 h 2445600"/>
              <a:gd name="connsiteX8" fmla="*/ 0 w 2902912"/>
              <a:gd name="connsiteY8" fmla="*/ 222106 h 2445600"/>
              <a:gd name="connsiteX9" fmla="*/ 97766 w 2902912"/>
              <a:gd name="connsiteY9" fmla="*/ 204854 h 2445600"/>
              <a:gd name="connsiteX0" fmla="*/ 97766 w 2906555"/>
              <a:gd name="connsiteY0" fmla="*/ 204854 h 2437660"/>
              <a:gd name="connsiteX1" fmla="*/ 972573 w 2906555"/>
              <a:gd name="connsiteY1" fmla="*/ 0 h 2437660"/>
              <a:gd name="connsiteX2" fmla="*/ 2893199 w 2906555"/>
              <a:gd name="connsiteY2" fmla="*/ 1821468 h 2437660"/>
              <a:gd name="connsiteX3" fmla="*/ 1743727 w 2906555"/>
              <a:gd name="connsiteY3" fmla="*/ 2437660 h 2437660"/>
              <a:gd name="connsiteX4" fmla="*/ 1281503 w 2906555"/>
              <a:gd name="connsiteY4" fmla="*/ 1387607 h 2437660"/>
              <a:gd name="connsiteX5" fmla="*/ 983285 w 2906555"/>
              <a:gd name="connsiteY5" fmla="*/ 1131356 h 2437660"/>
              <a:gd name="connsiteX6" fmla="*/ 161026 w 2906555"/>
              <a:gd name="connsiteY6" fmla="*/ 302620 h 2437660"/>
              <a:gd name="connsiteX7" fmla="*/ 86264 w 2906555"/>
              <a:gd name="connsiteY7" fmla="*/ 308371 h 2437660"/>
              <a:gd name="connsiteX8" fmla="*/ 0 w 2906555"/>
              <a:gd name="connsiteY8" fmla="*/ 222106 h 2437660"/>
              <a:gd name="connsiteX9" fmla="*/ 97766 w 2906555"/>
              <a:gd name="connsiteY9" fmla="*/ 204854 h 2437660"/>
              <a:gd name="connsiteX0" fmla="*/ 97766 w 2906555"/>
              <a:gd name="connsiteY0" fmla="*/ 204854 h 2437660"/>
              <a:gd name="connsiteX1" fmla="*/ 972573 w 2906555"/>
              <a:gd name="connsiteY1" fmla="*/ 0 h 2437660"/>
              <a:gd name="connsiteX2" fmla="*/ 2893199 w 2906555"/>
              <a:gd name="connsiteY2" fmla="*/ 1821468 h 2437660"/>
              <a:gd name="connsiteX3" fmla="*/ 1743727 w 2906555"/>
              <a:gd name="connsiteY3" fmla="*/ 2437660 h 2437660"/>
              <a:gd name="connsiteX4" fmla="*/ 1281503 w 2906555"/>
              <a:gd name="connsiteY4" fmla="*/ 1387607 h 2437660"/>
              <a:gd name="connsiteX5" fmla="*/ 983285 w 2906555"/>
              <a:gd name="connsiteY5" fmla="*/ 1131356 h 2437660"/>
              <a:gd name="connsiteX6" fmla="*/ 161026 w 2906555"/>
              <a:gd name="connsiteY6" fmla="*/ 302620 h 2437660"/>
              <a:gd name="connsiteX7" fmla="*/ 86264 w 2906555"/>
              <a:gd name="connsiteY7" fmla="*/ 308371 h 2437660"/>
              <a:gd name="connsiteX8" fmla="*/ 0 w 2906555"/>
              <a:gd name="connsiteY8" fmla="*/ 222106 h 2437660"/>
              <a:gd name="connsiteX9" fmla="*/ 97766 w 2906555"/>
              <a:gd name="connsiteY9" fmla="*/ 204854 h 2437660"/>
              <a:gd name="connsiteX0" fmla="*/ 97766 w 2906555"/>
              <a:gd name="connsiteY0" fmla="*/ 204854 h 2437660"/>
              <a:gd name="connsiteX1" fmla="*/ 972573 w 2906555"/>
              <a:gd name="connsiteY1" fmla="*/ 0 h 2437660"/>
              <a:gd name="connsiteX2" fmla="*/ 2893199 w 2906555"/>
              <a:gd name="connsiteY2" fmla="*/ 1821468 h 2437660"/>
              <a:gd name="connsiteX3" fmla="*/ 1743727 w 2906555"/>
              <a:gd name="connsiteY3" fmla="*/ 2437660 h 2437660"/>
              <a:gd name="connsiteX4" fmla="*/ 1281503 w 2906555"/>
              <a:gd name="connsiteY4" fmla="*/ 1387607 h 2437660"/>
              <a:gd name="connsiteX5" fmla="*/ 983285 w 2906555"/>
              <a:gd name="connsiteY5" fmla="*/ 1131356 h 2437660"/>
              <a:gd name="connsiteX6" fmla="*/ 161026 w 2906555"/>
              <a:gd name="connsiteY6" fmla="*/ 302620 h 2437660"/>
              <a:gd name="connsiteX7" fmla="*/ 86264 w 2906555"/>
              <a:gd name="connsiteY7" fmla="*/ 308371 h 2437660"/>
              <a:gd name="connsiteX8" fmla="*/ 0 w 2906555"/>
              <a:gd name="connsiteY8" fmla="*/ 222106 h 2437660"/>
              <a:gd name="connsiteX9" fmla="*/ 97766 w 2906555"/>
              <a:gd name="connsiteY9" fmla="*/ 204854 h 2437660"/>
              <a:gd name="connsiteX0" fmla="*/ 97766 w 2906555"/>
              <a:gd name="connsiteY0" fmla="*/ 204854 h 2437660"/>
              <a:gd name="connsiteX1" fmla="*/ 972573 w 2906555"/>
              <a:gd name="connsiteY1" fmla="*/ 0 h 2437660"/>
              <a:gd name="connsiteX2" fmla="*/ 2893199 w 2906555"/>
              <a:gd name="connsiteY2" fmla="*/ 1821468 h 2437660"/>
              <a:gd name="connsiteX3" fmla="*/ 1743727 w 2906555"/>
              <a:gd name="connsiteY3" fmla="*/ 2437660 h 2437660"/>
              <a:gd name="connsiteX4" fmla="*/ 1301599 w 2906555"/>
              <a:gd name="connsiteY4" fmla="*/ 1412728 h 2437660"/>
              <a:gd name="connsiteX5" fmla="*/ 983285 w 2906555"/>
              <a:gd name="connsiteY5" fmla="*/ 1131356 h 2437660"/>
              <a:gd name="connsiteX6" fmla="*/ 161026 w 2906555"/>
              <a:gd name="connsiteY6" fmla="*/ 302620 h 2437660"/>
              <a:gd name="connsiteX7" fmla="*/ 86264 w 2906555"/>
              <a:gd name="connsiteY7" fmla="*/ 308371 h 2437660"/>
              <a:gd name="connsiteX8" fmla="*/ 0 w 2906555"/>
              <a:gd name="connsiteY8" fmla="*/ 222106 h 2437660"/>
              <a:gd name="connsiteX9" fmla="*/ 97766 w 2906555"/>
              <a:gd name="connsiteY9" fmla="*/ 204854 h 2437660"/>
              <a:gd name="connsiteX0" fmla="*/ 97766 w 2906555"/>
              <a:gd name="connsiteY0" fmla="*/ 204854 h 2437660"/>
              <a:gd name="connsiteX1" fmla="*/ 972573 w 2906555"/>
              <a:gd name="connsiteY1" fmla="*/ 0 h 2437660"/>
              <a:gd name="connsiteX2" fmla="*/ 2893199 w 2906555"/>
              <a:gd name="connsiteY2" fmla="*/ 1821468 h 2437660"/>
              <a:gd name="connsiteX3" fmla="*/ 1743727 w 2906555"/>
              <a:gd name="connsiteY3" fmla="*/ 2437660 h 2437660"/>
              <a:gd name="connsiteX4" fmla="*/ 1301599 w 2906555"/>
              <a:gd name="connsiteY4" fmla="*/ 1412728 h 2437660"/>
              <a:gd name="connsiteX5" fmla="*/ 983285 w 2906555"/>
              <a:gd name="connsiteY5" fmla="*/ 1131356 h 2437660"/>
              <a:gd name="connsiteX6" fmla="*/ 161026 w 2906555"/>
              <a:gd name="connsiteY6" fmla="*/ 302620 h 2437660"/>
              <a:gd name="connsiteX7" fmla="*/ 86264 w 2906555"/>
              <a:gd name="connsiteY7" fmla="*/ 308371 h 2437660"/>
              <a:gd name="connsiteX8" fmla="*/ 0 w 2906555"/>
              <a:gd name="connsiteY8" fmla="*/ 222106 h 2437660"/>
              <a:gd name="connsiteX9" fmla="*/ 97766 w 2906555"/>
              <a:gd name="connsiteY9" fmla="*/ 204854 h 2437660"/>
              <a:gd name="connsiteX0" fmla="*/ 97766 w 2906555"/>
              <a:gd name="connsiteY0" fmla="*/ 204854 h 2437660"/>
              <a:gd name="connsiteX1" fmla="*/ 972573 w 2906555"/>
              <a:gd name="connsiteY1" fmla="*/ 0 h 2437660"/>
              <a:gd name="connsiteX2" fmla="*/ 2893199 w 2906555"/>
              <a:gd name="connsiteY2" fmla="*/ 1821468 h 2437660"/>
              <a:gd name="connsiteX3" fmla="*/ 1743727 w 2906555"/>
              <a:gd name="connsiteY3" fmla="*/ 2437660 h 2437660"/>
              <a:gd name="connsiteX4" fmla="*/ 1301599 w 2906555"/>
              <a:gd name="connsiteY4" fmla="*/ 1412728 h 2437660"/>
              <a:gd name="connsiteX5" fmla="*/ 983285 w 2906555"/>
              <a:gd name="connsiteY5" fmla="*/ 1131356 h 2437660"/>
              <a:gd name="connsiteX6" fmla="*/ 161026 w 2906555"/>
              <a:gd name="connsiteY6" fmla="*/ 302620 h 2437660"/>
              <a:gd name="connsiteX7" fmla="*/ 86264 w 2906555"/>
              <a:gd name="connsiteY7" fmla="*/ 308371 h 2437660"/>
              <a:gd name="connsiteX8" fmla="*/ 0 w 2906555"/>
              <a:gd name="connsiteY8" fmla="*/ 222106 h 2437660"/>
              <a:gd name="connsiteX9" fmla="*/ 97766 w 2906555"/>
              <a:gd name="connsiteY9" fmla="*/ 204854 h 2437660"/>
              <a:gd name="connsiteX0" fmla="*/ 97766 w 3303413"/>
              <a:gd name="connsiteY0" fmla="*/ 204854 h 2452771"/>
              <a:gd name="connsiteX1" fmla="*/ 972573 w 3303413"/>
              <a:gd name="connsiteY1" fmla="*/ 0 h 2452771"/>
              <a:gd name="connsiteX2" fmla="*/ 2893199 w 3303413"/>
              <a:gd name="connsiteY2" fmla="*/ 1821468 h 2452771"/>
              <a:gd name="connsiteX3" fmla="*/ 3230882 w 3303413"/>
              <a:gd name="connsiteY3" fmla="*/ 2065871 h 2452771"/>
              <a:gd name="connsiteX4" fmla="*/ 1743727 w 3303413"/>
              <a:gd name="connsiteY4" fmla="*/ 2437660 h 2452771"/>
              <a:gd name="connsiteX5" fmla="*/ 1301599 w 3303413"/>
              <a:gd name="connsiteY5" fmla="*/ 1412728 h 2452771"/>
              <a:gd name="connsiteX6" fmla="*/ 983285 w 3303413"/>
              <a:gd name="connsiteY6" fmla="*/ 1131356 h 2452771"/>
              <a:gd name="connsiteX7" fmla="*/ 161026 w 3303413"/>
              <a:gd name="connsiteY7" fmla="*/ 302620 h 2452771"/>
              <a:gd name="connsiteX8" fmla="*/ 86264 w 3303413"/>
              <a:gd name="connsiteY8" fmla="*/ 308371 h 2452771"/>
              <a:gd name="connsiteX9" fmla="*/ 0 w 3303413"/>
              <a:gd name="connsiteY9" fmla="*/ 222106 h 2452771"/>
              <a:gd name="connsiteX10" fmla="*/ 97766 w 3303413"/>
              <a:gd name="connsiteY10" fmla="*/ 204854 h 2452771"/>
              <a:gd name="connsiteX0" fmla="*/ 97766 w 3230882"/>
              <a:gd name="connsiteY0" fmla="*/ 204854 h 2452771"/>
              <a:gd name="connsiteX1" fmla="*/ 972573 w 3230882"/>
              <a:gd name="connsiteY1" fmla="*/ 0 h 2452771"/>
              <a:gd name="connsiteX2" fmla="*/ 2893199 w 3230882"/>
              <a:gd name="connsiteY2" fmla="*/ 1821468 h 2452771"/>
              <a:gd name="connsiteX3" fmla="*/ 3230882 w 3230882"/>
              <a:gd name="connsiteY3" fmla="*/ 2065871 h 2452771"/>
              <a:gd name="connsiteX4" fmla="*/ 1743727 w 3230882"/>
              <a:gd name="connsiteY4" fmla="*/ 2437660 h 2452771"/>
              <a:gd name="connsiteX5" fmla="*/ 1301599 w 3230882"/>
              <a:gd name="connsiteY5" fmla="*/ 1412728 h 2452771"/>
              <a:gd name="connsiteX6" fmla="*/ 983285 w 3230882"/>
              <a:gd name="connsiteY6" fmla="*/ 1131356 h 2452771"/>
              <a:gd name="connsiteX7" fmla="*/ 161026 w 3230882"/>
              <a:gd name="connsiteY7" fmla="*/ 302620 h 2452771"/>
              <a:gd name="connsiteX8" fmla="*/ 86264 w 3230882"/>
              <a:gd name="connsiteY8" fmla="*/ 308371 h 2452771"/>
              <a:gd name="connsiteX9" fmla="*/ 0 w 3230882"/>
              <a:gd name="connsiteY9" fmla="*/ 222106 h 2452771"/>
              <a:gd name="connsiteX10" fmla="*/ 97766 w 3230882"/>
              <a:gd name="connsiteY10" fmla="*/ 204854 h 2452771"/>
              <a:gd name="connsiteX0" fmla="*/ 97766 w 3230882"/>
              <a:gd name="connsiteY0" fmla="*/ 204854 h 2452771"/>
              <a:gd name="connsiteX1" fmla="*/ 972573 w 3230882"/>
              <a:gd name="connsiteY1" fmla="*/ 0 h 2452771"/>
              <a:gd name="connsiteX2" fmla="*/ 2893199 w 3230882"/>
              <a:gd name="connsiteY2" fmla="*/ 1821468 h 2452771"/>
              <a:gd name="connsiteX3" fmla="*/ 3230882 w 3230882"/>
              <a:gd name="connsiteY3" fmla="*/ 2065871 h 2452771"/>
              <a:gd name="connsiteX4" fmla="*/ 1743727 w 3230882"/>
              <a:gd name="connsiteY4" fmla="*/ 2437660 h 2452771"/>
              <a:gd name="connsiteX5" fmla="*/ 1301599 w 3230882"/>
              <a:gd name="connsiteY5" fmla="*/ 1412728 h 2452771"/>
              <a:gd name="connsiteX6" fmla="*/ 983285 w 3230882"/>
              <a:gd name="connsiteY6" fmla="*/ 1131356 h 2452771"/>
              <a:gd name="connsiteX7" fmla="*/ 161026 w 3230882"/>
              <a:gd name="connsiteY7" fmla="*/ 302620 h 2452771"/>
              <a:gd name="connsiteX8" fmla="*/ 86264 w 3230882"/>
              <a:gd name="connsiteY8" fmla="*/ 308371 h 2452771"/>
              <a:gd name="connsiteX9" fmla="*/ 0 w 3230882"/>
              <a:gd name="connsiteY9" fmla="*/ 222106 h 2452771"/>
              <a:gd name="connsiteX10" fmla="*/ 97766 w 3230882"/>
              <a:gd name="connsiteY10" fmla="*/ 204854 h 2452771"/>
              <a:gd name="connsiteX0" fmla="*/ 97766 w 3230882"/>
              <a:gd name="connsiteY0" fmla="*/ 204854 h 2437660"/>
              <a:gd name="connsiteX1" fmla="*/ 972573 w 3230882"/>
              <a:gd name="connsiteY1" fmla="*/ 0 h 2437660"/>
              <a:gd name="connsiteX2" fmla="*/ 2893199 w 3230882"/>
              <a:gd name="connsiteY2" fmla="*/ 1821468 h 2437660"/>
              <a:gd name="connsiteX3" fmla="*/ 3230882 w 3230882"/>
              <a:gd name="connsiteY3" fmla="*/ 2065871 h 2437660"/>
              <a:gd name="connsiteX4" fmla="*/ 1743727 w 3230882"/>
              <a:gd name="connsiteY4" fmla="*/ 2437660 h 2437660"/>
              <a:gd name="connsiteX5" fmla="*/ 1301599 w 3230882"/>
              <a:gd name="connsiteY5" fmla="*/ 1412728 h 2437660"/>
              <a:gd name="connsiteX6" fmla="*/ 983285 w 3230882"/>
              <a:gd name="connsiteY6" fmla="*/ 1131356 h 2437660"/>
              <a:gd name="connsiteX7" fmla="*/ 161026 w 3230882"/>
              <a:gd name="connsiteY7" fmla="*/ 302620 h 2437660"/>
              <a:gd name="connsiteX8" fmla="*/ 86264 w 3230882"/>
              <a:gd name="connsiteY8" fmla="*/ 308371 h 2437660"/>
              <a:gd name="connsiteX9" fmla="*/ 0 w 3230882"/>
              <a:gd name="connsiteY9" fmla="*/ 222106 h 2437660"/>
              <a:gd name="connsiteX10" fmla="*/ 97766 w 3230882"/>
              <a:gd name="connsiteY10" fmla="*/ 204854 h 2437660"/>
              <a:gd name="connsiteX0" fmla="*/ 97766 w 3230882"/>
              <a:gd name="connsiteY0" fmla="*/ 204854 h 2437660"/>
              <a:gd name="connsiteX1" fmla="*/ 972573 w 3230882"/>
              <a:gd name="connsiteY1" fmla="*/ 0 h 2437660"/>
              <a:gd name="connsiteX2" fmla="*/ 2893199 w 3230882"/>
              <a:gd name="connsiteY2" fmla="*/ 1821468 h 2437660"/>
              <a:gd name="connsiteX3" fmla="*/ 3230882 w 3230882"/>
              <a:gd name="connsiteY3" fmla="*/ 2065871 h 2437660"/>
              <a:gd name="connsiteX4" fmla="*/ 1743727 w 3230882"/>
              <a:gd name="connsiteY4" fmla="*/ 2437660 h 2437660"/>
              <a:gd name="connsiteX5" fmla="*/ 1301599 w 3230882"/>
              <a:gd name="connsiteY5" fmla="*/ 1412728 h 2437660"/>
              <a:gd name="connsiteX6" fmla="*/ 983285 w 3230882"/>
              <a:gd name="connsiteY6" fmla="*/ 1131356 h 2437660"/>
              <a:gd name="connsiteX7" fmla="*/ 161026 w 3230882"/>
              <a:gd name="connsiteY7" fmla="*/ 302620 h 2437660"/>
              <a:gd name="connsiteX8" fmla="*/ 86264 w 3230882"/>
              <a:gd name="connsiteY8" fmla="*/ 308371 h 2437660"/>
              <a:gd name="connsiteX9" fmla="*/ 0 w 3230882"/>
              <a:gd name="connsiteY9" fmla="*/ 222106 h 2437660"/>
              <a:gd name="connsiteX10" fmla="*/ 97766 w 3230882"/>
              <a:gd name="connsiteY10" fmla="*/ 204854 h 2437660"/>
              <a:gd name="connsiteX0" fmla="*/ 97766 w 3289312"/>
              <a:gd name="connsiteY0" fmla="*/ 204854 h 2437660"/>
              <a:gd name="connsiteX1" fmla="*/ 972573 w 3289312"/>
              <a:gd name="connsiteY1" fmla="*/ 0 h 2437660"/>
              <a:gd name="connsiteX2" fmla="*/ 2893199 w 3289312"/>
              <a:gd name="connsiteY2" fmla="*/ 1821468 h 2437660"/>
              <a:gd name="connsiteX3" fmla="*/ 3009818 w 3289312"/>
              <a:gd name="connsiteY3" fmla="*/ 1814662 h 2437660"/>
              <a:gd name="connsiteX4" fmla="*/ 3230882 w 3289312"/>
              <a:gd name="connsiteY4" fmla="*/ 2065871 h 2437660"/>
              <a:gd name="connsiteX5" fmla="*/ 1743727 w 3289312"/>
              <a:gd name="connsiteY5" fmla="*/ 2437660 h 2437660"/>
              <a:gd name="connsiteX6" fmla="*/ 1301599 w 3289312"/>
              <a:gd name="connsiteY6" fmla="*/ 1412728 h 2437660"/>
              <a:gd name="connsiteX7" fmla="*/ 983285 w 3289312"/>
              <a:gd name="connsiteY7" fmla="*/ 1131356 h 2437660"/>
              <a:gd name="connsiteX8" fmla="*/ 161026 w 3289312"/>
              <a:gd name="connsiteY8" fmla="*/ 302620 h 2437660"/>
              <a:gd name="connsiteX9" fmla="*/ 86264 w 3289312"/>
              <a:gd name="connsiteY9" fmla="*/ 308371 h 2437660"/>
              <a:gd name="connsiteX10" fmla="*/ 0 w 3289312"/>
              <a:gd name="connsiteY10" fmla="*/ 222106 h 2437660"/>
              <a:gd name="connsiteX11" fmla="*/ 97766 w 3289312"/>
              <a:gd name="connsiteY11" fmla="*/ 204854 h 2437660"/>
              <a:gd name="connsiteX0" fmla="*/ 97766 w 3289312"/>
              <a:gd name="connsiteY0" fmla="*/ 204854 h 2437660"/>
              <a:gd name="connsiteX1" fmla="*/ 972573 w 3289312"/>
              <a:gd name="connsiteY1" fmla="*/ 0 h 2437660"/>
              <a:gd name="connsiteX2" fmla="*/ 2893199 w 3289312"/>
              <a:gd name="connsiteY2" fmla="*/ 1821468 h 2437660"/>
              <a:gd name="connsiteX3" fmla="*/ 3009818 w 3289312"/>
              <a:gd name="connsiteY3" fmla="*/ 1814662 h 2437660"/>
              <a:gd name="connsiteX4" fmla="*/ 3230882 w 3289312"/>
              <a:gd name="connsiteY4" fmla="*/ 2065871 h 2437660"/>
              <a:gd name="connsiteX5" fmla="*/ 1743727 w 3289312"/>
              <a:gd name="connsiteY5" fmla="*/ 2437660 h 2437660"/>
              <a:gd name="connsiteX6" fmla="*/ 1301599 w 3289312"/>
              <a:gd name="connsiteY6" fmla="*/ 1412728 h 2437660"/>
              <a:gd name="connsiteX7" fmla="*/ 983285 w 3289312"/>
              <a:gd name="connsiteY7" fmla="*/ 1131356 h 2437660"/>
              <a:gd name="connsiteX8" fmla="*/ 161026 w 3289312"/>
              <a:gd name="connsiteY8" fmla="*/ 302620 h 2437660"/>
              <a:gd name="connsiteX9" fmla="*/ 86264 w 3289312"/>
              <a:gd name="connsiteY9" fmla="*/ 308371 h 2437660"/>
              <a:gd name="connsiteX10" fmla="*/ 0 w 3289312"/>
              <a:gd name="connsiteY10" fmla="*/ 222106 h 2437660"/>
              <a:gd name="connsiteX11" fmla="*/ 97766 w 3289312"/>
              <a:gd name="connsiteY11" fmla="*/ 204854 h 2437660"/>
              <a:gd name="connsiteX0" fmla="*/ 97766 w 3289312"/>
              <a:gd name="connsiteY0" fmla="*/ 204854 h 2437660"/>
              <a:gd name="connsiteX1" fmla="*/ 972573 w 3289312"/>
              <a:gd name="connsiteY1" fmla="*/ 0 h 2437660"/>
              <a:gd name="connsiteX2" fmla="*/ 2893199 w 3289312"/>
              <a:gd name="connsiteY2" fmla="*/ 1821468 h 2437660"/>
              <a:gd name="connsiteX3" fmla="*/ 3009818 w 3289312"/>
              <a:gd name="connsiteY3" fmla="*/ 1814662 h 2437660"/>
              <a:gd name="connsiteX4" fmla="*/ 3230882 w 3289312"/>
              <a:gd name="connsiteY4" fmla="*/ 2065871 h 2437660"/>
              <a:gd name="connsiteX5" fmla="*/ 1743727 w 3289312"/>
              <a:gd name="connsiteY5" fmla="*/ 2437660 h 2437660"/>
              <a:gd name="connsiteX6" fmla="*/ 1301599 w 3289312"/>
              <a:gd name="connsiteY6" fmla="*/ 1412728 h 2437660"/>
              <a:gd name="connsiteX7" fmla="*/ 983285 w 3289312"/>
              <a:gd name="connsiteY7" fmla="*/ 1131356 h 2437660"/>
              <a:gd name="connsiteX8" fmla="*/ 161026 w 3289312"/>
              <a:gd name="connsiteY8" fmla="*/ 302620 h 2437660"/>
              <a:gd name="connsiteX9" fmla="*/ 86264 w 3289312"/>
              <a:gd name="connsiteY9" fmla="*/ 308371 h 2437660"/>
              <a:gd name="connsiteX10" fmla="*/ 0 w 3289312"/>
              <a:gd name="connsiteY10" fmla="*/ 222106 h 2437660"/>
              <a:gd name="connsiteX11" fmla="*/ 97766 w 3289312"/>
              <a:gd name="connsiteY11" fmla="*/ 204854 h 2437660"/>
              <a:gd name="connsiteX0" fmla="*/ 97766 w 3230882"/>
              <a:gd name="connsiteY0" fmla="*/ 204854 h 2437660"/>
              <a:gd name="connsiteX1" fmla="*/ 972573 w 3230882"/>
              <a:gd name="connsiteY1" fmla="*/ 0 h 2437660"/>
              <a:gd name="connsiteX2" fmla="*/ 2893199 w 3230882"/>
              <a:gd name="connsiteY2" fmla="*/ 1821468 h 2437660"/>
              <a:gd name="connsiteX3" fmla="*/ 3009818 w 3230882"/>
              <a:gd name="connsiteY3" fmla="*/ 1814662 h 2437660"/>
              <a:gd name="connsiteX4" fmla="*/ 3230882 w 3230882"/>
              <a:gd name="connsiteY4" fmla="*/ 2065871 h 2437660"/>
              <a:gd name="connsiteX5" fmla="*/ 1743727 w 3230882"/>
              <a:gd name="connsiteY5" fmla="*/ 2437660 h 2437660"/>
              <a:gd name="connsiteX6" fmla="*/ 1301599 w 3230882"/>
              <a:gd name="connsiteY6" fmla="*/ 1412728 h 2437660"/>
              <a:gd name="connsiteX7" fmla="*/ 983285 w 3230882"/>
              <a:gd name="connsiteY7" fmla="*/ 1131356 h 2437660"/>
              <a:gd name="connsiteX8" fmla="*/ 161026 w 3230882"/>
              <a:gd name="connsiteY8" fmla="*/ 302620 h 2437660"/>
              <a:gd name="connsiteX9" fmla="*/ 86264 w 3230882"/>
              <a:gd name="connsiteY9" fmla="*/ 308371 h 2437660"/>
              <a:gd name="connsiteX10" fmla="*/ 0 w 3230882"/>
              <a:gd name="connsiteY10" fmla="*/ 222106 h 2437660"/>
              <a:gd name="connsiteX11" fmla="*/ 97766 w 3230882"/>
              <a:gd name="connsiteY11" fmla="*/ 204854 h 2437660"/>
              <a:gd name="connsiteX0" fmla="*/ 97766 w 3256003"/>
              <a:gd name="connsiteY0" fmla="*/ 204854 h 2437660"/>
              <a:gd name="connsiteX1" fmla="*/ 972573 w 3256003"/>
              <a:gd name="connsiteY1" fmla="*/ 0 h 2437660"/>
              <a:gd name="connsiteX2" fmla="*/ 2893199 w 3256003"/>
              <a:gd name="connsiteY2" fmla="*/ 1821468 h 2437660"/>
              <a:gd name="connsiteX3" fmla="*/ 3009818 w 3256003"/>
              <a:gd name="connsiteY3" fmla="*/ 1814662 h 2437660"/>
              <a:gd name="connsiteX4" fmla="*/ 3256003 w 3256003"/>
              <a:gd name="connsiteY4" fmla="*/ 2060847 h 2437660"/>
              <a:gd name="connsiteX5" fmla="*/ 1743727 w 3256003"/>
              <a:gd name="connsiteY5" fmla="*/ 2437660 h 2437660"/>
              <a:gd name="connsiteX6" fmla="*/ 1301599 w 3256003"/>
              <a:gd name="connsiteY6" fmla="*/ 1412728 h 2437660"/>
              <a:gd name="connsiteX7" fmla="*/ 983285 w 3256003"/>
              <a:gd name="connsiteY7" fmla="*/ 1131356 h 2437660"/>
              <a:gd name="connsiteX8" fmla="*/ 161026 w 3256003"/>
              <a:gd name="connsiteY8" fmla="*/ 302620 h 2437660"/>
              <a:gd name="connsiteX9" fmla="*/ 86264 w 3256003"/>
              <a:gd name="connsiteY9" fmla="*/ 308371 h 2437660"/>
              <a:gd name="connsiteX10" fmla="*/ 0 w 3256003"/>
              <a:gd name="connsiteY10" fmla="*/ 222106 h 2437660"/>
              <a:gd name="connsiteX11" fmla="*/ 97766 w 3256003"/>
              <a:gd name="connsiteY11" fmla="*/ 204854 h 2437660"/>
              <a:gd name="connsiteX0" fmla="*/ 97766 w 3256003"/>
              <a:gd name="connsiteY0" fmla="*/ 204854 h 2437660"/>
              <a:gd name="connsiteX1" fmla="*/ 972573 w 3256003"/>
              <a:gd name="connsiteY1" fmla="*/ 0 h 2437660"/>
              <a:gd name="connsiteX2" fmla="*/ 1844210 w 3256003"/>
              <a:gd name="connsiteY2" fmla="*/ 824899 h 2437660"/>
              <a:gd name="connsiteX3" fmla="*/ 2893199 w 3256003"/>
              <a:gd name="connsiteY3" fmla="*/ 1821468 h 2437660"/>
              <a:gd name="connsiteX4" fmla="*/ 3009818 w 3256003"/>
              <a:gd name="connsiteY4" fmla="*/ 1814662 h 2437660"/>
              <a:gd name="connsiteX5" fmla="*/ 3256003 w 3256003"/>
              <a:gd name="connsiteY5" fmla="*/ 2060847 h 2437660"/>
              <a:gd name="connsiteX6" fmla="*/ 1743727 w 3256003"/>
              <a:gd name="connsiteY6" fmla="*/ 2437660 h 2437660"/>
              <a:gd name="connsiteX7" fmla="*/ 1301599 w 3256003"/>
              <a:gd name="connsiteY7" fmla="*/ 1412728 h 2437660"/>
              <a:gd name="connsiteX8" fmla="*/ 983285 w 3256003"/>
              <a:gd name="connsiteY8" fmla="*/ 1131356 h 2437660"/>
              <a:gd name="connsiteX9" fmla="*/ 161026 w 3256003"/>
              <a:gd name="connsiteY9" fmla="*/ 302620 h 2437660"/>
              <a:gd name="connsiteX10" fmla="*/ 86264 w 3256003"/>
              <a:gd name="connsiteY10" fmla="*/ 308371 h 2437660"/>
              <a:gd name="connsiteX11" fmla="*/ 0 w 3256003"/>
              <a:gd name="connsiteY11" fmla="*/ 222106 h 2437660"/>
              <a:gd name="connsiteX12" fmla="*/ 97766 w 3256003"/>
              <a:gd name="connsiteY12" fmla="*/ 204854 h 2437660"/>
              <a:gd name="connsiteX0" fmla="*/ 97766 w 3256003"/>
              <a:gd name="connsiteY0" fmla="*/ 204854 h 2437660"/>
              <a:gd name="connsiteX1" fmla="*/ 972573 w 3256003"/>
              <a:gd name="connsiteY1" fmla="*/ 0 h 2437660"/>
              <a:gd name="connsiteX2" fmla="*/ 1844210 w 3256003"/>
              <a:gd name="connsiteY2" fmla="*/ 824899 h 2437660"/>
              <a:gd name="connsiteX3" fmla="*/ 1939669 w 3256003"/>
              <a:gd name="connsiteY3" fmla="*/ 885189 h 2437660"/>
              <a:gd name="connsiteX4" fmla="*/ 2893199 w 3256003"/>
              <a:gd name="connsiteY4" fmla="*/ 1821468 h 2437660"/>
              <a:gd name="connsiteX5" fmla="*/ 3009818 w 3256003"/>
              <a:gd name="connsiteY5" fmla="*/ 1814662 h 2437660"/>
              <a:gd name="connsiteX6" fmla="*/ 3256003 w 3256003"/>
              <a:gd name="connsiteY6" fmla="*/ 2060847 h 2437660"/>
              <a:gd name="connsiteX7" fmla="*/ 1743727 w 3256003"/>
              <a:gd name="connsiteY7" fmla="*/ 2437660 h 2437660"/>
              <a:gd name="connsiteX8" fmla="*/ 1301599 w 3256003"/>
              <a:gd name="connsiteY8" fmla="*/ 1412728 h 2437660"/>
              <a:gd name="connsiteX9" fmla="*/ 983285 w 3256003"/>
              <a:gd name="connsiteY9" fmla="*/ 1131356 h 2437660"/>
              <a:gd name="connsiteX10" fmla="*/ 161026 w 3256003"/>
              <a:gd name="connsiteY10" fmla="*/ 302620 h 2437660"/>
              <a:gd name="connsiteX11" fmla="*/ 86264 w 3256003"/>
              <a:gd name="connsiteY11" fmla="*/ 308371 h 2437660"/>
              <a:gd name="connsiteX12" fmla="*/ 0 w 3256003"/>
              <a:gd name="connsiteY12" fmla="*/ 222106 h 2437660"/>
              <a:gd name="connsiteX13" fmla="*/ 97766 w 3256003"/>
              <a:gd name="connsiteY13" fmla="*/ 204854 h 2437660"/>
              <a:gd name="connsiteX0" fmla="*/ 97766 w 3256003"/>
              <a:gd name="connsiteY0" fmla="*/ 204854 h 2437660"/>
              <a:gd name="connsiteX1" fmla="*/ 972573 w 3256003"/>
              <a:gd name="connsiteY1" fmla="*/ 0 h 2437660"/>
              <a:gd name="connsiteX2" fmla="*/ 1844210 w 3256003"/>
              <a:gd name="connsiteY2" fmla="*/ 824899 h 2437660"/>
              <a:gd name="connsiteX3" fmla="*/ 1939669 w 3256003"/>
              <a:gd name="connsiteY3" fmla="*/ 885189 h 2437660"/>
              <a:gd name="connsiteX4" fmla="*/ 2893199 w 3256003"/>
              <a:gd name="connsiteY4" fmla="*/ 1821468 h 2437660"/>
              <a:gd name="connsiteX5" fmla="*/ 3009818 w 3256003"/>
              <a:gd name="connsiteY5" fmla="*/ 1814662 h 2437660"/>
              <a:gd name="connsiteX6" fmla="*/ 3256003 w 3256003"/>
              <a:gd name="connsiteY6" fmla="*/ 2060847 h 2437660"/>
              <a:gd name="connsiteX7" fmla="*/ 1743727 w 3256003"/>
              <a:gd name="connsiteY7" fmla="*/ 2437660 h 2437660"/>
              <a:gd name="connsiteX8" fmla="*/ 1301599 w 3256003"/>
              <a:gd name="connsiteY8" fmla="*/ 1412728 h 2437660"/>
              <a:gd name="connsiteX9" fmla="*/ 983285 w 3256003"/>
              <a:gd name="connsiteY9" fmla="*/ 1131356 h 2437660"/>
              <a:gd name="connsiteX10" fmla="*/ 161026 w 3256003"/>
              <a:gd name="connsiteY10" fmla="*/ 302620 h 2437660"/>
              <a:gd name="connsiteX11" fmla="*/ 86264 w 3256003"/>
              <a:gd name="connsiteY11" fmla="*/ 308371 h 2437660"/>
              <a:gd name="connsiteX12" fmla="*/ 0 w 3256003"/>
              <a:gd name="connsiteY12" fmla="*/ 222106 h 2437660"/>
              <a:gd name="connsiteX13" fmla="*/ 97766 w 3256003"/>
              <a:gd name="connsiteY13" fmla="*/ 204854 h 2437660"/>
              <a:gd name="connsiteX0" fmla="*/ 97766 w 3256003"/>
              <a:gd name="connsiteY0" fmla="*/ 204854 h 2437660"/>
              <a:gd name="connsiteX1" fmla="*/ 972573 w 3256003"/>
              <a:gd name="connsiteY1" fmla="*/ 0 h 2437660"/>
              <a:gd name="connsiteX2" fmla="*/ 1844210 w 3256003"/>
              <a:gd name="connsiteY2" fmla="*/ 824899 h 2437660"/>
              <a:gd name="connsiteX3" fmla="*/ 1939669 w 3256003"/>
              <a:gd name="connsiteY3" fmla="*/ 885189 h 2437660"/>
              <a:gd name="connsiteX4" fmla="*/ 2893199 w 3256003"/>
              <a:gd name="connsiteY4" fmla="*/ 1821468 h 2437660"/>
              <a:gd name="connsiteX5" fmla="*/ 3009818 w 3256003"/>
              <a:gd name="connsiteY5" fmla="*/ 1814662 h 2437660"/>
              <a:gd name="connsiteX6" fmla="*/ 3256003 w 3256003"/>
              <a:gd name="connsiteY6" fmla="*/ 2060847 h 2437660"/>
              <a:gd name="connsiteX7" fmla="*/ 1743727 w 3256003"/>
              <a:gd name="connsiteY7" fmla="*/ 2437660 h 2437660"/>
              <a:gd name="connsiteX8" fmla="*/ 1301599 w 3256003"/>
              <a:gd name="connsiteY8" fmla="*/ 1412728 h 2437660"/>
              <a:gd name="connsiteX9" fmla="*/ 983285 w 3256003"/>
              <a:gd name="connsiteY9" fmla="*/ 1131356 h 2437660"/>
              <a:gd name="connsiteX10" fmla="*/ 161026 w 3256003"/>
              <a:gd name="connsiteY10" fmla="*/ 302620 h 2437660"/>
              <a:gd name="connsiteX11" fmla="*/ 86264 w 3256003"/>
              <a:gd name="connsiteY11" fmla="*/ 308371 h 2437660"/>
              <a:gd name="connsiteX12" fmla="*/ 0 w 3256003"/>
              <a:gd name="connsiteY12" fmla="*/ 222106 h 2437660"/>
              <a:gd name="connsiteX13" fmla="*/ 97766 w 3256003"/>
              <a:gd name="connsiteY13" fmla="*/ 204854 h 243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56003" h="2437660">
                <a:moveTo>
                  <a:pt x="97766" y="204854"/>
                </a:moveTo>
                <a:lnTo>
                  <a:pt x="972573" y="0"/>
                </a:lnTo>
                <a:lnTo>
                  <a:pt x="1844210" y="824899"/>
                </a:lnTo>
                <a:lnTo>
                  <a:pt x="1939669" y="885189"/>
                </a:lnTo>
                <a:lnTo>
                  <a:pt x="2893199" y="1821468"/>
                </a:lnTo>
                <a:lnTo>
                  <a:pt x="3009818" y="1814662"/>
                </a:lnTo>
                <a:cubicBezTo>
                  <a:pt x="3066098" y="1855396"/>
                  <a:pt x="3145471" y="1935242"/>
                  <a:pt x="3256003" y="2060847"/>
                </a:cubicBezTo>
                <a:cubicBezTo>
                  <a:pt x="3014182" y="2118329"/>
                  <a:pt x="2019220" y="2374857"/>
                  <a:pt x="1743727" y="2437660"/>
                </a:cubicBezTo>
                <a:cubicBezTo>
                  <a:pt x="1610764" y="2179455"/>
                  <a:pt x="1368049" y="1534149"/>
                  <a:pt x="1301599" y="1412728"/>
                </a:cubicBezTo>
                <a:lnTo>
                  <a:pt x="983285" y="1131356"/>
                </a:lnTo>
                <a:lnTo>
                  <a:pt x="161026" y="302620"/>
                </a:lnTo>
                <a:lnTo>
                  <a:pt x="86264" y="308371"/>
                </a:lnTo>
                <a:lnTo>
                  <a:pt x="0" y="222106"/>
                </a:lnTo>
                <a:lnTo>
                  <a:pt x="97766" y="204854"/>
                </a:lnTo>
                <a:close/>
              </a:path>
            </a:pathLst>
          </a:custGeom>
          <a:solidFill>
            <a:srgbClr val="F39900">
              <a:alpha val="50196"/>
            </a:srgbClr>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799">
              <a:solidFill>
                <a:prstClr val="white"/>
              </a:solidFill>
              <a:latin typeface="Calibri" panose="020F0502020204030204"/>
            </a:endParaRPr>
          </a:p>
        </p:txBody>
      </p:sp>
      <p:sp>
        <p:nvSpPr>
          <p:cNvPr id="128" name="Vrije vorm: vorm 127"/>
          <p:cNvSpPr/>
          <p:nvPr/>
        </p:nvSpPr>
        <p:spPr>
          <a:xfrm>
            <a:off x="1963341" y="1255318"/>
            <a:ext cx="1633607" cy="354543"/>
          </a:xfrm>
          <a:custGeom>
            <a:avLst/>
            <a:gdLst>
              <a:gd name="connsiteX0" fmla="*/ 866482 w 1634031"/>
              <a:gd name="connsiteY0" fmla="*/ 989 h 354634"/>
              <a:gd name="connsiteX1" fmla="*/ 1634031 w 1634031"/>
              <a:gd name="connsiteY1" fmla="*/ 40583 h 354634"/>
              <a:gd name="connsiteX2" fmla="*/ 1493972 w 1634031"/>
              <a:gd name="connsiteY2" fmla="*/ 114543 h 354634"/>
              <a:gd name="connsiteX3" fmla="*/ 1516504 w 1634031"/>
              <a:gd name="connsiteY3" fmla="*/ 119927 h 354634"/>
              <a:gd name="connsiteX4" fmla="*/ 1464149 w 1634031"/>
              <a:gd name="connsiteY4" fmla="*/ 154398 h 354634"/>
              <a:gd name="connsiteX5" fmla="*/ 1188559 w 1634031"/>
              <a:gd name="connsiteY5" fmla="*/ 316856 h 354634"/>
              <a:gd name="connsiteX6" fmla="*/ 1133804 w 1634031"/>
              <a:gd name="connsiteY6" fmla="*/ 354634 h 354634"/>
              <a:gd name="connsiteX7" fmla="*/ 757490 w 1634031"/>
              <a:gd name="connsiteY7" fmla="*/ 271706 h 354634"/>
              <a:gd name="connsiteX8" fmla="*/ 0 w 1634031"/>
              <a:gd name="connsiteY8" fmla="*/ 68318 h 354634"/>
              <a:gd name="connsiteX9" fmla="*/ 640929 w 1634031"/>
              <a:gd name="connsiteY9" fmla="*/ 3604 h 354634"/>
              <a:gd name="connsiteX10" fmla="*/ 866482 w 1634031"/>
              <a:gd name="connsiteY10" fmla="*/ 989 h 35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34031" h="354634">
                <a:moveTo>
                  <a:pt x="866482" y="989"/>
                </a:moveTo>
                <a:cubicBezTo>
                  <a:pt x="1100389" y="6281"/>
                  <a:pt x="1358580" y="31339"/>
                  <a:pt x="1634031" y="40583"/>
                </a:cubicBezTo>
                <a:lnTo>
                  <a:pt x="1493972" y="114543"/>
                </a:lnTo>
                <a:lnTo>
                  <a:pt x="1516504" y="119927"/>
                </a:lnTo>
                <a:lnTo>
                  <a:pt x="1464149" y="154398"/>
                </a:lnTo>
                <a:cubicBezTo>
                  <a:pt x="1348240" y="228052"/>
                  <a:pt x="1296454" y="245278"/>
                  <a:pt x="1188559" y="316856"/>
                </a:cubicBezTo>
                <a:lnTo>
                  <a:pt x="1133804" y="354634"/>
                </a:lnTo>
                <a:lnTo>
                  <a:pt x="757490" y="271706"/>
                </a:lnTo>
                <a:cubicBezTo>
                  <a:pt x="455973" y="203910"/>
                  <a:pt x="178966" y="136114"/>
                  <a:pt x="0" y="68318"/>
                </a:cubicBezTo>
                <a:cubicBezTo>
                  <a:pt x="192971" y="40583"/>
                  <a:pt x="368963" y="18446"/>
                  <a:pt x="640929" y="3604"/>
                </a:cubicBezTo>
                <a:cubicBezTo>
                  <a:pt x="713241" y="-343"/>
                  <a:pt x="788512" y="-775"/>
                  <a:pt x="866482" y="989"/>
                </a:cubicBezTo>
                <a:close/>
              </a:path>
            </a:pathLst>
          </a:custGeom>
          <a:solidFill>
            <a:srgbClr val="92D050">
              <a:alpha val="50196"/>
            </a:srgbClr>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799">
              <a:solidFill>
                <a:prstClr val="white"/>
              </a:solidFill>
              <a:latin typeface="Calibri" panose="020F0502020204030204"/>
            </a:endParaRPr>
          </a:p>
        </p:txBody>
      </p:sp>
      <p:sp>
        <p:nvSpPr>
          <p:cNvPr id="76" name="Vrije vorm: vorm 75"/>
          <p:cNvSpPr/>
          <p:nvPr/>
        </p:nvSpPr>
        <p:spPr>
          <a:xfrm>
            <a:off x="3092425" y="1258925"/>
            <a:ext cx="3168204" cy="878971"/>
          </a:xfrm>
          <a:custGeom>
            <a:avLst/>
            <a:gdLst>
              <a:gd name="connsiteX0" fmla="*/ 1231135 w 3169029"/>
              <a:gd name="connsiteY0" fmla="*/ 0 h 879200"/>
              <a:gd name="connsiteX1" fmla="*/ 1627430 w 3169029"/>
              <a:gd name="connsiteY1" fmla="*/ 103356 h 879200"/>
              <a:gd name="connsiteX2" fmla="*/ 1672961 w 3169029"/>
              <a:gd name="connsiteY2" fmla="*/ 80512 h 879200"/>
              <a:gd name="connsiteX3" fmla="*/ 1441484 w 3169029"/>
              <a:gd name="connsiteY3" fmla="*/ 23751 h 879200"/>
              <a:gd name="connsiteX4" fmla="*/ 1479506 w 3169029"/>
              <a:gd name="connsiteY4" fmla="*/ 852 h 879200"/>
              <a:gd name="connsiteX5" fmla="*/ 3108290 w 3169029"/>
              <a:gd name="connsiteY5" fmla="*/ 377187 h 879200"/>
              <a:gd name="connsiteX6" fmla="*/ 2988524 w 3169029"/>
              <a:gd name="connsiteY6" fmla="*/ 499190 h 879200"/>
              <a:gd name="connsiteX7" fmla="*/ 3051634 w 3169029"/>
              <a:gd name="connsiteY7" fmla="*/ 521922 h 879200"/>
              <a:gd name="connsiteX8" fmla="*/ 3088956 w 3169029"/>
              <a:gd name="connsiteY8" fmla="*/ 506993 h 879200"/>
              <a:gd name="connsiteX9" fmla="*/ 3169029 w 3169029"/>
              <a:gd name="connsiteY9" fmla="*/ 535494 h 879200"/>
              <a:gd name="connsiteX10" fmla="*/ 2980721 w 3169029"/>
              <a:gd name="connsiteY10" fmla="*/ 663747 h 879200"/>
              <a:gd name="connsiteX11" fmla="*/ 2859571 w 3169029"/>
              <a:gd name="connsiteY11" fmla="*/ 630857 h 879200"/>
              <a:gd name="connsiteX12" fmla="*/ 2962060 w 3169029"/>
              <a:gd name="connsiteY12" fmla="*/ 566709 h 879200"/>
              <a:gd name="connsiteX13" fmla="*/ 2887878 w 3169029"/>
              <a:gd name="connsiteY13" fmla="*/ 551911 h 879200"/>
              <a:gd name="connsiteX14" fmla="*/ 2800702 w 3169029"/>
              <a:gd name="connsiteY14" fmla="*/ 656551 h 879200"/>
              <a:gd name="connsiteX15" fmla="*/ 2264129 w 3169029"/>
              <a:gd name="connsiteY15" fmla="*/ 879200 h 879200"/>
              <a:gd name="connsiteX16" fmla="*/ 532080 w 3169029"/>
              <a:gd name="connsiteY16" fmla="*/ 505744 h 879200"/>
              <a:gd name="connsiteX17" fmla="*/ 534189 w 3169029"/>
              <a:gd name="connsiteY17" fmla="*/ 504398 h 879200"/>
              <a:gd name="connsiteX18" fmla="*/ 0 w 3169029"/>
              <a:gd name="connsiteY18" fmla="*/ 354080 h 879200"/>
              <a:gd name="connsiteX19" fmla="*/ 398625 w 3169029"/>
              <a:gd name="connsiteY19" fmla="*/ 108749 h 879200"/>
              <a:gd name="connsiteX20" fmla="*/ 414961 w 3169029"/>
              <a:gd name="connsiteY20" fmla="*/ 110482 h 879200"/>
              <a:gd name="connsiteX21" fmla="*/ 435754 w 3169029"/>
              <a:gd name="connsiteY21" fmla="*/ 97237 h 879200"/>
              <a:gd name="connsiteX22" fmla="*/ 532707 w 3169029"/>
              <a:gd name="connsiteY22" fmla="*/ 44195 h 879200"/>
              <a:gd name="connsiteX23" fmla="*/ 1231135 w 3169029"/>
              <a:gd name="connsiteY23" fmla="*/ 0 h 87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69029" h="879200">
                <a:moveTo>
                  <a:pt x="1231135" y="0"/>
                </a:moveTo>
                <a:lnTo>
                  <a:pt x="1627430" y="103356"/>
                </a:lnTo>
                <a:lnTo>
                  <a:pt x="1672961" y="80512"/>
                </a:lnTo>
                <a:lnTo>
                  <a:pt x="1441484" y="23751"/>
                </a:lnTo>
                <a:lnTo>
                  <a:pt x="1479506" y="852"/>
                </a:lnTo>
                <a:lnTo>
                  <a:pt x="3108290" y="377187"/>
                </a:lnTo>
                <a:lnTo>
                  <a:pt x="2988524" y="499190"/>
                </a:lnTo>
                <a:lnTo>
                  <a:pt x="3051634" y="521922"/>
                </a:lnTo>
                <a:lnTo>
                  <a:pt x="3088956" y="506993"/>
                </a:lnTo>
                <a:lnTo>
                  <a:pt x="3169029" y="535494"/>
                </a:lnTo>
                <a:lnTo>
                  <a:pt x="2980721" y="663747"/>
                </a:lnTo>
                <a:lnTo>
                  <a:pt x="2859571" y="630857"/>
                </a:lnTo>
                <a:lnTo>
                  <a:pt x="2962060" y="566709"/>
                </a:lnTo>
                <a:lnTo>
                  <a:pt x="2887878" y="551911"/>
                </a:lnTo>
                <a:cubicBezTo>
                  <a:pt x="2860186" y="567656"/>
                  <a:pt x="2828394" y="640806"/>
                  <a:pt x="2800702" y="656551"/>
                </a:cubicBezTo>
                <a:lnTo>
                  <a:pt x="2264129" y="879200"/>
                </a:lnTo>
                <a:lnTo>
                  <a:pt x="532080" y="505744"/>
                </a:lnTo>
                <a:lnTo>
                  <a:pt x="534189" y="504398"/>
                </a:lnTo>
                <a:lnTo>
                  <a:pt x="0" y="354080"/>
                </a:lnTo>
                <a:cubicBezTo>
                  <a:pt x="173252" y="230384"/>
                  <a:pt x="211128" y="236136"/>
                  <a:pt x="398625" y="108749"/>
                </a:cubicBezTo>
                <a:lnTo>
                  <a:pt x="414961" y="110482"/>
                </a:lnTo>
                <a:lnTo>
                  <a:pt x="435754" y="97237"/>
                </a:lnTo>
                <a:cubicBezTo>
                  <a:pt x="493236" y="60704"/>
                  <a:pt x="474083" y="73871"/>
                  <a:pt x="532707" y="44195"/>
                </a:cubicBezTo>
                <a:cubicBezTo>
                  <a:pt x="761924" y="-484"/>
                  <a:pt x="805097" y="7776"/>
                  <a:pt x="1231135" y="0"/>
                </a:cubicBezTo>
                <a:close/>
              </a:path>
            </a:pathLst>
          </a:custGeom>
          <a:solidFill>
            <a:srgbClr val="FFD800">
              <a:alpha val="50196"/>
            </a:srgbClr>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799">
              <a:solidFill>
                <a:prstClr val="white"/>
              </a:solidFill>
              <a:latin typeface="Calibri" panose="020F0502020204030204"/>
            </a:endParaRPr>
          </a:p>
        </p:txBody>
      </p:sp>
      <p:sp>
        <p:nvSpPr>
          <p:cNvPr id="102" name="Vrije vorm: vorm 101"/>
          <p:cNvSpPr/>
          <p:nvPr/>
        </p:nvSpPr>
        <p:spPr>
          <a:xfrm>
            <a:off x="1426339" y="1698737"/>
            <a:ext cx="7155701" cy="3485064"/>
          </a:xfrm>
          <a:custGeom>
            <a:avLst/>
            <a:gdLst>
              <a:gd name="connsiteX0" fmla="*/ 313170 w 7157564"/>
              <a:gd name="connsiteY0" fmla="*/ 0 h 3485972"/>
              <a:gd name="connsiteX1" fmla="*/ 2681875 w 7157564"/>
              <a:gd name="connsiteY1" fmla="*/ 558125 h 3485972"/>
              <a:gd name="connsiteX2" fmla="*/ 3211015 w 7157564"/>
              <a:gd name="connsiteY2" fmla="*/ 1076568 h 3485972"/>
              <a:gd name="connsiteX3" fmla="*/ 3237412 w 7157564"/>
              <a:gd name="connsiteY3" fmla="*/ 1072075 h 3485972"/>
              <a:gd name="connsiteX4" fmla="*/ 3862101 w 7157564"/>
              <a:gd name="connsiteY4" fmla="*/ 1678658 h 3485972"/>
              <a:gd name="connsiteX5" fmla="*/ 4024175 w 7157564"/>
              <a:gd name="connsiteY5" fmla="*/ 1676490 h 3485972"/>
              <a:gd name="connsiteX6" fmla="*/ 4622592 w 7157564"/>
              <a:gd name="connsiteY6" fmla="*/ 1144502 h 3485972"/>
              <a:gd name="connsiteX7" fmla="*/ 7157564 w 7157564"/>
              <a:gd name="connsiteY7" fmla="*/ 3253959 h 3485972"/>
              <a:gd name="connsiteX8" fmla="*/ 6071146 w 7157564"/>
              <a:gd name="connsiteY8" fmla="*/ 3480296 h 3485972"/>
              <a:gd name="connsiteX9" fmla="*/ 5672795 w 7157564"/>
              <a:gd name="connsiteY9" fmla="*/ 3308281 h 3485972"/>
              <a:gd name="connsiteX10" fmla="*/ 3862102 w 7157564"/>
              <a:gd name="connsiteY10" fmla="*/ 1760138 h 3485972"/>
              <a:gd name="connsiteX11" fmla="*/ 2947700 w 7157564"/>
              <a:gd name="connsiteY11" fmla="*/ 1968369 h 3485972"/>
              <a:gd name="connsiteX12" fmla="*/ 2922507 w 7157564"/>
              <a:gd name="connsiteY12" fmla="*/ 1942376 h 3485972"/>
              <a:gd name="connsiteX13" fmla="*/ 2869778 w 7157564"/>
              <a:gd name="connsiteY13" fmla="*/ 1950619 h 3485972"/>
              <a:gd name="connsiteX14" fmla="*/ 2562086 w 7157564"/>
              <a:gd name="connsiteY14" fmla="*/ 1991212 h 3485972"/>
              <a:gd name="connsiteX15" fmla="*/ 2185253 w 7157564"/>
              <a:gd name="connsiteY15" fmla="*/ 1645810 h 3485972"/>
              <a:gd name="connsiteX16" fmla="*/ 1796542 w 7157564"/>
              <a:gd name="connsiteY16" fmla="*/ 1725398 h 3485972"/>
              <a:gd name="connsiteX17" fmla="*/ 518155 w 7157564"/>
              <a:gd name="connsiteY17" fmla="*/ 434097 h 3485972"/>
              <a:gd name="connsiteX18" fmla="*/ 0 w 7157564"/>
              <a:gd name="connsiteY18" fmla="*/ 107115 h 3485972"/>
              <a:gd name="connsiteX0" fmla="*/ 313170 w 7157564"/>
              <a:gd name="connsiteY0" fmla="*/ 0 h 3485972"/>
              <a:gd name="connsiteX1" fmla="*/ 2681875 w 7157564"/>
              <a:gd name="connsiteY1" fmla="*/ 558125 h 3485972"/>
              <a:gd name="connsiteX2" fmla="*/ 3211015 w 7157564"/>
              <a:gd name="connsiteY2" fmla="*/ 1076568 h 3485972"/>
              <a:gd name="connsiteX3" fmla="*/ 3237412 w 7157564"/>
              <a:gd name="connsiteY3" fmla="*/ 1072075 h 3485972"/>
              <a:gd name="connsiteX4" fmla="*/ 3862101 w 7157564"/>
              <a:gd name="connsiteY4" fmla="*/ 1678658 h 3485972"/>
              <a:gd name="connsiteX5" fmla="*/ 4024175 w 7157564"/>
              <a:gd name="connsiteY5" fmla="*/ 1676490 h 3485972"/>
              <a:gd name="connsiteX6" fmla="*/ 4622592 w 7157564"/>
              <a:gd name="connsiteY6" fmla="*/ 1144502 h 3485972"/>
              <a:gd name="connsiteX7" fmla="*/ 7157564 w 7157564"/>
              <a:gd name="connsiteY7" fmla="*/ 3253959 h 3485972"/>
              <a:gd name="connsiteX8" fmla="*/ 6071146 w 7157564"/>
              <a:gd name="connsiteY8" fmla="*/ 3480296 h 3485972"/>
              <a:gd name="connsiteX9" fmla="*/ 5672795 w 7157564"/>
              <a:gd name="connsiteY9" fmla="*/ 3308281 h 3485972"/>
              <a:gd name="connsiteX10" fmla="*/ 3862102 w 7157564"/>
              <a:gd name="connsiteY10" fmla="*/ 1760138 h 3485972"/>
              <a:gd name="connsiteX11" fmla="*/ 2947700 w 7157564"/>
              <a:gd name="connsiteY11" fmla="*/ 1968369 h 3485972"/>
              <a:gd name="connsiteX12" fmla="*/ 2869778 w 7157564"/>
              <a:gd name="connsiteY12" fmla="*/ 1950619 h 3485972"/>
              <a:gd name="connsiteX13" fmla="*/ 2562086 w 7157564"/>
              <a:gd name="connsiteY13" fmla="*/ 1991212 h 3485972"/>
              <a:gd name="connsiteX14" fmla="*/ 2185253 w 7157564"/>
              <a:gd name="connsiteY14" fmla="*/ 1645810 h 3485972"/>
              <a:gd name="connsiteX15" fmla="*/ 1796542 w 7157564"/>
              <a:gd name="connsiteY15" fmla="*/ 1725398 h 3485972"/>
              <a:gd name="connsiteX16" fmla="*/ 518155 w 7157564"/>
              <a:gd name="connsiteY16" fmla="*/ 434097 h 3485972"/>
              <a:gd name="connsiteX17" fmla="*/ 0 w 7157564"/>
              <a:gd name="connsiteY17" fmla="*/ 107115 h 3485972"/>
              <a:gd name="connsiteX18" fmla="*/ 313170 w 7157564"/>
              <a:gd name="connsiteY18" fmla="*/ 0 h 3485972"/>
              <a:gd name="connsiteX0" fmla="*/ 313170 w 7157564"/>
              <a:gd name="connsiteY0" fmla="*/ 0 h 3485972"/>
              <a:gd name="connsiteX1" fmla="*/ 2681875 w 7157564"/>
              <a:gd name="connsiteY1" fmla="*/ 558125 h 3485972"/>
              <a:gd name="connsiteX2" fmla="*/ 3211015 w 7157564"/>
              <a:gd name="connsiteY2" fmla="*/ 1076568 h 3485972"/>
              <a:gd name="connsiteX3" fmla="*/ 3237412 w 7157564"/>
              <a:gd name="connsiteY3" fmla="*/ 1072075 h 3485972"/>
              <a:gd name="connsiteX4" fmla="*/ 3862101 w 7157564"/>
              <a:gd name="connsiteY4" fmla="*/ 1678658 h 3485972"/>
              <a:gd name="connsiteX5" fmla="*/ 4024175 w 7157564"/>
              <a:gd name="connsiteY5" fmla="*/ 1676490 h 3485972"/>
              <a:gd name="connsiteX6" fmla="*/ 4622592 w 7157564"/>
              <a:gd name="connsiteY6" fmla="*/ 1144502 h 3485972"/>
              <a:gd name="connsiteX7" fmla="*/ 7157564 w 7157564"/>
              <a:gd name="connsiteY7" fmla="*/ 3253959 h 3485972"/>
              <a:gd name="connsiteX8" fmla="*/ 6071146 w 7157564"/>
              <a:gd name="connsiteY8" fmla="*/ 3480296 h 3485972"/>
              <a:gd name="connsiteX9" fmla="*/ 5672795 w 7157564"/>
              <a:gd name="connsiteY9" fmla="*/ 3308281 h 3485972"/>
              <a:gd name="connsiteX10" fmla="*/ 3862102 w 7157564"/>
              <a:gd name="connsiteY10" fmla="*/ 1760138 h 3485972"/>
              <a:gd name="connsiteX11" fmla="*/ 2869778 w 7157564"/>
              <a:gd name="connsiteY11" fmla="*/ 1950619 h 3485972"/>
              <a:gd name="connsiteX12" fmla="*/ 2562086 w 7157564"/>
              <a:gd name="connsiteY12" fmla="*/ 1991212 h 3485972"/>
              <a:gd name="connsiteX13" fmla="*/ 2185253 w 7157564"/>
              <a:gd name="connsiteY13" fmla="*/ 1645810 h 3485972"/>
              <a:gd name="connsiteX14" fmla="*/ 1796542 w 7157564"/>
              <a:gd name="connsiteY14" fmla="*/ 1725398 h 3485972"/>
              <a:gd name="connsiteX15" fmla="*/ 518155 w 7157564"/>
              <a:gd name="connsiteY15" fmla="*/ 434097 h 3485972"/>
              <a:gd name="connsiteX16" fmla="*/ 0 w 7157564"/>
              <a:gd name="connsiteY16" fmla="*/ 107115 h 3485972"/>
              <a:gd name="connsiteX17" fmla="*/ 313170 w 7157564"/>
              <a:gd name="connsiteY17" fmla="*/ 0 h 3485972"/>
              <a:gd name="connsiteX0" fmla="*/ 313170 w 7157564"/>
              <a:gd name="connsiteY0" fmla="*/ 0 h 3485972"/>
              <a:gd name="connsiteX1" fmla="*/ 2681875 w 7157564"/>
              <a:gd name="connsiteY1" fmla="*/ 558125 h 3485972"/>
              <a:gd name="connsiteX2" fmla="*/ 3211015 w 7157564"/>
              <a:gd name="connsiteY2" fmla="*/ 1076568 h 3485972"/>
              <a:gd name="connsiteX3" fmla="*/ 3237412 w 7157564"/>
              <a:gd name="connsiteY3" fmla="*/ 1072075 h 3485972"/>
              <a:gd name="connsiteX4" fmla="*/ 3862101 w 7157564"/>
              <a:gd name="connsiteY4" fmla="*/ 1678658 h 3485972"/>
              <a:gd name="connsiteX5" fmla="*/ 4024175 w 7157564"/>
              <a:gd name="connsiteY5" fmla="*/ 1676490 h 3485972"/>
              <a:gd name="connsiteX6" fmla="*/ 4622592 w 7157564"/>
              <a:gd name="connsiteY6" fmla="*/ 1144502 h 3485972"/>
              <a:gd name="connsiteX7" fmla="*/ 7157564 w 7157564"/>
              <a:gd name="connsiteY7" fmla="*/ 3253959 h 3485972"/>
              <a:gd name="connsiteX8" fmla="*/ 6071146 w 7157564"/>
              <a:gd name="connsiteY8" fmla="*/ 3480296 h 3485972"/>
              <a:gd name="connsiteX9" fmla="*/ 5672795 w 7157564"/>
              <a:gd name="connsiteY9" fmla="*/ 3308281 h 3485972"/>
              <a:gd name="connsiteX10" fmla="*/ 3862102 w 7157564"/>
              <a:gd name="connsiteY10" fmla="*/ 1760138 h 3485972"/>
              <a:gd name="connsiteX11" fmla="*/ 2562086 w 7157564"/>
              <a:gd name="connsiteY11" fmla="*/ 1991212 h 3485972"/>
              <a:gd name="connsiteX12" fmla="*/ 2185253 w 7157564"/>
              <a:gd name="connsiteY12" fmla="*/ 1645810 h 3485972"/>
              <a:gd name="connsiteX13" fmla="*/ 1796542 w 7157564"/>
              <a:gd name="connsiteY13" fmla="*/ 1725398 h 3485972"/>
              <a:gd name="connsiteX14" fmla="*/ 518155 w 7157564"/>
              <a:gd name="connsiteY14" fmla="*/ 434097 h 3485972"/>
              <a:gd name="connsiteX15" fmla="*/ 0 w 7157564"/>
              <a:gd name="connsiteY15" fmla="*/ 107115 h 3485972"/>
              <a:gd name="connsiteX16" fmla="*/ 313170 w 7157564"/>
              <a:gd name="connsiteY16" fmla="*/ 0 h 348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157564" h="3485972">
                <a:moveTo>
                  <a:pt x="313170" y="0"/>
                </a:moveTo>
                <a:lnTo>
                  <a:pt x="2681875" y="558125"/>
                </a:lnTo>
                <a:lnTo>
                  <a:pt x="3211015" y="1076568"/>
                </a:lnTo>
                <a:lnTo>
                  <a:pt x="3237412" y="1072075"/>
                </a:lnTo>
                <a:lnTo>
                  <a:pt x="3862101" y="1678658"/>
                </a:lnTo>
                <a:lnTo>
                  <a:pt x="4024175" y="1676490"/>
                </a:lnTo>
                <a:lnTo>
                  <a:pt x="4622592" y="1144502"/>
                </a:lnTo>
                <a:lnTo>
                  <a:pt x="7157564" y="3253959"/>
                </a:lnTo>
                <a:lnTo>
                  <a:pt x="6071146" y="3480296"/>
                </a:lnTo>
                <a:cubicBezTo>
                  <a:pt x="5983630" y="3507457"/>
                  <a:pt x="5787471" y="3435029"/>
                  <a:pt x="5672795" y="3308281"/>
                </a:cubicBezTo>
                <a:lnTo>
                  <a:pt x="3862102" y="1760138"/>
                </a:lnTo>
                <a:lnTo>
                  <a:pt x="2562086" y="1991212"/>
                </a:lnTo>
                <a:lnTo>
                  <a:pt x="2185253" y="1645810"/>
                </a:lnTo>
                <a:lnTo>
                  <a:pt x="1796542" y="1725398"/>
                </a:lnTo>
                <a:lnTo>
                  <a:pt x="518155" y="434097"/>
                </a:lnTo>
                <a:cubicBezTo>
                  <a:pt x="334049" y="296914"/>
                  <a:pt x="235353" y="227385"/>
                  <a:pt x="0" y="107115"/>
                </a:cubicBezTo>
                <a:lnTo>
                  <a:pt x="313170" y="0"/>
                </a:lnTo>
                <a:close/>
              </a:path>
            </a:pathLst>
          </a:custGeom>
          <a:solidFill>
            <a:schemeClr val="bg1">
              <a:lumMod val="75000"/>
              <a:alpha val="50196"/>
            </a:schemeClr>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799">
              <a:solidFill>
                <a:prstClr val="white"/>
              </a:solidFill>
              <a:latin typeface="Calibri" panose="020F0502020204030204"/>
            </a:endParaRPr>
          </a:p>
        </p:txBody>
      </p:sp>
      <p:sp>
        <p:nvSpPr>
          <p:cNvPr id="96" name="Vrije vorm 7"/>
          <p:cNvSpPr/>
          <p:nvPr/>
        </p:nvSpPr>
        <p:spPr>
          <a:xfrm>
            <a:off x="8437221" y="3340753"/>
            <a:ext cx="3167889" cy="2181319"/>
          </a:xfrm>
          <a:custGeom>
            <a:avLst/>
            <a:gdLst>
              <a:gd name="connsiteX0" fmla="*/ 2951430 w 3232088"/>
              <a:gd name="connsiteY0" fmla="*/ 2227153 h 2227153"/>
              <a:gd name="connsiteX1" fmla="*/ 3232088 w 3232088"/>
              <a:gd name="connsiteY1" fmla="*/ 1511929 h 2227153"/>
              <a:gd name="connsiteX2" fmla="*/ 1077363 w 3232088"/>
              <a:gd name="connsiteY2" fmla="*/ 63375 h 2227153"/>
              <a:gd name="connsiteX3" fmla="*/ 488888 w 3232088"/>
              <a:gd name="connsiteY3" fmla="*/ 0 h 2227153"/>
              <a:gd name="connsiteX4" fmla="*/ 0 w 3232088"/>
              <a:gd name="connsiteY4" fmla="*/ 181070 h 2227153"/>
              <a:gd name="connsiteX5" fmla="*/ 1620571 w 3232088"/>
              <a:gd name="connsiteY5" fmla="*/ 1376127 h 2227153"/>
              <a:gd name="connsiteX6" fmla="*/ 2951430 w 3232088"/>
              <a:gd name="connsiteY6" fmla="*/ 2227153 h 2227153"/>
              <a:gd name="connsiteX0" fmla="*/ 2951430 w 3232088"/>
              <a:gd name="connsiteY0" fmla="*/ 2227153 h 2227153"/>
              <a:gd name="connsiteX1" fmla="*/ 3232088 w 3232088"/>
              <a:gd name="connsiteY1" fmla="*/ 1511929 h 2227153"/>
              <a:gd name="connsiteX2" fmla="*/ 1122630 w 3232088"/>
              <a:gd name="connsiteY2" fmla="*/ 108643 h 2227153"/>
              <a:gd name="connsiteX3" fmla="*/ 488888 w 3232088"/>
              <a:gd name="connsiteY3" fmla="*/ 0 h 2227153"/>
              <a:gd name="connsiteX4" fmla="*/ 0 w 3232088"/>
              <a:gd name="connsiteY4" fmla="*/ 181070 h 2227153"/>
              <a:gd name="connsiteX5" fmla="*/ 1620571 w 3232088"/>
              <a:gd name="connsiteY5" fmla="*/ 1376127 h 2227153"/>
              <a:gd name="connsiteX6" fmla="*/ 2951430 w 3232088"/>
              <a:gd name="connsiteY6" fmla="*/ 2227153 h 2227153"/>
              <a:gd name="connsiteX0" fmla="*/ 2951430 w 3232088"/>
              <a:gd name="connsiteY0" fmla="*/ 2227153 h 2227153"/>
              <a:gd name="connsiteX1" fmla="*/ 3232088 w 3232088"/>
              <a:gd name="connsiteY1" fmla="*/ 1511929 h 2227153"/>
              <a:gd name="connsiteX2" fmla="*/ 1122630 w 3232088"/>
              <a:gd name="connsiteY2" fmla="*/ 108643 h 2227153"/>
              <a:gd name="connsiteX3" fmla="*/ 488888 w 3232088"/>
              <a:gd name="connsiteY3" fmla="*/ 0 h 2227153"/>
              <a:gd name="connsiteX4" fmla="*/ 0 w 3232088"/>
              <a:gd name="connsiteY4" fmla="*/ 181070 h 2227153"/>
              <a:gd name="connsiteX5" fmla="*/ 1620571 w 3232088"/>
              <a:gd name="connsiteY5" fmla="*/ 1376127 h 2227153"/>
              <a:gd name="connsiteX6" fmla="*/ 2951430 w 3232088"/>
              <a:gd name="connsiteY6" fmla="*/ 2227153 h 2227153"/>
              <a:gd name="connsiteX0" fmla="*/ 2951430 w 3232088"/>
              <a:gd name="connsiteY0" fmla="*/ 2227153 h 2227153"/>
              <a:gd name="connsiteX1" fmla="*/ 3232088 w 3232088"/>
              <a:gd name="connsiteY1" fmla="*/ 1511929 h 2227153"/>
              <a:gd name="connsiteX2" fmla="*/ 1122630 w 3232088"/>
              <a:gd name="connsiteY2" fmla="*/ 108643 h 2227153"/>
              <a:gd name="connsiteX3" fmla="*/ 488888 w 3232088"/>
              <a:gd name="connsiteY3" fmla="*/ 0 h 2227153"/>
              <a:gd name="connsiteX4" fmla="*/ 0 w 3232088"/>
              <a:gd name="connsiteY4" fmla="*/ 181070 h 2227153"/>
              <a:gd name="connsiteX5" fmla="*/ 1620571 w 3232088"/>
              <a:gd name="connsiteY5" fmla="*/ 1376127 h 2227153"/>
              <a:gd name="connsiteX6" fmla="*/ 2951430 w 3232088"/>
              <a:gd name="connsiteY6" fmla="*/ 2227153 h 2227153"/>
              <a:gd name="connsiteX0" fmla="*/ 2951430 w 3232088"/>
              <a:gd name="connsiteY0" fmla="*/ 2209261 h 2209261"/>
              <a:gd name="connsiteX1" fmla="*/ 3232088 w 3232088"/>
              <a:gd name="connsiteY1" fmla="*/ 1494037 h 2209261"/>
              <a:gd name="connsiteX2" fmla="*/ 1122630 w 3232088"/>
              <a:gd name="connsiteY2" fmla="*/ 90751 h 2209261"/>
              <a:gd name="connsiteX3" fmla="*/ 561315 w 3232088"/>
              <a:gd name="connsiteY3" fmla="*/ 215 h 2209261"/>
              <a:gd name="connsiteX4" fmla="*/ 0 w 3232088"/>
              <a:gd name="connsiteY4" fmla="*/ 163178 h 2209261"/>
              <a:gd name="connsiteX5" fmla="*/ 1620571 w 3232088"/>
              <a:gd name="connsiteY5" fmla="*/ 1358235 h 2209261"/>
              <a:gd name="connsiteX6" fmla="*/ 2951430 w 3232088"/>
              <a:gd name="connsiteY6" fmla="*/ 2209261 h 2209261"/>
              <a:gd name="connsiteX0" fmla="*/ 2951430 w 3232088"/>
              <a:gd name="connsiteY0" fmla="*/ 2188306 h 2188306"/>
              <a:gd name="connsiteX1" fmla="*/ 3232088 w 3232088"/>
              <a:gd name="connsiteY1" fmla="*/ 1473082 h 2188306"/>
              <a:gd name="connsiteX2" fmla="*/ 1122630 w 3232088"/>
              <a:gd name="connsiteY2" fmla="*/ 69796 h 2188306"/>
              <a:gd name="connsiteX3" fmla="*/ 606583 w 3232088"/>
              <a:gd name="connsiteY3" fmla="*/ 6420 h 2188306"/>
              <a:gd name="connsiteX4" fmla="*/ 0 w 3232088"/>
              <a:gd name="connsiteY4" fmla="*/ 142223 h 2188306"/>
              <a:gd name="connsiteX5" fmla="*/ 1620571 w 3232088"/>
              <a:gd name="connsiteY5" fmla="*/ 1337280 h 2188306"/>
              <a:gd name="connsiteX6" fmla="*/ 2951430 w 3232088"/>
              <a:gd name="connsiteY6" fmla="*/ 2188306 h 2188306"/>
              <a:gd name="connsiteX0" fmla="*/ 2888056 w 3168714"/>
              <a:gd name="connsiteY0" fmla="*/ 2188306 h 2188306"/>
              <a:gd name="connsiteX1" fmla="*/ 3168714 w 3168714"/>
              <a:gd name="connsiteY1" fmla="*/ 1473082 h 2188306"/>
              <a:gd name="connsiteX2" fmla="*/ 1059256 w 3168714"/>
              <a:gd name="connsiteY2" fmla="*/ 69796 h 2188306"/>
              <a:gd name="connsiteX3" fmla="*/ 543209 w 3168714"/>
              <a:gd name="connsiteY3" fmla="*/ 6420 h 2188306"/>
              <a:gd name="connsiteX4" fmla="*/ 0 w 3168714"/>
              <a:gd name="connsiteY4" fmla="*/ 187491 h 2188306"/>
              <a:gd name="connsiteX5" fmla="*/ 1557197 w 3168714"/>
              <a:gd name="connsiteY5" fmla="*/ 1337280 h 2188306"/>
              <a:gd name="connsiteX6" fmla="*/ 2888056 w 3168714"/>
              <a:gd name="connsiteY6" fmla="*/ 2188306 h 2188306"/>
              <a:gd name="connsiteX0" fmla="*/ 2888056 w 3168714"/>
              <a:gd name="connsiteY0" fmla="*/ 2181886 h 2181886"/>
              <a:gd name="connsiteX1" fmla="*/ 3168714 w 3168714"/>
              <a:gd name="connsiteY1" fmla="*/ 1466662 h 2181886"/>
              <a:gd name="connsiteX2" fmla="*/ 1140737 w 3168714"/>
              <a:gd name="connsiteY2" fmla="*/ 108643 h 2181886"/>
              <a:gd name="connsiteX3" fmla="*/ 543209 w 3168714"/>
              <a:gd name="connsiteY3" fmla="*/ 0 h 2181886"/>
              <a:gd name="connsiteX4" fmla="*/ 0 w 3168714"/>
              <a:gd name="connsiteY4" fmla="*/ 181071 h 2181886"/>
              <a:gd name="connsiteX5" fmla="*/ 1557197 w 3168714"/>
              <a:gd name="connsiteY5" fmla="*/ 1330860 h 2181886"/>
              <a:gd name="connsiteX6" fmla="*/ 2888056 w 3168714"/>
              <a:gd name="connsiteY6" fmla="*/ 2181886 h 2181886"/>
              <a:gd name="connsiteX0" fmla="*/ 2888056 w 3168714"/>
              <a:gd name="connsiteY0" fmla="*/ 2181886 h 2181886"/>
              <a:gd name="connsiteX1" fmla="*/ 3168714 w 3168714"/>
              <a:gd name="connsiteY1" fmla="*/ 1466662 h 2181886"/>
              <a:gd name="connsiteX2" fmla="*/ 1140737 w 3168714"/>
              <a:gd name="connsiteY2" fmla="*/ 108643 h 2181886"/>
              <a:gd name="connsiteX3" fmla="*/ 543209 w 3168714"/>
              <a:gd name="connsiteY3" fmla="*/ 0 h 2181886"/>
              <a:gd name="connsiteX4" fmla="*/ 0 w 3168714"/>
              <a:gd name="connsiteY4" fmla="*/ 181071 h 2181886"/>
              <a:gd name="connsiteX5" fmla="*/ 2888056 w 3168714"/>
              <a:gd name="connsiteY5" fmla="*/ 2181886 h 2181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8714" h="2181886">
                <a:moveTo>
                  <a:pt x="2888056" y="2181886"/>
                </a:moveTo>
                <a:lnTo>
                  <a:pt x="3168714" y="1466662"/>
                </a:lnTo>
                <a:lnTo>
                  <a:pt x="1140737" y="108643"/>
                </a:lnTo>
                <a:cubicBezTo>
                  <a:pt x="893276" y="9055"/>
                  <a:pt x="817830" y="0"/>
                  <a:pt x="543209" y="0"/>
                </a:cubicBezTo>
                <a:lnTo>
                  <a:pt x="0" y="181071"/>
                </a:lnTo>
                <a:lnTo>
                  <a:pt x="2888056" y="2181886"/>
                </a:lnTo>
                <a:close/>
              </a:path>
            </a:pathLst>
          </a:custGeom>
          <a:solidFill>
            <a:schemeClr val="bg1">
              <a:lumMod val="75000"/>
              <a:alpha val="50196"/>
            </a:schemeClr>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799">
              <a:solidFill>
                <a:prstClr val="white"/>
              </a:solidFill>
              <a:latin typeface="Calibri" panose="020F0502020204030204"/>
            </a:endParaRPr>
          </a:p>
        </p:txBody>
      </p:sp>
      <p:sp>
        <p:nvSpPr>
          <p:cNvPr id="63" name="NIEUW"/>
          <p:cNvSpPr/>
          <p:nvPr/>
        </p:nvSpPr>
        <p:spPr>
          <a:xfrm>
            <a:off x="3263188" y="3399616"/>
            <a:ext cx="3613792" cy="3440968"/>
          </a:xfrm>
          <a:custGeom>
            <a:avLst/>
            <a:gdLst>
              <a:gd name="connsiteX0" fmla="*/ 3396343 w 5442857"/>
              <a:gd name="connsiteY0" fmla="*/ 3321698 h 3321698"/>
              <a:gd name="connsiteX1" fmla="*/ 5442857 w 5442857"/>
              <a:gd name="connsiteY1" fmla="*/ 2830285 h 3321698"/>
              <a:gd name="connsiteX2" fmla="*/ 5411755 w 5442857"/>
              <a:gd name="connsiteY2" fmla="*/ 2774302 h 3321698"/>
              <a:gd name="connsiteX3" fmla="*/ 5150498 w 5442857"/>
              <a:gd name="connsiteY3" fmla="*/ 2817845 h 3321698"/>
              <a:gd name="connsiteX4" fmla="*/ 4901681 w 5442857"/>
              <a:gd name="connsiteY4" fmla="*/ 2612571 h 3321698"/>
              <a:gd name="connsiteX5" fmla="*/ 4783494 w 5442857"/>
              <a:gd name="connsiteY5" fmla="*/ 2631232 h 3321698"/>
              <a:gd name="connsiteX6" fmla="*/ 3738465 w 5442857"/>
              <a:gd name="connsiteY6" fmla="*/ 1679510 h 3321698"/>
              <a:gd name="connsiteX7" fmla="*/ 2817845 w 5442857"/>
              <a:gd name="connsiteY7" fmla="*/ 1909665 h 3321698"/>
              <a:gd name="connsiteX8" fmla="*/ 1125894 w 5442857"/>
              <a:gd name="connsiteY8" fmla="*/ 298579 h 3321698"/>
              <a:gd name="connsiteX9" fmla="*/ 914400 w 5442857"/>
              <a:gd name="connsiteY9" fmla="*/ 199053 h 3321698"/>
              <a:gd name="connsiteX10" fmla="*/ 709126 w 5442857"/>
              <a:gd name="connsiteY10" fmla="*/ 236375 h 3321698"/>
              <a:gd name="connsiteX11" fmla="*/ 0 w 5442857"/>
              <a:gd name="connsiteY11" fmla="*/ 0 h 3321698"/>
              <a:gd name="connsiteX12" fmla="*/ 3396343 w 5442857"/>
              <a:gd name="connsiteY12" fmla="*/ 3321698 h 3321698"/>
              <a:gd name="connsiteX0" fmla="*/ 3352800 w 5442857"/>
              <a:gd name="connsiteY0" fmla="*/ 3346580 h 3346580"/>
              <a:gd name="connsiteX1" fmla="*/ 5442857 w 5442857"/>
              <a:gd name="connsiteY1" fmla="*/ 2830285 h 3346580"/>
              <a:gd name="connsiteX2" fmla="*/ 5411755 w 5442857"/>
              <a:gd name="connsiteY2" fmla="*/ 2774302 h 3346580"/>
              <a:gd name="connsiteX3" fmla="*/ 5150498 w 5442857"/>
              <a:gd name="connsiteY3" fmla="*/ 2817845 h 3346580"/>
              <a:gd name="connsiteX4" fmla="*/ 4901681 w 5442857"/>
              <a:gd name="connsiteY4" fmla="*/ 2612571 h 3346580"/>
              <a:gd name="connsiteX5" fmla="*/ 4783494 w 5442857"/>
              <a:gd name="connsiteY5" fmla="*/ 2631232 h 3346580"/>
              <a:gd name="connsiteX6" fmla="*/ 3738465 w 5442857"/>
              <a:gd name="connsiteY6" fmla="*/ 1679510 h 3346580"/>
              <a:gd name="connsiteX7" fmla="*/ 2817845 w 5442857"/>
              <a:gd name="connsiteY7" fmla="*/ 1909665 h 3346580"/>
              <a:gd name="connsiteX8" fmla="*/ 1125894 w 5442857"/>
              <a:gd name="connsiteY8" fmla="*/ 298579 h 3346580"/>
              <a:gd name="connsiteX9" fmla="*/ 914400 w 5442857"/>
              <a:gd name="connsiteY9" fmla="*/ 199053 h 3346580"/>
              <a:gd name="connsiteX10" fmla="*/ 709126 w 5442857"/>
              <a:gd name="connsiteY10" fmla="*/ 236375 h 3346580"/>
              <a:gd name="connsiteX11" fmla="*/ 0 w 5442857"/>
              <a:gd name="connsiteY11" fmla="*/ 0 h 3346580"/>
              <a:gd name="connsiteX12" fmla="*/ 3352800 w 5442857"/>
              <a:gd name="connsiteY12" fmla="*/ 3346580 h 3346580"/>
              <a:gd name="connsiteX0" fmla="*/ 3352800 w 5442857"/>
              <a:gd name="connsiteY0" fmla="*/ 3346580 h 3346580"/>
              <a:gd name="connsiteX1" fmla="*/ 5442857 w 5442857"/>
              <a:gd name="connsiteY1" fmla="*/ 2830285 h 3346580"/>
              <a:gd name="connsiteX2" fmla="*/ 5411755 w 5442857"/>
              <a:gd name="connsiteY2" fmla="*/ 2774302 h 3346580"/>
              <a:gd name="connsiteX3" fmla="*/ 5150498 w 5442857"/>
              <a:gd name="connsiteY3" fmla="*/ 2817845 h 3346580"/>
              <a:gd name="connsiteX4" fmla="*/ 4901681 w 5442857"/>
              <a:gd name="connsiteY4" fmla="*/ 2612571 h 3346580"/>
              <a:gd name="connsiteX5" fmla="*/ 4783494 w 5442857"/>
              <a:gd name="connsiteY5" fmla="*/ 2631232 h 3346580"/>
              <a:gd name="connsiteX6" fmla="*/ 3738465 w 5442857"/>
              <a:gd name="connsiteY6" fmla="*/ 1679510 h 3346580"/>
              <a:gd name="connsiteX7" fmla="*/ 2817845 w 5442857"/>
              <a:gd name="connsiteY7" fmla="*/ 1909665 h 3346580"/>
              <a:gd name="connsiteX8" fmla="*/ 1125894 w 5442857"/>
              <a:gd name="connsiteY8" fmla="*/ 298579 h 3346580"/>
              <a:gd name="connsiteX9" fmla="*/ 914400 w 5442857"/>
              <a:gd name="connsiteY9" fmla="*/ 199053 h 3346580"/>
              <a:gd name="connsiteX10" fmla="*/ 709126 w 5442857"/>
              <a:gd name="connsiteY10" fmla="*/ 236375 h 3346580"/>
              <a:gd name="connsiteX11" fmla="*/ 0 w 5442857"/>
              <a:gd name="connsiteY11" fmla="*/ 0 h 3346580"/>
              <a:gd name="connsiteX12" fmla="*/ 3352800 w 5442857"/>
              <a:gd name="connsiteY12" fmla="*/ 3346580 h 3346580"/>
              <a:gd name="connsiteX0" fmla="*/ 3352800 w 5442857"/>
              <a:gd name="connsiteY0" fmla="*/ 3346580 h 3346580"/>
              <a:gd name="connsiteX1" fmla="*/ 5442857 w 5442857"/>
              <a:gd name="connsiteY1" fmla="*/ 2830285 h 3346580"/>
              <a:gd name="connsiteX2" fmla="*/ 5411755 w 5442857"/>
              <a:gd name="connsiteY2" fmla="*/ 2774302 h 3346580"/>
              <a:gd name="connsiteX3" fmla="*/ 5150498 w 5442857"/>
              <a:gd name="connsiteY3" fmla="*/ 2817845 h 3346580"/>
              <a:gd name="connsiteX4" fmla="*/ 4901681 w 5442857"/>
              <a:gd name="connsiteY4" fmla="*/ 2612571 h 3346580"/>
              <a:gd name="connsiteX5" fmla="*/ 4783494 w 5442857"/>
              <a:gd name="connsiteY5" fmla="*/ 2631232 h 3346580"/>
              <a:gd name="connsiteX6" fmla="*/ 3738465 w 5442857"/>
              <a:gd name="connsiteY6" fmla="*/ 1679510 h 3346580"/>
              <a:gd name="connsiteX7" fmla="*/ 2817845 w 5442857"/>
              <a:gd name="connsiteY7" fmla="*/ 1909665 h 3346580"/>
              <a:gd name="connsiteX8" fmla="*/ 1125894 w 5442857"/>
              <a:gd name="connsiteY8" fmla="*/ 298579 h 3346580"/>
              <a:gd name="connsiteX9" fmla="*/ 914400 w 5442857"/>
              <a:gd name="connsiteY9" fmla="*/ 199053 h 3346580"/>
              <a:gd name="connsiteX10" fmla="*/ 709126 w 5442857"/>
              <a:gd name="connsiteY10" fmla="*/ 236375 h 3346580"/>
              <a:gd name="connsiteX11" fmla="*/ 0 w 5442857"/>
              <a:gd name="connsiteY11" fmla="*/ 0 h 3346580"/>
              <a:gd name="connsiteX12" fmla="*/ 3352800 w 5442857"/>
              <a:gd name="connsiteY12" fmla="*/ 3346580 h 3346580"/>
              <a:gd name="connsiteX0" fmla="*/ 3352800 w 5442857"/>
              <a:gd name="connsiteY0" fmla="*/ 3346580 h 3346580"/>
              <a:gd name="connsiteX1" fmla="*/ 5442857 w 5442857"/>
              <a:gd name="connsiteY1" fmla="*/ 2830285 h 3346580"/>
              <a:gd name="connsiteX2" fmla="*/ 5411755 w 5442857"/>
              <a:gd name="connsiteY2" fmla="*/ 2774302 h 3346580"/>
              <a:gd name="connsiteX3" fmla="*/ 5150498 w 5442857"/>
              <a:gd name="connsiteY3" fmla="*/ 2817845 h 3346580"/>
              <a:gd name="connsiteX4" fmla="*/ 4901681 w 5442857"/>
              <a:gd name="connsiteY4" fmla="*/ 2612571 h 3346580"/>
              <a:gd name="connsiteX5" fmla="*/ 4783494 w 5442857"/>
              <a:gd name="connsiteY5" fmla="*/ 2631232 h 3346580"/>
              <a:gd name="connsiteX6" fmla="*/ 3738465 w 5442857"/>
              <a:gd name="connsiteY6" fmla="*/ 1679510 h 3346580"/>
              <a:gd name="connsiteX7" fmla="*/ 2817845 w 5442857"/>
              <a:gd name="connsiteY7" fmla="*/ 1909665 h 3346580"/>
              <a:gd name="connsiteX8" fmla="*/ 1125894 w 5442857"/>
              <a:gd name="connsiteY8" fmla="*/ 298579 h 3346580"/>
              <a:gd name="connsiteX9" fmla="*/ 933062 w 5442857"/>
              <a:gd name="connsiteY9" fmla="*/ 211493 h 3346580"/>
              <a:gd name="connsiteX10" fmla="*/ 709126 w 5442857"/>
              <a:gd name="connsiteY10" fmla="*/ 236375 h 3346580"/>
              <a:gd name="connsiteX11" fmla="*/ 0 w 5442857"/>
              <a:gd name="connsiteY11" fmla="*/ 0 h 3346580"/>
              <a:gd name="connsiteX12" fmla="*/ 3352800 w 5442857"/>
              <a:gd name="connsiteY12" fmla="*/ 3346580 h 3346580"/>
              <a:gd name="connsiteX0" fmla="*/ 3352800 w 5442857"/>
              <a:gd name="connsiteY0" fmla="*/ 3346580 h 3346580"/>
              <a:gd name="connsiteX1" fmla="*/ 5442857 w 5442857"/>
              <a:gd name="connsiteY1" fmla="*/ 2830285 h 3346580"/>
              <a:gd name="connsiteX2" fmla="*/ 5411755 w 5442857"/>
              <a:gd name="connsiteY2" fmla="*/ 2774302 h 3346580"/>
              <a:gd name="connsiteX3" fmla="*/ 5150498 w 5442857"/>
              <a:gd name="connsiteY3" fmla="*/ 2817845 h 3346580"/>
              <a:gd name="connsiteX4" fmla="*/ 4901681 w 5442857"/>
              <a:gd name="connsiteY4" fmla="*/ 2612571 h 3346580"/>
              <a:gd name="connsiteX5" fmla="*/ 4783494 w 5442857"/>
              <a:gd name="connsiteY5" fmla="*/ 2631232 h 3346580"/>
              <a:gd name="connsiteX6" fmla="*/ 3738465 w 5442857"/>
              <a:gd name="connsiteY6" fmla="*/ 1679510 h 3346580"/>
              <a:gd name="connsiteX7" fmla="*/ 2817845 w 5442857"/>
              <a:gd name="connsiteY7" fmla="*/ 1909665 h 3346580"/>
              <a:gd name="connsiteX8" fmla="*/ 1125894 w 5442857"/>
              <a:gd name="connsiteY8" fmla="*/ 298579 h 3346580"/>
              <a:gd name="connsiteX9" fmla="*/ 933062 w 5442857"/>
              <a:gd name="connsiteY9" fmla="*/ 211493 h 3346580"/>
              <a:gd name="connsiteX10" fmla="*/ 709126 w 5442857"/>
              <a:gd name="connsiteY10" fmla="*/ 236375 h 3346580"/>
              <a:gd name="connsiteX11" fmla="*/ 0 w 5442857"/>
              <a:gd name="connsiteY11" fmla="*/ 0 h 3346580"/>
              <a:gd name="connsiteX12" fmla="*/ 3352800 w 5442857"/>
              <a:gd name="connsiteY12" fmla="*/ 3346580 h 3346580"/>
              <a:gd name="connsiteX0" fmla="*/ 3352800 w 5442857"/>
              <a:gd name="connsiteY0" fmla="*/ 3346580 h 3346580"/>
              <a:gd name="connsiteX1" fmla="*/ 5442857 w 5442857"/>
              <a:gd name="connsiteY1" fmla="*/ 2830285 h 3346580"/>
              <a:gd name="connsiteX2" fmla="*/ 5411755 w 5442857"/>
              <a:gd name="connsiteY2" fmla="*/ 2774302 h 3346580"/>
              <a:gd name="connsiteX3" fmla="*/ 5150498 w 5442857"/>
              <a:gd name="connsiteY3" fmla="*/ 2817845 h 3346580"/>
              <a:gd name="connsiteX4" fmla="*/ 4901681 w 5442857"/>
              <a:gd name="connsiteY4" fmla="*/ 2612571 h 3346580"/>
              <a:gd name="connsiteX5" fmla="*/ 4783494 w 5442857"/>
              <a:gd name="connsiteY5" fmla="*/ 2631232 h 3346580"/>
              <a:gd name="connsiteX6" fmla="*/ 3738465 w 5442857"/>
              <a:gd name="connsiteY6" fmla="*/ 1679510 h 3346580"/>
              <a:gd name="connsiteX7" fmla="*/ 2817845 w 5442857"/>
              <a:gd name="connsiteY7" fmla="*/ 1909665 h 3346580"/>
              <a:gd name="connsiteX8" fmla="*/ 1125894 w 5442857"/>
              <a:gd name="connsiteY8" fmla="*/ 298579 h 3346580"/>
              <a:gd name="connsiteX9" fmla="*/ 933062 w 5442857"/>
              <a:gd name="connsiteY9" fmla="*/ 211493 h 3346580"/>
              <a:gd name="connsiteX10" fmla="*/ 709126 w 5442857"/>
              <a:gd name="connsiteY10" fmla="*/ 236375 h 3346580"/>
              <a:gd name="connsiteX11" fmla="*/ 0 w 5442857"/>
              <a:gd name="connsiteY11" fmla="*/ 0 h 3346580"/>
              <a:gd name="connsiteX12" fmla="*/ 3352800 w 5442857"/>
              <a:gd name="connsiteY12" fmla="*/ 3346580 h 3346580"/>
              <a:gd name="connsiteX0" fmla="*/ 3352800 w 5442857"/>
              <a:gd name="connsiteY0" fmla="*/ 3346580 h 3346580"/>
              <a:gd name="connsiteX1" fmla="*/ 5442857 w 5442857"/>
              <a:gd name="connsiteY1" fmla="*/ 2830285 h 3346580"/>
              <a:gd name="connsiteX2" fmla="*/ 5399314 w 5442857"/>
              <a:gd name="connsiteY2" fmla="*/ 2780522 h 3346580"/>
              <a:gd name="connsiteX3" fmla="*/ 5150498 w 5442857"/>
              <a:gd name="connsiteY3" fmla="*/ 2817845 h 3346580"/>
              <a:gd name="connsiteX4" fmla="*/ 4901681 w 5442857"/>
              <a:gd name="connsiteY4" fmla="*/ 2612571 h 3346580"/>
              <a:gd name="connsiteX5" fmla="*/ 4783494 w 5442857"/>
              <a:gd name="connsiteY5" fmla="*/ 2631232 h 3346580"/>
              <a:gd name="connsiteX6" fmla="*/ 3738465 w 5442857"/>
              <a:gd name="connsiteY6" fmla="*/ 1679510 h 3346580"/>
              <a:gd name="connsiteX7" fmla="*/ 2817845 w 5442857"/>
              <a:gd name="connsiteY7" fmla="*/ 1909665 h 3346580"/>
              <a:gd name="connsiteX8" fmla="*/ 1125894 w 5442857"/>
              <a:gd name="connsiteY8" fmla="*/ 298579 h 3346580"/>
              <a:gd name="connsiteX9" fmla="*/ 933062 w 5442857"/>
              <a:gd name="connsiteY9" fmla="*/ 211493 h 3346580"/>
              <a:gd name="connsiteX10" fmla="*/ 709126 w 5442857"/>
              <a:gd name="connsiteY10" fmla="*/ 236375 h 3346580"/>
              <a:gd name="connsiteX11" fmla="*/ 0 w 5442857"/>
              <a:gd name="connsiteY11" fmla="*/ 0 h 3346580"/>
              <a:gd name="connsiteX12" fmla="*/ 3352800 w 5442857"/>
              <a:gd name="connsiteY12" fmla="*/ 3346580 h 3346580"/>
              <a:gd name="connsiteX0" fmla="*/ 3352800 w 5442857"/>
              <a:gd name="connsiteY0" fmla="*/ 3346580 h 3346580"/>
              <a:gd name="connsiteX1" fmla="*/ 5442857 w 5442857"/>
              <a:gd name="connsiteY1" fmla="*/ 2830285 h 3346580"/>
              <a:gd name="connsiteX2" fmla="*/ 5386873 w 5442857"/>
              <a:gd name="connsiteY2" fmla="*/ 2780522 h 3346580"/>
              <a:gd name="connsiteX3" fmla="*/ 5150498 w 5442857"/>
              <a:gd name="connsiteY3" fmla="*/ 2817845 h 3346580"/>
              <a:gd name="connsiteX4" fmla="*/ 4901681 w 5442857"/>
              <a:gd name="connsiteY4" fmla="*/ 2612571 h 3346580"/>
              <a:gd name="connsiteX5" fmla="*/ 4783494 w 5442857"/>
              <a:gd name="connsiteY5" fmla="*/ 2631232 h 3346580"/>
              <a:gd name="connsiteX6" fmla="*/ 3738465 w 5442857"/>
              <a:gd name="connsiteY6" fmla="*/ 1679510 h 3346580"/>
              <a:gd name="connsiteX7" fmla="*/ 2817845 w 5442857"/>
              <a:gd name="connsiteY7" fmla="*/ 1909665 h 3346580"/>
              <a:gd name="connsiteX8" fmla="*/ 1125894 w 5442857"/>
              <a:gd name="connsiteY8" fmla="*/ 298579 h 3346580"/>
              <a:gd name="connsiteX9" fmla="*/ 933062 w 5442857"/>
              <a:gd name="connsiteY9" fmla="*/ 211493 h 3346580"/>
              <a:gd name="connsiteX10" fmla="*/ 709126 w 5442857"/>
              <a:gd name="connsiteY10" fmla="*/ 236375 h 3346580"/>
              <a:gd name="connsiteX11" fmla="*/ 0 w 5442857"/>
              <a:gd name="connsiteY11" fmla="*/ 0 h 3346580"/>
              <a:gd name="connsiteX12" fmla="*/ 3352800 w 5442857"/>
              <a:gd name="connsiteY12" fmla="*/ 3346580 h 3346580"/>
              <a:gd name="connsiteX0" fmla="*/ 3352800 w 5442857"/>
              <a:gd name="connsiteY0" fmla="*/ 3346580 h 3346580"/>
              <a:gd name="connsiteX1" fmla="*/ 5442857 w 5442857"/>
              <a:gd name="connsiteY1" fmla="*/ 2830285 h 3346580"/>
              <a:gd name="connsiteX2" fmla="*/ 5386873 w 5442857"/>
              <a:gd name="connsiteY2" fmla="*/ 2780522 h 3346580"/>
              <a:gd name="connsiteX3" fmla="*/ 5175379 w 5442857"/>
              <a:gd name="connsiteY3" fmla="*/ 2842726 h 3346580"/>
              <a:gd name="connsiteX4" fmla="*/ 4901681 w 5442857"/>
              <a:gd name="connsiteY4" fmla="*/ 2612571 h 3346580"/>
              <a:gd name="connsiteX5" fmla="*/ 4783494 w 5442857"/>
              <a:gd name="connsiteY5" fmla="*/ 2631232 h 3346580"/>
              <a:gd name="connsiteX6" fmla="*/ 3738465 w 5442857"/>
              <a:gd name="connsiteY6" fmla="*/ 1679510 h 3346580"/>
              <a:gd name="connsiteX7" fmla="*/ 2817845 w 5442857"/>
              <a:gd name="connsiteY7" fmla="*/ 1909665 h 3346580"/>
              <a:gd name="connsiteX8" fmla="*/ 1125894 w 5442857"/>
              <a:gd name="connsiteY8" fmla="*/ 298579 h 3346580"/>
              <a:gd name="connsiteX9" fmla="*/ 933062 w 5442857"/>
              <a:gd name="connsiteY9" fmla="*/ 211493 h 3346580"/>
              <a:gd name="connsiteX10" fmla="*/ 709126 w 5442857"/>
              <a:gd name="connsiteY10" fmla="*/ 236375 h 3346580"/>
              <a:gd name="connsiteX11" fmla="*/ 0 w 5442857"/>
              <a:gd name="connsiteY11" fmla="*/ 0 h 3346580"/>
              <a:gd name="connsiteX12" fmla="*/ 3352800 w 5442857"/>
              <a:gd name="connsiteY12" fmla="*/ 3346580 h 3346580"/>
              <a:gd name="connsiteX0" fmla="*/ 3352800 w 5442857"/>
              <a:gd name="connsiteY0" fmla="*/ 3346580 h 3346580"/>
              <a:gd name="connsiteX1" fmla="*/ 5442857 w 5442857"/>
              <a:gd name="connsiteY1" fmla="*/ 2830285 h 3346580"/>
              <a:gd name="connsiteX2" fmla="*/ 5386873 w 5442857"/>
              <a:gd name="connsiteY2" fmla="*/ 2780522 h 3346580"/>
              <a:gd name="connsiteX3" fmla="*/ 5156718 w 5442857"/>
              <a:gd name="connsiteY3" fmla="*/ 2824064 h 3346580"/>
              <a:gd name="connsiteX4" fmla="*/ 4901681 w 5442857"/>
              <a:gd name="connsiteY4" fmla="*/ 2612571 h 3346580"/>
              <a:gd name="connsiteX5" fmla="*/ 4783494 w 5442857"/>
              <a:gd name="connsiteY5" fmla="*/ 2631232 h 3346580"/>
              <a:gd name="connsiteX6" fmla="*/ 3738465 w 5442857"/>
              <a:gd name="connsiteY6" fmla="*/ 1679510 h 3346580"/>
              <a:gd name="connsiteX7" fmla="*/ 2817845 w 5442857"/>
              <a:gd name="connsiteY7" fmla="*/ 1909665 h 3346580"/>
              <a:gd name="connsiteX8" fmla="*/ 1125894 w 5442857"/>
              <a:gd name="connsiteY8" fmla="*/ 298579 h 3346580"/>
              <a:gd name="connsiteX9" fmla="*/ 933062 w 5442857"/>
              <a:gd name="connsiteY9" fmla="*/ 211493 h 3346580"/>
              <a:gd name="connsiteX10" fmla="*/ 709126 w 5442857"/>
              <a:gd name="connsiteY10" fmla="*/ 236375 h 3346580"/>
              <a:gd name="connsiteX11" fmla="*/ 0 w 5442857"/>
              <a:gd name="connsiteY11" fmla="*/ 0 h 3346580"/>
              <a:gd name="connsiteX12" fmla="*/ 3352800 w 5442857"/>
              <a:gd name="connsiteY12" fmla="*/ 3346580 h 3346580"/>
              <a:gd name="connsiteX0" fmla="*/ 3352800 w 5442857"/>
              <a:gd name="connsiteY0" fmla="*/ 3346580 h 3346580"/>
              <a:gd name="connsiteX1" fmla="*/ 5442857 w 5442857"/>
              <a:gd name="connsiteY1" fmla="*/ 2830285 h 3346580"/>
              <a:gd name="connsiteX2" fmla="*/ 5386873 w 5442857"/>
              <a:gd name="connsiteY2" fmla="*/ 2780522 h 3346580"/>
              <a:gd name="connsiteX3" fmla="*/ 5156718 w 5442857"/>
              <a:gd name="connsiteY3" fmla="*/ 2824064 h 3346580"/>
              <a:gd name="connsiteX4" fmla="*/ 4901681 w 5442857"/>
              <a:gd name="connsiteY4" fmla="*/ 2612571 h 3346580"/>
              <a:gd name="connsiteX5" fmla="*/ 4783494 w 5442857"/>
              <a:gd name="connsiteY5" fmla="*/ 2631232 h 3346580"/>
              <a:gd name="connsiteX6" fmla="*/ 3701143 w 5442857"/>
              <a:gd name="connsiteY6" fmla="*/ 1679510 h 3346580"/>
              <a:gd name="connsiteX7" fmla="*/ 2817845 w 5442857"/>
              <a:gd name="connsiteY7" fmla="*/ 1909665 h 3346580"/>
              <a:gd name="connsiteX8" fmla="*/ 1125894 w 5442857"/>
              <a:gd name="connsiteY8" fmla="*/ 298579 h 3346580"/>
              <a:gd name="connsiteX9" fmla="*/ 933062 w 5442857"/>
              <a:gd name="connsiteY9" fmla="*/ 211493 h 3346580"/>
              <a:gd name="connsiteX10" fmla="*/ 709126 w 5442857"/>
              <a:gd name="connsiteY10" fmla="*/ 236375 h 3346580"/>
              <a:gd name="connsiteX11" fmla="*/ 0 w 5442857"/>
              <a:gd name="connsiteY11" fmla="*/ 0 h 3346580"/>
              <a:gd name="connsiteX12" fmla="*/ 3352800 w 5442857"/>
              <a:gd name="connsiteY12" fmla="*/ 3346580 h 3346580"/>
              <a:gd name="connsiteX0" fmla="*/ 3352800 w 5442857"/>
              <a:gd name="connsiteY0" fmla="*/ 3346580 h 3346580"/>
              <a:gd name="connsiteX1" fmla="*/ 5442857 w 5442857"/>
              <a:gd name="connsiteY1" fmla="*/ 2830285 h 3346580"/>
              <a:gd name="connsiteX2" fmla="*/ 5386873 w 5442857"/>
              <a:gd name="connsiteY2" fmla="*/ 2780522 h 3346580"/>
              <a:gd name="connsiteX3" fmla="*/ 5156718 w 5442857"/>
              <a:gd name="connsiteY3" fmla="*/ 2824064 h 3346580"/>
              <a:gd name="connsiteX4" fmla="*/ 4901681 w 5442857"/>
              <a:gd name="connsiteY4" fmla="*/ 2612571 h 3346580"/>
              <a:gd name="connsiteX5" fmla="*/ 4795447 w 5442857"/>
              <a:gd name="connsiteY5" fmla="*/ 2673068 h 3346580"/>
              <a:gd name="connsiteX6" fmla="*/ 3701143 w 5442857"/>
              <a:gd name="connsiteY6" fmla="*/ 1679510 h 3346580"/>
              <a:gd name="connsiteX7" fmla="*/ 2817845 w 5442857"/>
              <a:gd name="connsiteY7" fmla="*/ 1909665 h 3346580"/>
              <a:gd name="connsiteX8" fmla="*/ 1125894 w 5442857"/>
              <a:gd name="connsiteY8" fmla="*/ 298579 h 3346580"/>
              <a:gd name="connsiteX9" fmla="*/ 933062 w 5442857"/>
              <a:gd name="connsiteY9" fmla="*/ 211493 h 3346580"/>
              <a:gd name="connsiteX10" fmla="*/ 709126 w 5442857"/>
              <a:gd name="connsiteY10" fmla="*/ 236375 h 3346580"/>
              <a:gd name="connsiteX11" fmla="*/ 0 w 5442857"/>
              <a:gd name="connsiteY11" fmla="*/ 0 h 3346580"/>
              <a:gd name="connsiteX12" fmla="*/ 3352800 w 5442857"/>
              <a:gd name="connsiteY12" fmla="*/ 3346580 h 3346580"/>
              <a:gd name="connsiteX0" fmla="*/ 3352800 w 5442857"/>
              <a:gd name="connsiteY0" fmla="*/ 3346580 h 3346580"/>
              <a:gd name="connsiteX1" fmla="*/ 5442857 w 5442857"/>
              <a:gd name="connsiteY1" fmla="*/ 2830285 h 3346580"/>
              <a:gd name="connsiteX2" fmla="*/ 5386873 w 5442857"/>
              <a:gd name="connsiteY2" fmla="*/ 2780522 h 3346580"/>
              <a:gd name="connsiteX3" fmla="*/ 5156718 w 5442857"/>
              <a:gd name="connsiteY3" fmla="*/ 2824064 h 3346580"/>
              <a:gd name="connsiteX4" fmla="*/ 4907658 w 5442857"/>
              <a:gd name="connsiteY4" fmla="*/ 2654406 h 3346580"/>
              <a:gd name="connsiteX5" fmla="*/ 4795447 w 5442857"/>
              <a:gd name="connsiteY5" fmla="*/ 2673068 h 3346580"/>
              <a:gd name="connsiteX6" fmla="*/ 3701143 w 5442857"/>
              <a:gd name="connsiteY6" fmla="*/ 1679510 h 3346580"/>
              <a:gd name="connsiteX7" fmla="*/ 2817845 w 5442857"/>
              <a:gd name="connsiteY7" fmla="*/ 1909665 h 3346580"/>
              <a:gd name="connsiteX8" fmla="*/ 1125894 w 5442857"/>
              <a:gd name="connsiteY8" fmla="*/ 298579 h 3346580"/>
              <a:gd name="connsiteX9" fmla="*/ 933062 w 5442857"/>
              <a:gd name="connsiteY9" fmla="*/ 211493 h 3346580"/>
              <a:gd name="connsiteX10" fmla="*/ 709126 w 5442857"/>
              <a:gd name="connsiteY10" fmla="*/ 236375 h 3346580"/>
              <a:gd name="connsiteX11" fmla="*/ 0 w 5442857"/>
              <a:gd name="connsiteY11" fmla="*/ 0 h 3346580"/>
              <a:gd name="connsiteX12" fmla="*/ 3352800 w 5442857"/>
              <a:gd name="connsiteY12" fmla="*/ 3346580 h 3346580"/>
              <a:gd name="connsiteX0" fmla="*/ 3352800 w 5442857"/>
              <a:gd name="connsiteY0" fmla="*/ 3346580 h 3346580"/>
              <a:gd name="connsiteX1" fmla="*/ 5442857 w 5442857"/>
              <a:gd name="connsiteY1" fmla="*/ 2830285 h 3346580"/>
              <a:gd name="connsiteX2" fmla="*/ 5386873 w 5442857"/>
              <a:gd name="connsiteY2" fmla="*/ 2780522 h 3346580"/>
              <a:gd name="connsiteX3" fmla="*/ 5138789 w 5442857"/>
              <a:gd name="connsiteY3" fmla="*/ 2871876 h 3346580"/>
              <a:gd name="connsiteX4" fmla="*/ 4907658 w 5442857"/>
              <a:gd name="connsiteY4" fmla="*/ 2654406 h 3346580"/>
              <a:gd name="connsiteX5" fmla="*/ 4795447 w 5442857"/>
              <a:gd name="connsiteY5" fmla="*/ 2673068 h 3346580"/>
              <a:gd name="connsiteX6" fmla="*/ 3701143 w 5442857"/>
              <a:gd name="connsiteY6" fmla="*/ 1679510 h 3346580"/>
              <a:gd name="connsiteX7" fmla="*/ 2817845 w 5442857"/>
              <a:gd name="connsiteY7" fmla="*/ 1909665 h 3346580"/>
              <a:gd name="connsiteX8" fmla="*/ 1125894 w 5442857"/>
              <a:gd name="connsiteY8" fmla="*/ 298579 h 3346580"/>
              <a:gd name="connsiteX9" fmla="*/ 933062 w 5442857"/>
              <a:gd name="connsiteY9" fmla="*/ 211493 h 3346580"/>
              <a:gd name="connsiteX10" fmla="*/ 709126 w 5442857"/>
              <a:gd name="connsiteY10" fmla="*/ 236375 h 3346580"/>
              <a:gd name="connsiteX11" fmla="*/ 0 w 5442857"/>
              <a:gd name="connsiteY11" fmla="*/ 0 h 3346580"/>
              <a:gd name="connsiteX12" fmla="*/ 3352800 w 5442857"/>
              <a:gd name="connsiteY12" fmla="*/ 3346580 h 3346580"/>
              <a:gd name="connsiteX0" fmla="*/ 3352800 w 5442857"/>
              <a:gd name="connsiteY0" fmla="*/ 3346580 h 3346580"/>
              <a:gd name="connsiteX1" fmla="*/ 5442857 w 5442857"/>
              <a:gd name="connsiteY1" fmla="*/ 2830285 h 3346580"/>
              <a:gd name="connsiteX2" fmla="*/ 5392850 w 5442857"/>
              <a:gd name="connsiteY2" fmla="*/ 2804428 h 3346580"/>
              <a:gd name="connsiteX3" fmla="*/ 5138789 w 5442857"/>
              <a:gd name="connsiteY3" fmla="*/ 2871876 h 3346580"/>
              <a:gd name="connsiteX4" fmla="*/ 4907658 w 5442857"/>
              <a:gd name="connsiteY4" fmla="*/ 2654406 h 3346580"/>
              <a:gd name="connsiteX5" fmla="*/ 4795447 w 5442857"/>
              <a:gd name="connsiteY5" fmla="*/ 2673068 h 3346580"/>
              <a:gd name="connsiteX6" fmla="*/ 3701143 w 5442857"/>
              <a:gd name="connsiteY6" fmla="*/ 1679510 h 3346580"/>
              <a:gd name="connsiteX7" fmla="*/ 2817845 w 5442857"/>
              <a:gd name="connsiteY7" fmla="*/ 1909665 h 3346580"/>
              <a:gd name="connsiteX8" fmla="*/ 1125894 w 5442857"/>
              <a:gd name="connsiteY8" fmla="*/ 298579 h 3346580"/>
              <a:gd name="connsiteX9" fmla="*/ 933062 w 5442857"/>
              <a:gd name="connsiteY9" fmla="*/ 211493 h 3346580"/>
              <a:gd name="connsiteX10" fmla="*/ 709126 w 5442857"/>
              <a:gd name="connsiteY10" fmla="*/ 236375 h 3346580"/>
              <a:gd name="connsiteX11" fmla="*/ 0 w 5442857"/>
              <a:gd name="connsiteY11" fmla="*/ 0 h 3346580"/>
              <a:gd name="connsiteX12" fmla="*/ 3352800 w 5442857"/>
              <a:gd name="connsiteY12" fmla="*/ 3346580 h 3346580"/>
              <a:gd name="connsiteX0" fmla="*/ 3346823 w 5442857"/>
              <a:gd name="connsiteY0" fmla="*/ 3370486 h 3370486"/>
              <a:gd name="connsiteX1" fmla="*/ 5442857 w 5442857"/>
              <a:gd name="connsiteY1" fmla="*/ 2830285 h 3370486"/>
              <a:gd name="connsiteX2" fmla="*/ 5392850 w 5442857"/>
              <a:gd name="connsiteY2" fmla="*/ 2804428 h 3370486"/>
              <a:gd name="connsiteX3" fmla="*/ 5138789 w 5442857"/>
              <a:gd name="connsiteY3" fmla="*/ 2871876 h 3370486"/>
              <a:gd name="connsiteX4" fmla="*/ 4907658 w 5442857"/>
              <a:gd name="connsiteY4" fmla="*/ 2654406 h 3370486"/>
              <a:gd name="connsiteX5" fmla="*/ 4795447 w 5442857"/>
              <a:gd name="connsiteY5" fmla="*/ 2673068 h 3370486"/>
              <a:gd name="connsiteX6" fmla="*/ 3701143 w 5442857"/>
              <a:gd name="connsiteY6" fmla="*/ 1679510 h 3370486"/>
              <a:gd name="connsiteX7" fmla="*/ 2817845 w 5442857"/>
              <a:gd name="connsiteY7" fmla="*/ 1909665 h 3370486"/>
              <a:gd name="connsiteX8" fmla="*/ 1125894 w 5442857"/>
              <a:gd name="connsiteY8" fmla="*/ 298579 h 3370486"/>
              <a:gd name="connsiteX9" fmla="*/ 933062 w 5442857"/>
              <a:gd name="connsiteY9" fmla="*/ 211493 h 3370486"/>
              <a:gd name="connsiteX10" fmla="*/ 709126 w 5442857"/>
              <a:gd name="connsiteY10" fmla="*/ 236375 h 3370486"/>
              <a:gd name="connsiteX11" fmla="*/ 0 w 5442857"/>
              <a:gd name="connsiteY11" fmla="*/ 0 h 3370486"/>
              <a:gd name="connsiteX12" fmla="*/ 3346823 w 5442857"/>
              <a:gd name="connsiteY12" fmla="*/ 3370486 h 3370486"/>
              <a:gd name="connsiteX0" fmla="*/ 3346823 w 5430904"/>
              <a:gd name="connsiteY0" fmla="*/ 3370486 h 3370486"/>
              <a:gd name="connsiteX1" fmla="*/ 5430904 w 5430904"/>
              <a:gd name="connsiteY1" fmla="*/ 2842238 h 3370486"/>
              <a:gd name="connsiteX2" fmla="*/ 5392850 w 5430904"/>
              <a:gd name="connsiteY2" fmla="*/ 2804428 h 3370486"/>
              <a:gd name="connsiteX3" fmla="*/ 5138789 w 5430904"/>
              <a:gd name="connsiteY3" fmla="*/ 2871876 h 3370486"/>
              <a:gd name="connsiteX4" fmla="*/ 4907658 w 5430904"/>
              <a:gd name="connsiteY4" fmla="*/ 2654406 h 3370486"/>
              <a:gd name="connsiteX5" fmla="*/ 4795447 w 5430904"/>
              <a:gd name="connsiteY5" fmla="*/ 2673068 h 3370486"/>
              <a:gd name="connsiteX6" fmla="*/ 3701143 w 5430904"/>
              <a:gd name="connsiteY6" fmla="*/ 1679510 h 3370486"/>
              <a:gd name="connsiteX7" fmla="*/ 2817845 w 5430904"/>
              <a:gd name="connsiteY7" fmla="*/ 1909665 h 3370486"/>
              <a:gd name="connsiteX8" fmla="*/ 1125894 w 5430904"/>
              <a:gd name="connsiteY8" fmla="*/ 298579 h 3370486"/>
              <a:gd name="connsiteX9" fmla="*/ 933062 w 5430904"/>
              <a:gd name="connsiteY9" fmla="*/ 211493 h 3370486"/>
              <a:gd name="connsiteX10" fmla="*/ 709126 w 5430904"/>
              <a:gd name="connsiteY10" fmla="*/ 236375 h 3370486"/>
              <a:gd name="connsiteX11" fmla="*/ 0 w 5430904"/>
              <a:gd name="connsiteY11" fmla="*/ 0 h 3370486"/>
              <a:gd name="connsiteX12" fmla="*/ 3346823 w 5430904"/>
              <a:gd name="connsiteY12" fmla="*/ 3370486 h 3370486"/>
              <a:gd name="connsiteX0" fmla="*/ 3346823 w 5430904"/>
              <a:gd name="connsiteY0" fmla="*/ 3370486 h 3370486"/>
              <a:gd name="connsiteX1" fmla="*/ 5430904 w 5430904"/>
              <a:gd name="connsiteY1" fmla="*/ 2842238 h 3370486"/>
              <a:gd name="connsiteX2" fmla="*/ 5368944 w 5430904"/>
              <a:gd name="connsiteY2" fmla="*/ 2816381 h 3370486"/>
              <a:gd name="connsiteX3" fmla="*/ 5138789 w 5430904"/>
              <a:gd name="connsiteY3" fmla="*/ 2871876 h 3370486"/>
              <a:gd name="connsiteX4" fmla="*/ 4907658 w 5430904"/>
              <a:gd name="connsiteY4" fmla="*/ 2654406 h 3370486"/>
              <a:gd name="connsiteX5" fmla="*/ 4795447 w 5430904"/>
              <a:gd name="connsiteY5" fmla="*/ 2673068 h 3370486"/>
              <a:gd name="connsiteX6" fmla="*/ 3701143 w 5430904"/>
              <a:gd name="connsiteY6" fmla="*/ 1679510 h 3370486"/>
              <a:gd name="connsiteX7" fmla="*/ 2817845 w 5430904"/>
              <a:gd name="connsiteY7" fmla="*/ 1909665 h 3370486"/>
              <a:gd name="connsiteX8" fmla="*/ 1125894 w 5430904"/>
              <a:gd name="connsiteY8" fmla="*/ 298579 h 3370486"/>
              <a:gd name="connsiteX9" fmla="*/ 933062 w 5430904"/>
              <a:gd name="connsiteY9" fmla="*/ 211493 h 3370486"/>
              <a:gd name="connsiteX10" fmla="*/ 709126 w 5430904"/>
              <a:gd name="connsiteY10" fmla="*/ 236375 h 3370486"/>
              <a:gd name="connsiteX11" fmla="*/ 0 w 5430904"/>
              <a:gd name="connsiteY11" fmla="*/ 0 h 3370486"/>
              <a:gd name="connsiteX12" fmla="*/ 3346823 w 5430904"/>
              <a:gd name="connsiteY12"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7658 w 5383092"/>
              <a:gd name="connsiteY4" fmla="*/ 2654406 h 3370486"/>
              <a:gd name="connsiteX5" fmla="*/ 4795447 w 5383092"/>
              <a:gd name="connsiteY5" fmla="*/ 2673068 h 3370486"/>
              <a:gd name="connsiteX6" fmla="*/ 3701143 w 5383092"/>
              <a:gd name="connsiteY6" fmla="*/ 1679510 h 3370486"/>
              <a:gd name="connsiteX7" fmla="*/ 2817845 w 5383092"/>
              <a:gd name="connsiteY7" fmla="*/ 1909665 h 3370486"/>
              <a:gd name="connsiteX8" fmla="*/ 1125894 w 5383092"/>
              <a:gd name="connsiteY8" fmla="*/ 298579 h 3370486"/>
              <a:gd name="connsiteX9" fmla="*/ 933062 w 5383092"/>
              <a:gd name="connsiteY9" fmla="*/ 211493 h 3370486"/>
              <a:gd name="connsiteX10" fmla="*/ 709126 w 5383092"/>
              <a:gd name="connsiteY10" fmla="*/ 236375 h 3370486"/>
              <a:gd name="connsiteX11" fmla="*/ 0 w 5383092"/>
              <a:gd name="connsiteY11" fmla="*/ 0 h 3370486"/>
              <a:gd name="connsiteX12" fmla="*/ 3346823 w 5383092"/>
              <a:gd name="connsiteY12"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1681 w 5383092"/>
              <a:gd name="connsiteY4" fmla="*/ 2654406 h 3370486"/>
              <a:gd name="connsiteX5" fmla="*/ 4795447 w 5383092"/>
              <a:gd name="connsiteY5" fmla="*/ 2673068 h 3370486"/>
              <a:gd name="connsiteX6" fmla="*/ 3701143 w 5383092"/>
              <a:gd name="connsiteY6" fmla="*/ 1679510 h 3370486"/>
              <a:gd name="connsiteX7" fmla="*/ 2817845 w 5383092"/>
              <a:gd name="connsiteY7" fmla="*/ 1909665 h 3370486"/>
              <a:gd name="connsiteX8" fmla="*/ 1125894 w 5383092"/>
              <a:gd name="connsiteY8" fmla="*/ 298579 h 3370486"/>
              <a:gd name="connsiteX9" fmla="*/ 933062 w 5383092"/>
              <a:gd name="connsiteY9" fmla="*/ 211493 h 3370486"/>
              <a:gd name="connsiteX10" fmla="*/ 709126 w 5383092"/>
              <a:gd name="connsiteY10" fmla="*/ 236375 h 3370486"/>
              <a:gd name="connsiteX11" fmla="*/ 0 w 5383092"/>
              <a:gd name="connsiteY11" fmla="*/ 0 h 3370486"/>
              <a:gd name="connsiteX12" fmla="*/ 3346823 w 5383092"/>
              <a:gd name="connsiteY12"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1681 w 5383092"/>
              <a:gd name="connsiteY4" fmla="*/ 2654406 h 3370486"/>
              <a:gd name="connsiteX5" fmla="*/ 4795447 w 5383092"/>
              <a:gd name="connsiteY5" fmla="*/ 2673068 h 3370486"/>
              <a:gd name="connsiteX6" fmla="*/ 3822136 w 5383092"/>
              <a:gd name="connsiteY6" fmla="*/ 1794283 h 3370486"/>
              <a:gd name="connsiteX7" fmla="*/ 3701143 w 5383092"/>
              <a:gd name="connsiteY7" fmla="*/ 1679510 h 3370486"/>
              <a:gd name="connsiteX8" fmla="*/ 2817845 w 5383092"/>
              <a:gd name="connsiteY8" fmla="*/ 1909665 h 3370486"/>
              <a:gd name="connsiteX9" fmla="*/ 1125894 w 5383092"/>
              <a:gd name="connsiteY9" fmla="*/ 298579 h 3370486"/>
              <a:gd name="connsiteX10" fmla="*/ 933062 w 5383092"/>
              <a:gd name="connsiteY10" fmla="*/ 211493 h 3370486"/>
              <a:gd name="connsiteX11" fmla="*/ 709126 w 5383092"/>
              <a:gd name="connsiteY11" fmla="*/ 236375 h 3370486"/>
              <a:gd name="connsiteX12" fmla="*/ 0 w 5383092"/>
              <a:gd name="connsiteY12" fmla="*/ 0 h 3370486"/>
              <a:gd name="connsiteX13" fmla="*/ 3346823 w 5383092"/>
              <a:gd name="connsiteY13"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1681 w 5383092"/>
              <a:gd name="connsiteY4" fmla="*/ 2654406 h 3370486"/>
              <a:gd name="connsiteX5" fmla="*/ 4795447 w 5383092"/>
              <a:gd name="connsiteY5" fmla="*/ 2673068 h 3370486"/>
              <a:gd name="connsiteX6" fmla="*/ 3875924 w 5383092"/>
              <a:gd name="connsiteY6" fmla="*/ 1770377 h 3370486"/>
              <a:gd name="connsiteX7" fmla="*/ 3701143 w 5383092"/>
              <a:gd name="connsiteY7" fmla="*/ 1679510 h 3370486"/>
              <a:gd name="connsiteX8" fmla="*/ 2817845 w 5383092"/>
              <a:gd name="connsiteY8" fmla="*/ 1909665 h 3370486"/>
              <a:gd name="connsiteX9" fmla="*/ 1125894 w 5383092"/>
              <a:gd name="connsiteY9" fmla="*/ 298579 h 3370486"/>
              <a:gd name="connsiteX10" fmla="*/ 933062 w 5383092"/>
              <a:gd name="connsiteY10" fmla="*/ 211493 h 3370486"/>
              <a:gd name="connsiteX11" fmla="*/ 709126 w 5383092"/>
              <a:gd name="connsiteY11" fmla="*/ 236375 h 3370486"/>
              <a:gd name="connsiteX12" fmla="*/ 0 w 5383092"/>
              <a:gd name="connsiteY12" fmla="*/ 0 h 3370486"/>
              <a:gd name="connsiteX13" fmla="*/ 3346823 w 5383092"/>
              <a:gd name="connsiteY13"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1681 w 5383092"/>
              <a:gd name="connsiteY4" fmla="*/ 2654406 h 3370486"/>
              <a:gd name="connsiteX5" fmla="*/ 4795447 w 5383092"/>
              <a:gd name="connsiteY5" fmla="*/ 2673068 h 3370486"/>
              <a:gd name="connsiteX6" fmla="*/ 3875924 w 5383092"/>
              <a:gd name="connsiteY6" fmla="*/ 1770377 h 3370486"/>
              <a:gd name="connsiteX7" fmla="*/ 3766884 w 5383092"/>
              <a:gd name="connsiteY7" fmla="*/ 1703416 h 3370486"/>
              <a:gd name="connsiteX8" fmla="*/ 2817845 w 5383092"/>
              <a:gd name="connsiteY8" fmla="*/ 1909665 h 3370486"/>
              <a:gd name="connsiteX9" fmla="*/ 1125894 w 5383092"/>
              <a:gd name="connsiteY9" fmla="*/ 298579 h 3370486"/>
              <a:gd name="connsiteX10" fmla="*/ 933062 w 5383092"/>
              <a:gd name="connsiteY10" fmla="*/ 211493 h 3370486"/>
              <a:gd name="connsiteX11" fmla="*/ 709126 w 5383092"/>
              <a:gd name="connsiteY11" fmla="*/ 236375 h 3370486"/>
              <a:gd name="connsiteX12" fmla="*/ 0 w 5383092"/>
              <a:gd name="connsiteY12" fmla="*/ 0 h 3370486"/>
              <a:gd name="connsiteX13" fmla="*/ 3346823 w 5383092"/>
              <a:gd name="connsiteY13"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1681 w 5383092"/>
              <a:gd name="connsiteY4" fmla="*/ 2654406 h 3370486"/>
              <a:gd name="connsiteX5" fmla="*/ 4795447 w 5383092"/>
              <a:gd name="connsiteY5" fmla="*/ 2673068 h 3370486"/>
              <a:gd name="connsiteX6" fmla="*/ 3875924 w 5383092"/>
              <a:gd name="connsiteY6" fmla="*/ 1770377 h 3370486"/>
              <a:gd name="connsiteX7" fmla="*/ 3766884 w 5383092"/>
              <a:gd name="connsiteY7" fmla="*/ 1703416 h 3370486"/>
              <a:gd name="connsiteX8" fmla="*/ 2811868 w 5383092"/>
              <a:gd name="connsiteY8" fmla="*/ 1945523 h 3370486"/>
              <a:gd name="connsiteX9" fmla="*/ 1125894 w 5383092"/>
              <a:gd name="connsiteY9" fmla="*/ 298579 h 3370486"/>
              <a:gd name="connsiteX10" fmla="*/ 933062 w 5383092"/>
              <a:gd name="connsiteY10" fmla="*/ 211493 h 3370486"/>
              <a:gd name="connsiteX11" fmla="*/ 709126 w 5383092"/>
              <a:gd name="connsiteY11" fmla="*/ 236375 h 3370486"/>
              <a:gd name="connsiteX12" fmla="*/ 0 w 5383092"/>
              <a:gd name="connsiteY12" fmla="*/ 0 h 3370486"/>
              <a:gd name="connsiteX13" fmla="*/ 3346823 w 5383092"/>
              <a:gd name="connsiteY13"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1681 w 5383092"/>
              <a:gd name="connsiteY4" fmla="*/ 2654406 h 3370486"/>
              <a:gd name="connsiteX5" fmla="*/ 4795447 w 5383092"/>
              <a:gd name="connsiteY5" fmla="*/ 2673068 h 3370486"/>
              <a:gd name="connsiteX6" fmla="*/ 3875924 w 5383092"/>
              <a:gd name="connsiteY6" fmla="*/ 1770377 h 3370486"/>
              <a:gd name="connsiteX7" fmla="*/ 3766884 w 5383092"/>
              <a:gd name="connsiteY7" fmla="*/ 1703416 h 3370486"/>
              <a:gd name="connsiteX8" fmla="*/ 2817845 w 5383092"/>
              <a:gd name="connsiteY8" fmla="*/ 1969429 h 3370486"/>
              <a:gd name="connsiteX9" fmla="*/ 1125894 w 5383092"/>
              <a:gd name="connsiteY9" fmla="*/ 298579 h 3370486"/>
              <a:gd name="connsiteX10" fmla="*/ 933062 w 5383092"/>
              <a:gd name="connsiteY10" fmla="*/ 211493 h 3370486"/>
              <a:gd name="connsiteX11" fmla="*/ 709126 w 5383092"/>
              <a:gd name="connsiteY11" fmla="*/ 236375 h 3370486"/>
              <a:gd name="connsiteX12" fmla="*/ 0 w 5383092"/>
              <a:gd name="connsiteY12" fmla="*/ 0 h 3370486"/>
              <a:gd name="connsiteX13" fmla="*/ 3346823 w 5383092"/>
              <a:gd name="connsiteY13"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1681 w 5383092"/>
              <a:gd name="connsiteY4" fmla="*/ 2654406 h 3370486"/>
              <a:gd name="connsiteX5" fmla="*/ 4795447 w 5383092"/>
              <a:gd name="connsiteY5" fmla="*/ 2673068 h 3370486"/>
              <a:gd name="connsiteX6" fmla="*/ 3875924 w 5383092"/>
              <a:gd name="connsiteY6" fmla="*/ 1770377 h 3370486"/>
              <a:gd name="connsiteX7" fmla="*/ 3790790 w 5383092"/>
              <a:gd name="connsiteY7" fmla="*/ 1727321 h 3370486"/>
              <a:gd name="connsiteX8" fmla="*/ 2817845 w 5383092"/>
              <a:gd name="connsiteY8" fmla="*/ 1969429 h 3370486"/>
              <a:gd name="connsiteX9" fmla="*/ 1125894 w 5383092"/>
              <a:gd name="connsiteY9" fmla="*/ 298579 h 3370486"/>
              <a:gd name="connsiteX10" fmla="*/ 933062 w 5383092"/>
              <a:gd name="connsiteY10" fmla="*/ 211493 h 3370486"/>
              <a:gd name="connsiteX11" fmla="*/ 709126 w 5383092"/>
              <a:gd name="connsiteY11" fmla="*/ 236375 h 3370486"/>
              <a:gd name="connsiteX12" fmla="*/ 0 w 5383092"/>
              <a:gd name="connsiteY12" fmla="*/ 0 h 3370486"/>
              <a:gd name="connsiteX13" fmla="*/ 3346823 w 5383092"/>
              <a:gd name="connsiteY13"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1681 w 5383092"/>
              <a:gd name="connsiteY4" fmla="*/ 2654406 h 3370486"/>
              <a:gd name="connsiteX5" fmla="*/ 4795447 w 5383092"/>
              <a:gd name="connsiteY5" fmla="*/ 2673068 h 3370486"/>
              <a:gd name="connsiteX6" fmla="*/ 3875924 w 5383092"/>
              <a:gd name="connsiteY6" fmla="*/ 1770377 h 3370486"/>
              <a:gd name="connsiteX7" fmla="*/ 3790790 w 5383092"/>
              <a:gd name="connsiteY7" fmla="*/ 1727321 h 3370486"/>
              <a:gd name="connsiteX8" fmla="*/ 2817845 w 5383092"/>
              <a:gd name="connsiteY8" fmla="*/ 1969429 h 3370486"/>
              <a:gd name="connsiteX9" fmla="*/ 2077006 w 5383092"/>
              <a:gd name="connsiteY9" fmla="*/ 1244447 h 3370486"/>
              <a:gd name="connsiteX10" fmla="*/ 1125894 w 5383092"/>
              <a:gd name="connsiteY10" fmla="*/ 298579 h 3370486"/>
              <a:gd name="connsiteX11" fmla="*/ 933062 w 5383092"/>
              <a:gd name="connsiteY11" fmla="*/ 211493 h 3370486"/>
              <a:gd name="connsiteX12" fmla="*/ 709126 w 5383092"/>
              <a:gd name="connsiteY12" fmla="*/ 236375 h 3370486"/>
              <a:gd name="connsiteX13" fmla="*/ 0 w 5383092"/>
              <a:gd name="connsiteY13" fmla="*/ 0 h 3370486"/>
              <a:gd name="connsiteX14" fmla="*/ 3346823 w 5383092"/>
              <a:gd name="connsiteY14"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1681 w 5383092"/>
              <a:gd name="connsiteY4" fmla="*/ 2654406 h 3370486"/>
              <a:gd name="connsiteX5" fmla="*/ 4795447 w 5383092"/>
              <a:gd name="connsiteY5" fmla="*/ 2673068 h 3370486"/>
              <a:gd name="connsiteX6" fmla="*/ 3875924 w 5383092"/>
              <a:gd name="connsiteY6" fmla="*/ 1770377 h 3370486"/>
              <a:gd name="connsiteX7" fmla="*/ 3790790 w 5383092"/>
              <a:gd name="connsiteY7" fmla="*/ 1727321 h 3370486"/>
              <a:gd name="connsiteX8" fmla="*/ 2817845 w 5383092"/>
              <a:gd name="connsiteY8" fmla="*/ 1969429 h 3370486"/>
              <a:gd name="connsiteX9" fmla="*/ 2082982 w 5383092"/>
              <a:gd name="connsiteY9" fmla="*/ 1214565 h 3370486"/>
              <a:gd name="connsiteX10" fmla="*/ 1125894 w 5383092"/>
              <a:gd name="connsiteY10" fmla="*/ 298579 h 3370486"/>
              <a:gd name="connsiteX11" fmla="*/ 933062 w 5383092"/>
              <a:gd name="connsiteY11" fmla="*/ 211493 h 3370486"/>
              <a:gd name="connsiteX12" fmla="*/ 709126 w 5383092"/>
              <a:gd name="connsiteY12" fmla="*/ 236375 h 3370486"/>
              <a:gd name="connsiteX13" fmla="*/ 0 w 5383092"/>
              <a:gd name="connsiteY13" fmla="*/ 0 h 3370486"/>
              <a:gd name="connsiteX14" fmla="*/ 3346823 w 5383092"/>
              <a:gd name="connsiteY14"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1681 w 5383092"/>
              <a:gd name="connsiteY4" fmla="*/ 2654406 h 3370486"/>
              <a:gd name="connsiteX5" fmla="*/ 4795447 w 5383092"/>
              <a:gd name="connsiteY5" fmla="*/ 2673068 h 3370486"/>
              <a:gd name="connsiteX6" fmla="*/ 3875924 w 5383092"/>
              <a:gd name="connsiteY6" fmla="*/ 1770377 h 3370486"/>
              <a:gd name="connsiteX7" fmla="*/ 3790790 w 5383092"/>
              <a:gd name="connsiteY7" fmla="*/ 1727321 h 3370486"/>
              <a:gd name="connsiteX8" fmla="*/ 2817845 w 5383092"/>
              <a:gd name="connsiteY8" fmla="*/ 1969429 h 3370486"/>
              <a:gd name="connsiteX9" fmla="*/ 2082982 w 5383092"/>
              <a:gd name="connsiteY9" fmla="*/ 1214565 h 3370486"/>
              <a:gd name="connsiteX10" fmla="*/ 1706465 w 5383092"/>
              <a:gd name="connsiteY10" fmla="*/ 850000 h 3370486"/>
              <a:gd name="connsiteX11" fmla="*/ 1125894 w 5383092"/>
              <a:gd name="connsiteY11" fmla="*/ 298579 h 3370486"/>
              <a:gd name="connsiteX12" fmla="*/ 933062 w 5383092"/>
              <a:gd name="connsiteY12" fmla="*/ 211493 h 3370486"/>
              <a:gd name="connsiteX13" fmla="*/ 709126 w 5383092"/>
              <a:gd name="connsiteY13" fmla="*/ 236375 h 3370486"/>
              <a:gd name="connsiteX14" fmla="*/ 0 w 5383092"/>
              <a:gd name="connsiteY14" fmla="*/ 0 h 3370486"/>
              <a:gd name="connsiteX15" fmla="*/ 3346823 w 5383092"/>
              <a:gd name="connsiteY15"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1681 w 5383092"/>
              <a:gd name="connsiteY4" fmla="*/ 2654406 h 3370486"/>
              <a:gd name="connsiteX5" fmla="*/ 4795447 w 5383092"/>
              <a:gd name="connsiteY5" fmla="*/ 2673068 h 3370486"/>
              <a:gd name="connsiteX6" fmla="*/ 3875924 w 5383092"/>
              <a:gd name="connsiteY6" fmla="*/ 1770377 h 3370486"/>
              <a:gd name="connsiteX7" fmla="*/ 3790790 w 5383092"/>
              <a:gd name="connsiteY7" fmla="*/ 1727321 h 3370486"/>
              <a:gd name="connsiteX8" fmla="*/ 2817845 w 5383092"/>
              <a:gd name="connsiteY8" fmla="*/ 1969429 h 3370486"/>
              <a:gd name="connsiteX9" fmla="*/ 2082982 w 5383092"/>
              <a:gd name="connsiteY9" fmla="*/ 1214565 h 3370486"/>
              <a:gd name="connsiteX10" fmla="*/ 1975406 w 5383092"/>
              <a:gd name="connsiteY10" fmla="*/ 1214565 h 3370486"/>
              <a:gd name="connsiteX11" fmla="*/ 1125894 w 5383092"/>
              <a:gd name="connsiteY11" fmla="*/ 298579 h 3370486"/>
              <a:gd name="connsiteX12" fmla="*/ 933062 w 5383092"/>
              <a:gd name="connsiteY12" fmla="*/ 211493 h 3370486"/>
              <a:gd name="connsiteX13" fmla="*/ 709126 w 5383092"/>
              <a:gd name="connsiteY13" fmla="*/ 236375 h 3370486"/>
              <a:gd name="connsiteX14" fmla="*/ 0 w 5383092"/>
              <a:gd name="connsiteY14" fmla="*/ 0 h 3370486"/>
              <a:gd name="connsiteX15" fmla="*/ 3346823 w 5383092"/>
              <a:gd name="connsiteY15"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1681 w 5383092"/>
              <a:gd name="connsiteY4" fmla="*/ 2654406 h 3370486"/>
              <a:gd name="connsiteX5" fmla="*/ 4795447 w 5383092"/>
              <a:gd name="connsiteY5" fmla="*/ 2673068 h 3370486"/>
              <a:gd name="connsiteX6" fmla="*/ 3875924 w 5383092"/>
              <a:gd name="connsiteY6" fmla="*/ 1770377 h 3370486"/>
              <a:gd name="connsiteX7" fmla="*/ 3790790 w 5383092"/>
              <a:gd name="connsiteY7" fmla="*/ 1727321 h 3370486"/>
              <a:gd name="connsiteX8" fmla="*/ 2817845 w 5383092"/>
              <a:gd name="connsiteY8" fmla="*/ 1969429 h 3370486"/>
              <a:gd name="connsiteX9" fmla="*/ 2082982 w 5383092"/>
              <a:gd name="connsiteY9" fmla="*/ 1214565 h 3370486"/>
              <a:gd name="connsiteX10" fmla="*/ 1975406 w 5383092"/>
              <a:gd name="connsiteY10" fmla="*/ 1214565 h 3370486"/>
              <a:gd name="connsiteX11" fmla="*/ 1849900 w 5383092"/>
              <a:gd name="connsiteY11" fmla="*/ 1083083 h 3370486"/>
              <a:gd name="connsiteX12" fmla="*/ 1125894 w 5383092"/>
              <a:gd name="connsiteY12" fmla="*/ 298579 h 3370486"/>
              <a:gd name="connsiteX13" fmla="*/ 933062 w 5383092"/>
              <a:gd name="connsiteY13" fmla="*/ 211493 h 3370486"/>
              <a:gd name="connsiteX14" fmla="*/ 709126 w 5383092"/>
              <a:gd name="connsiteY14" fmla="*/ 236375 h 3370486"/>
              <a:gd name="connsiteX15" fmla="*/ 0 w 5383092"/>
              <a:gd name="connsiteY15" fmla="*/ 0 h 3370486"/>
              <a:gd name="connsiteX16" fmla="*/ 3346823 w 5383092"/>
              <a:gd name="connsiteY16"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1681 w 5383092"/>
              <a:gd name="connsiteY4" fmla="*/ 2654406 h 3370486"/>
              <a:gd name="connsiteX5" fmla="*/ 4795447 w 5383092"/>
              <a:gd name="connsiteY5" fmla="*/ 2673068 h 3370486"/>
              <a:gd name="connsiteX6" fmla="*/ 3875924 w 5383092"/>
              <a:gd name="connsiteY6" fmla="*/ 1770377 h 3370486"/>
              <a:gd name="connsiteX7" fmla="*/ 3790790 w 5383092"/>
              <a:gd name="connsiteY7" fmla="*/ 1727321 h 3370486"/>
              <a:gd name="connsiteX8" fmla="*/ 2817845 w 5383092"/>
              <a:gd name="connsiteY8" fmla="*/ 1969429 h 3370486"/>
              <a:gd name="connsiteX9" fmla="*/ 2082982 w 5383092"/>
              <a:gd name="connsiteY9" fmla="*/ 1214565 h 3370486"/>
              <a:gd name="connsiteX10" fmla="*/ 1975406 w 5383092"/>
              <a:gd name="connsiteY10" fmla="*/ 1214565 h 3370486"/>
              <a:gd name="connsiteX11" fmla="*/ 1849900 w 5383092"/>
              <a:gd name="connsiteY11" fmla="*/ 1083083 h 3370486"/>
              <a:gd name="connsiteX12" fmla="*/ 1766230 w 5383092"/>
              <a:gd name="connsiteY12" fmla="*/ 999412 h 3370486"/>
              <a:gd name="connsiteX13" fmla="*/ 1125894 w 5383092"/>
              <a:gd name="connsiteY13" fmla="*/ 298579 h 3370486"/>
              <a:gd name="connsiteX14" fmla="*/ 933062 w 5383092"/>
              <a:gd name="connsiteY14" fmla="*/ 211493 h 3370486"/>
              <a:gd name="connsiteX15" fmla="*/ 709126 w 5383092"/>
              <a:gd name="connsiteY15" fmla="*/ 236375 h 3370486"/>
              <a:gd name="connsiteX16" fmla="*/ 0 w 5383092"/>
              <a:gd name="connsiteY16" fmla="*/ 0 h 3370486"/>
              <a:gd name="connsiteX17" fmla="*/ 3346823 w 5383092"/>
              <a:gd name="connsiteY17"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1681 w 5383092"/>
              <a:gd name="connsiteY4" fmla="*/ 2654406 h 3370486"/>
              <a:gd name="connsiteX5" fmla="*/ 4795447 w 5383092"/>
              <a:gd name="connsiteY5" fmla="*/ 2673068 h 3370486"/>
              <a:gd name="connsiteX6" fmla="*/ 3875924 w 5383092"/>
              <a:gd name="connsiteY6" fmla="*/ 1770377 h 3370486"/>
              <a:gd name="connsiteX7" fmla="*/ 3790790 w 5383092"/>
              <a:gd name="connsiteY7" fmla="*/ 1727321 h 3370486"/>
              <a:gd name="connsiteX8" fmla="*/ 2817845 w 5383092"/>
              <a:gd name="connsiteY8" fmla="*/ 1969429 h 3370486"/>
              <a:gd name="connsiteX9" fmla="*/ 2082982 w 5383092"/>
              <a:gd name="connsiteY9" fmla="*/ 1214565 h 3370486"/>
              <a:gd name="connsiteX10" fmla="*/ 1975406 w 5383092"/>
              <a:gd name="connsiteY10" fmla="*/ 1214565 h 3370486"/>
              <a:gd name="connsiteX11" fmla="*/ 1849900 w 5383092"/>
              <a:gd name="connsiteY11" fmla="*/ 1083083 h 3370486"/>
              <a:gd name="connsiteX12" fmla="*/ 1915641 w 5383092"/>
              <a:gd name="connsiteY12" fmla="*/ 1047223 h 3370486"/>
              <a:gd name="connsiteX13" fmla="*/ 1125894 w 5383092"/>
              <a:gd name="connsiteY13" fmla="*/ 298579 h 3370486"/>
              <a:gd name="connsiteX14" fmla="*/ 933062 w 5383092"/>
              <a:gd name="connsiteY14" fmla="*/ 211493 h 3370486"/>
              <a:gd name="connsiteX15" fmla="*/ 709126 w 5383092"/>
              <a:gd name="connsiteY15" fmla="*/ 236375 h 3370486"/>
              <a:gd name="connsiteX16" fmla="*/ 0 w 5383092"/>
              <a:gd name="connsiteY16" fmla="*/ 0 h 3370486"/>
              <a:gd name="connsiteX17" fmla="*/ 3346823 w 5383092"/>
              <a:gd name="connsiteY17"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1681 w 5383092"/>
              <a:gd name="connsiteY4" fmla="*/ 2654406 h 3370486"/>
              <a:gd name="connsiteX5" fmla="*/ 4795447 w 5383092"/>
              <a:gd name="connsiteY5" fmla="*/ 2673068 h 3370486"/>
              <a:gd name="connsiteX6" fmla="*/ 3875924 w 5383092"/>
              <a:gd name="connsiteY6" fmla="*/ 1770377 h 3370486"/>
              <a:gd name="connsiteX7" fmla="*/ 3790790 w 5383092"/>
              <a:gd name="connsiteY7" fmla="*/ 1727321 h 3370486"/>
              <a:gd name="connsiteX8" fmla="*/ 2817845 w 5383092"/>
              <a:gd name="connsiteY8" fmla="*/ 1969429 h 3370486"/>
              <a:gd name="connsiteX9" fmla="*/ 2082982 w 5383092"/>
              <a:gd name="connsiteY9" fmla="*/ 1214565 h 3370486"/>
              <a:gd name="connsiteX10" fmla="*/ 1975406 w 5383092"/>
              <a:gd name="connsiteY10" fmla="*/ 1214565 h 3370486"/>
              <a:gd name="connsiteX11" fmla="*/ 1831971 w 5383092"/>
              <a:gd name="connsiteY11" fmla="*/ 1041247 h 3370486"/>
              <a:gd name="connsiteX12" fmla="*/ 1915641 w 5383092"/>
              <a:gd name="connsiteY12" fmla="*/ 1047223 h 3370486"/>
              <a:gd name="connsiteX13" fmla="*/ 1125894 w 5383092"/>
              <a:gd name="connsiteY13" fmla="*/ 298579 h 3370486"/>
              <a:gd name="connsiteX14" fmla="*/ 933062 w 5383092"/>
              <a:gd name="connsiteY14" fmla="*/ 211493 h 3370486"/>
              <a:gd name="connsiteX15" fmla="*/ 709126 w 5383092"/>
              <a:gd name="connsiteY15" fmla="*/ 236375 h 3370486"/>
              <a:gd name="connsiteX16" fmla="*/ 0 w 5383092"/>
              <a:gd name="connsiteY16" fmla="*/ 0 h 3370486"/>
              <a:gd name="connsiteX17" fmla="*/ 3346823 w 5383092"/>
              <a:gd name="connsiteY17"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1681 w 5383092"/>
              <a:gd name="connsiteY4" fmla="*/ 2654406 h 3370486"/>
              <a:gd name="connsiteX5" fmla="*/ 4795447 w 5383092"/>
              <a:gd name="connsiteY5" fmla="*/ 2673068 h 3370486"/>
              <a:gd name="connsiteX6" fmla="*/ 3875924 w 5383092"/>
              <a:gd name="connsiteY6" fmla="*/ 1770377 h 3370486"/>
              <a:gd name="connsiteX7" fmla="*/ 3790790 w 5383092"/>
              <a:gd name="connsiteY7" fmla="*/ 1727321 h 3370486"/>
              <a:gd name="connsiteX8" fmla="*/ 2817845 w 5383092"/>
              <a:gd name="connsiteY8" fmla="*/ 1969429 h 3370486"/>
              <a:gd name="connsiteX9" fmla="*/ 2082982 w 5383092"/>
              <a:gd name="connsiteY9" fmla="*/ 1214565 h 3370486"/>
              <a:gd name="connsiteX10" fmla="*/ 1975406 w 5383092"/>
              <a:gd name="connsiteY10" fmla="*/ 1214565 h 3370486"/>
              <a:gd name="connsiteX11" fmla="*/ 1831971 w 5383092"/>
              <a:gd name="connsiteY11" fmla="*/ 1041247 h 3370486"/>
              <a:gd name="connsiteX12" fmla="*/ 1915641 w 5383092"/>
              <a:gd name="connsiteY12" fmla="*/ 1047223 h 3370486"/>
              <a:gd name="connsiteX13" fmla="*/ 1179682 w 5383092"/>
              <a:gd name="connsiteY13" fmla="*/ 322485 h 3370486"/>
              <a:gd name="connsiteX14" fmla="*/ 933062 w 5383092"/>
              <a:gd name="connsiteY14" fmla="*/ 211493 h 3370486"/>
              <a:gd name="connsiteX15" fmla="*/ 709126 w 5383092"/>
              <a:gd name="connsiteY15" fmla="*/ 236375 h 3370486"/>
              <a:gd name="connsiteX16" fmla="*/ 0 w 5383092"/>
              <a:gd name="connsiteY16" fmla="*/ 0 h 3370486"/>
              <a:gd name="connsiteX17" fmla="*/ 3346823 w 5383092"/>
              <a:gd name="connsiteY17"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1681 w 5383092"/>
              <a:gd name="connsiteY4" fmla="*/ 2654406 h 3370486"/>
              <a:gd name="connsiteX5" fmla="*/ 4795447 w 5383092"/>
              <a:gd name="connsiteY5" fmla="*/ 2673068 h 3370486"/>
              <a:gd name="connsiteX6" fmla="*/ 3875924 w 5383092"/>
              <a:gd name="connsiteY6" fmla="*/ 1770377 h 3370486"/>
              <a:gd name="connsiteX7" fmla="*/ 3790790 w 5383092"/>
              <a:gd name="connsiteY7" fmla="*/ 1727321 h 3370486"/>
              <a:gd name="connsiteX8" fmla="*/ 2817845 w 5383092"/>
              <a:gd name="connsiteY8" fmla="*/ 1969429 h 3370486"/>
              <a:gd name="connsiteX9" fmla="*/ 2082982 w 5383092"/>
              <a:gd name="connsiteY9" fmla="*/ 1214565 h 3370486"/>
              <a:gd name="connsiteX10" fmla="*/ 1975406 w 5383092"/>
              <a:gd name="connsiteY10" fmla="*/ 1214565 h 3370486"/>
              <a:gd name="connsiteX11" fmla="*/ 1831971 w 5383092"/>
              <a:gd name="connsiteY11" fmla="*/ 1041247 h 3370486"/>
              <a:gd name="connsiteX12" fmla="*/ 1915641 w 5383092"/>
              <a:gd name="connsiteY12" fmla="*/ 1047223 h 3370486"/>
              <a:gd name="connsiteX13" fmla="*/ 1179682 w 5383092"/>
              <a:gd name="connsiteY13" fmla="*/ 322485 h 3370486"/>
              <a:gd name="connsiteX14" fmla="*/ 1031124 w 5383092"/>
              <a:gd name="connsiteY14" fmla="*/ 228447 h 3370486"/>
              <a:gd name="connsiteX15" fmla="*/ 933062 w 5383092"/>
              <a:gd name="connsiteY15" fmla="*/ 211493 h 3370486"/>
              <a:gd name="connsiteX16" fmla="*/ 709126 w 5383092"/>
              <a:gd name="connsiteY16" fmla="*/ 236375 h 3370486"/>
              <a:gd name="connsiteX17" fmla="*/ 0 w 5383092"/>
              <a:gd name="connsiteY17" fmla="*/ 0 h 3370486"/>
              <a:gd name="connsiteX18" fmla="*/ 3346823 w 5383092"/>
              <a:gd name="connsiteY18"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1681 w 5383092"/>
              <a:gd name="connsiteY4" fmla="*/ 2654406 h 3370486"/>
              <a:gd name="connsiteX5" fmla="*/ 4795447 w 5383092"/>
              <a:gd name="connsiteY5" fmla="*/ 2673068 h 3370486"/>
              <a:gd name="connsiteX6" fmla="*/ 3875924 w 5383092"/>
              <a:gd name="connsiteY6" fmla="*/ 1770377 h 3370486"/>
              <a:gd name="connsiteX7" fmla="*/ 3790790 w 5383092"/>
              <a:gd name="connsiteY7" fmla="*/ 1727321 h 3370486"/>
              <a:gd name="connsiteX8" fmla="*/ 2817845 w 5383092"/>
              <a:gd name="connsiteY8" fmla="*/ 1969429 h 3370486"/>
              <a:gd name="connsiteX9" fmla="*/ 2082982 w 5383092"/>
              <a:gd name="connsiteY9" fmla="*/ 1214565 h 3370486"/>
              <a:gd name="connsiteX10" fmla="*/ 1975406 w 5383092"/>
              <a:gd name="connsiteY10" fmla="*/ 1214565 h 3370486"/>
              <a:gd name="connsiteX11" fmla="*/ 1831971 w 5383092"/>
              <a:gd name="connsiteY11" fmla="*/ 1041247 h 3370486"/>
              <a:gd name="connsiteX12" fmla="*/ 1915641 w 5383092"/>
              <a:gd name="connsiteY12" fmla="*/ 1047223 h 3370486"/>
              <a:gd name="connsiteX13" fmla="*/ 1179682 w 5383092"/>
              <a:gd name="connsiteY13" fmla="*/ 322485 h 3370486"/>
              <a:gd name="connsiteX14" fmla="*/ 1072959 w 5383092"/>
              <a:gd name="connsiteY14" fmla="*/ 198565 h 3370486"/>
              <a:gd name="connsiteX15" fmla="*/ 933062 w 5383092"/>
              <a:gd name="connsiteY15" fmla="*/ 211493 h 3370486"/>
              <a:gd name="connsiteX16" fmla="*/ 709126 w 5383092"/>
              <a:gd name="connsiteY16" fmla="*/ 236375 h 3370486"/>
              <a:gd name="connsiteX17" fmla="*/ 0 w 5383092"/>
              <a:gd name="connsiteY17" fmla="*/ 0 h 3370486"/>
              <a:gd name="connsiteX18" fmla="*/ 3346823 w 5383092"/>
              <a:gd name="connsiteY18"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1681 w 5383092"/>
              <a:gd name="connsiteY4" fmla="*/ 2654406 h 3370486"/>
              <a:gd name="connsiteX5" fmla="*/ 4795447 w 5383092"/>
              <a:gd name="connsiteY5" fmla="*/ 2673068 h 3370486"/>
              <a:gd name="connsiteX6" fmla="*/ 3875924 w 5383092"/>
              <a:gd name="connsiteY6" fmla="*/ 1770377 h 3370486"/>
              <a:gd name="connsiteX7" fmla="*/ 3790790 w 5383092"/>
              <a:gd name="connsiteY7" fmla="*/ 1727321 h 3370486"/>
              <a:gd name="connsiteX8" fmla="*/ 2817845 w 5383092"/>
              <a:gd name="connsiteY8" fmla="*/ 1969429 h 3370486"/>
              <a:gd name="connsiteX9" fmla="*/ 2082982 w 5383092"/>
              <a:gd name="connsiteY9" fmla="*/ 1214565 h 3370486"/>
              <a:gd name="connsiteX10" fmla="*/ 1975406 w 5383092"/>
              <a:gd name="connsiteY10" fmla="*/ 1214565 h 3370486"/>
              <a:gd name="connsiteX11" fmla="*/ 1831971 w 5383092"/>
              <a:gd name="connsiteY11" fmla="*/ 1041247 h 3370486"/>
              <a:gd name="connsiteX12" fmla="*/ 1915641 w 5383092"/>
              <a:gd name="connsiteY12" fmla="*/ 1047223 h 3370486"/>
              <a:gd name="connsiteX13" fmla="*/ 1179682 w 5383092"/>
              <a:gd name="connsiteY13" fmla="*/ 322485 h 3370486"/>
              <a:gd name="connsiteX14" fmla="*/ 1072959 w 5383092"/>
              <a:gd name="connsiteY14" fmla="*/ 198565 h 3370486"/>
              <a:gd name="connsiteX15" fmla="*/ 933062 w 5383092"/>
              <a:gd name="connsiteY15" fmla="*/ 211493 h 3370486"/>
              <a:gd name="connsiteX16" fmla="*/ 655338 w 5383092"/>
              <a:gd name="connsiteY16" fmla="*/ 284187 h 3370486"/>
              <a:gd name="connsiteX17" fmla="*/ 0 w 5383092"/>
              <a:gd name="connsiteY17" fmla="*/ 0 h 3370486"/>
              <a:gd name="connsiteX18" fmla="*/ 3346823 w 5383092"/>
              <a:gd name="connsiteY18"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1681 w 5383092"/>
              <a:gd name="connsiteY4" fmla="*/ 2654406 h 3370486"/>
              <a:gd name="connsiteX5" fmla="*/ 4795447 w 5383092"/>
              <a:gd name="connsiteY5" fmla="*/ 2673068 h 3370486"/>
              <a:gd name="connsiteX6" fmla="*/ 3875924 w 5383092"/>
              <a:gd name="connsiteY6" fmla="*/ 1770377 h 3370486"/>
              <a:gd name="connsiteX7" fmla="*/ 3790790 w 5383092"/>
              <a:gd name="connsiteY7" fmla="*/ 1727321 h 3370486"/>
              <a:gd name="connsiteX8" fmla="*/ 2817845 w 5383092"/>
              <a:gd name="connsiteY8" fmla="*/ 1969429 h 3370486"/>
              <a:gd name="connsiteX9" fmla="*/ 2082982 w 5383092"/>
              <a:gd name="connsiteY9" fmla="*/ 1214565 h 3370486"/>
              <a:gd name="connsiteX10" fmla="*/ 1975406 w 5383092"/>
              <a:gd name="connsiteY10" fmla="*/ 1214565 h 3370486"/>
              <a:gd name="connsiteX11" fmla="*/ 1831971 w 5383092"/>
              <a:gd name="connsiteY11" fmla="*/ 1041247 h 3370486"/>
              <a:gd name="connsiteX12" fmla="*/ 1915641 w 5383092"/>
              <a:gd name="connsiteY12" fmla="*/ 1047223 h 3370486"/>
              <a:gd name="connsiteX13" fmla="*/ 1179682 w 5383092"/>
              <a:gd name="connsiteY13" fmla="*/ 322485 h 3370486"/>
              <a:gd name="connsiteX14" fmla="*/ 1072959 w 5383092"/>
              <a:gd name="connsiteY14" fmla="*/ 198565 h 3370486"/>
              <a:gd name="connsiteX15" fmla="*/ 655338 w 5383092"/>
              <a:gd name="connsiteY15" fmla="*/ 284187 h 3370486"/>
              <a:gd name="connsiteX16" fmla="*/ 0 w 5383092"/>
              <a:gd name="connsiteY16" fmla="*/ 0 h 3370486"/>
              <a:gd name="connsiteX17" fmla="*/ 3346823 w 5383092"/>
              <a:gd name="connsiteY17"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1681 w 5383092"/>
              <a:gd name="connsiteY4" fmla="*/ 2654406 h 3370486"/>
              <a:gd name="connsiteX5" fmla="*/ 4795447 w 5383092"/>
              <a:gd name="connsiteY5" fmla="*/ 2673068 h 3370486"/>
              <a:gd name="connsiteX6" fmla="*/ 3875924 w 5383092"/>
              <a:gd name="connsiteY6" fmla="*/ 1770377 h 3370486"/>
              <a:gd name="connsiteX7" fmla="*/ 3790790 w 5383092"/>
              <a:gd name="connsiteY7" fmla="*/ 1727321 h 3370486"/>
              <a:gd name="connsiteX8" fmla="*/ 2817845 w 5383092"/>
              <a:gd name="connsiteY8" fmla="*/ 1969429 h 3370486"/>
              <a:gd name="connsiteX9" fmla="*/ 2082982 w 5383092"/>
              <a:gd name="connsiteY9" fmla="*/ 1214565 h 3370486"/>
              <a:gd name="connsiteX10" fmla="*/ 1975406 w 5383092"/>
              <a:gd name="connsiteY10" fmla="*/ 1214565 h 3370486"/>
              <a:gd name="connsiteX11" fmla="*/ 1831971 w 5383092"/>
              <a:gd name="connsiteY11" fmla="*/ 1041247 h 3370486"/>
              <a:gd name="connsiteX12" fmla="*/ 1915641 w 5383092"/>
              <a:gd name="connsiteY12" fmla="*/ 1047223 h 3370486"/>
              <a:gd name="connsiteX13" fmla="*/ 1179682 w 5383092"/>
              <a:gd name="connsiteY13" fmla="*/ 322485 h 3370486"/>
              <a:gd name="connsiteX14" fmla="*/ 1072959 w 5383092"/>
              <a:gd name="connsiteY14" fmla="*/ 198565 h 3370486"/>
              <a:gd name="connsiteX15" fmla="*/ 655338 w 5383092"/>
              <a:gd name="connsiteY15" fmla="*/ 284187 h 3370486"/>
              <a:gd name="connsiteX16" fmla="*/ 0 w 5383092"/>
              <a:gd name="connsiteY16" fmla="*/ 0 h 3370486"/>
              <a:gd name="connsiteX17" fmla="*/ 3346823 w 5383092"/>
              <a:gd name="connsiteY17" fmla="*/ 3370486 h 3370486"/>
              <a:gd name="connsiteX0" fmla="*/ 3346823 w 5383092"/>
              <a:gd name="connsiteY0" fmla="*/ 3370486 h 3370486"/>
              <a:gd name="connsiteX1" fmla="*/ 5383092 w 5383092"/>
              <a:gd name="connsiteY1" fmla="*/ 2848215 h 3370486"/>
              <a:gd name="connsiteX2" fmla="*/ 5368944 w 5383092"/>
              <a:gd name="connsiteY2" fmla="*/ 2816381 h 3370486"/>
              <a:gd name="connsiteX3" fmla="*/ 5138789 w 5383092"/>
              <a:gd name="connsiteY3" fmla="*/ 2871876 h 3370486"/>
              <a:gd name="connsiteX4" fmla="*/ 4901681 w 5383092"/>
              <a:gd name="connsiteY4" fmla="*/ 2654406 h 3370486"/>
              <a:gd name="connsiteX5" fmla="*/ 4795447 w 5383092"/>
              <a:gd name="connsiteY5" fmla="*/ 2673068 h 3370486"/>
              <a:gd name="connsiteX6" fmla="*/ 3875924 w 5383092"/>
              <a:gd name="connsiteY6" fmla="*/ 1770377 h 3370486"/>
              <a:gd name="connsiteX7" fmla="*/ 3790790 w 5383092"/>
              <a:gd name="connsiteY7" fmla="*/ 1727321 h 3370486"/>
              <a:gd name="connsiteX8" fmla="*/ 2817845 w 5383092"/>
              <a:gd name="connsiteY8" fmla="*/ 1969429 h 3370486"/>
              <a:gd name="connsiteX9" fmla="*/ 2082982 w 5383092"/>
              <a:gd name="connsiteY9" fmla="*/ 1214565 h 3370486"/>
              <a:gd name="connsiteX10" fmla="*/ 1975406 w 5383092"/>
              <a:gd name="connsiteY10" fmla="*/ 1214565 h 3370486"/>
              <a:gd name="connsiteX11" fmla="*/ 1831971 w 5383092"/>
              <a:gd name="connsiteY11" fmla="*/ 1041247 h 3370486"/>
              <a:gd name="connsiteX12" fmla="*/ 1915641 w 5383092"/>
              <a:gd name="connsiteY12" fmla="*/ 1047223 h 3370486"/>
              <a:gd name="connsiteX13" fmla="*/ 1179682 w 5383092"/>
              <a:gd name="connsiteY13" fmla="*/ 322485 h 3370486"/>
              <a:gd name="connsiteX14" fmla="*/ 1072959 w 5383092"/>
              <a:gd name="connsiteY14" fmla="*/ 198565 h 3370486"/>
              <a:gd name="connsiteX15" fmla="*/ 655338 w 5383092"/>
              <a:gd name="connsiteY15" fmla="*/ 284187 h 3370486"/>
              <a:gd name="connsiteX16" fmla="*/ 0 w 5383092"/>
              <a:gd name="connsiteY16" fmla="*/ 0 h 3370486"/>
              <a:gd name="connsiteX17" fmla="*/ 3346823 w 5383092"/>
              <a:gd name="connsiteY17" fmla="*/ 3370486 h 3370486"/>
              <a:gd name="connsiteX0" fmla="*/ 3287058 w 5323327"/>
              <a:gd name="connsiteY0" fmla="*/ 3298768 h 3298768"/>
              <a:gd name="connsiteX1" fmla="*/ 5323327 w 5323327"/>
              <a:gd name="connsiteY1" fmla="*/ 2776497 h 3298768"/>
              <a:gd name="connsiteX2" fmla="*/ 5309179 w 5323327"/>
              <a:gd name="connsiteY2" fmla="*/ 2744663 h 3298768"/>
              <a:gd name="connsiteX3" fmla="*/ 5079024 w 5323327"/>
              <a:gd name="connsiteY3" fmla="*/ 2800158 h 3298768"/>
              <a:gd name="connsiteX4" fmla="*/ 4841916 w 5323327"/>
              <a:gd name="connsiteY4" fmla="*/ 2582688 h 3298768"/>
              <a:gd name="connsiteX5" fmla="*/ 4735682 w 5323327"/>
              <a:gd name="connsiteY5" fmla="*/ 2601350 h 3298768"/>
              <a:gd name="connsiteX6" fmla="*/ 3816159 w 5323327"/>
              <a:gd name="connsiteY6" fmla="*/ 1698659 h 3298768"/>
              <a:gd name="connsiteX7" fmla="*/ 3731025 w 5323327"/>
              <a:gd name="connsiteY7" fmla="*/ 1655603 h 3298768"/>
              <a:gd name="connsiteX8" fmla="*/ 2758080 w 5323327"/>
              <a:gd name="connsiteY8" fmla="*/ 1897711 h 3298768"/>
              <a:gd name="connsiteX9" fmla="*/ 2023217 w 5323327"/>
              <a:gd name="connsiteY9" fmla="*/ 1142847 h 3298768"/>
              <a:gd name="connsiteX10" fmla="*/ 1915641 w 5323327"/>
              <a:gd name="connsiteY10" fmla="*/ 1142847 h 3298768"/>
              <a:gd name="connsiteX11" fmla="*/ 1772206 w 5323327"/>
              <a:gd name="connsiteY11" fmla="*/ 969529 h 3298768"/>
              <a:gd name="connsiteX12" fmla="*/ 1855876 w 5323327"/>
              <a:gd name="connsiteY12" fmla="*/ 975505 h 3298768"/>
              <a:gd name="connsiteX13" fmla="*/ 1119917 w 5323327"/>
              <a:gd name="connsiteY13" fmla="*/ 250767 h 3298768"/>
              <a:gd name="connsiteX14" fmla="*/ 1013194 w 5323327"/>
              <a:gd name="connsiteY14" fmla="*/ 126847 h 3298768"/>
              <a:gd name="connsiteX15" fmla="*/ 595573 w 5323327"/>
              <a:gd name="connsiteY15" fmla="*/ 212469 h 3298768"/>
              <a:gd name="connsiteX16" fmla="*/ 0 w 5323327"/>
              <a:gd name="connsiteY16" fmla="*/ 0 h 3298768"/>
              <a:gd name="connsiteX17" fmla="*/ 3287058 w 5323327"/>
              <a:gd name="connsiteY17" fmla="*/ 3298768 h 3298768"/>
              <a:gd name="connsiteX0" fmla="*/ 3287058 w 5323327"/>
              <a:gd name="connsiteY0" fmla="*/ 3298768 h 3298768"/>
              <a:gd name="connsiteX1" fmla="*/ 5323327 w 5323327"/>
              <a:gd name="connsiteY1" fmla="*/ 2776497 h 3298768"/>
              <a:gd name="connsiteX2" fmla="*/ 5309179 w 5323327"/>
              <a:gd name="connsiteY2" fmla="*/ 2744663 h 3298768"/>
              <a:gd name="connsiteX3" fmla="*/ 5079024 w 5323327"/>
              <a:gd name="connsiteY3" fmla="*/ 2800158 h 3298768"/>
              <a:gd name="connsiteX4" fmla="*/ 4841916 w 5323327"/>
              <a:gd name="connsiteY4" fmla="*/ 2582688 h 3298768"/>
              <a:gd name="connsiteX5" fmla="*/ 4735682 w 5323327"/>
              <a:gd name="connsiteY5" fmla="*/ 2601350 h 3298768"/>
              <a:gd name="connsiteX6" fmla="*/ 3816159 w 5323327"/>
              <a:gd name="connsiteY6" fmla="*/ 1698659 h 3298768"/>
              <a:gd name="connsiteX7" fmla="*/ 3731025 w 5323327"/>
              <a:gd name="connsiteY7" fmla="*/ 1655603 h 3298768"/>
              <a:gd name="connsiteX8" fmla="*/ 2758080 w 5323327"/>
              <a:gd name="connsiteY8" fmla="*/ 1897711 h 3298768"/>
              <a:gd name="connsiteX9" fmla="*/ 2023217 w 5323327"/>
              <a:gd name="connsiteY9" fmla="*/ 1142847 h 3298768"/>
              <a:gd name="connsiteX10" fmla="*/ 1915641 w 5323327"/>
              <a:gd name="connsiteY10" fmla="*/ 1142847 h 3298768"/>
              <a:gd name="connsiteX11" fmla="*/ 1772206 w 5323327"/>
              <a:gd name="connsiteY11" fmla="*/ 969529 h 3298768"/>
              <a:gd name="connsiteX12" fmla="*/ 1855876 w 5323327"/>
              <a:gd name="connsiteY12" fmla="*/ 975505 h 3298768"/>
              <a:gd name="connsiteX13" fmla="*/ 1119917 w 5323327"/>
              <a:gd name="connsiteY13" fmla="*/ 250767 h 3298768"/>
              <a:gd name="connsiteX14" fmla="*/ 1013194 w 5323327"/>
              <a:gd name="connsiteY14" fmla="*/ 126847 h 3298768"/>
              <a:gd name="connsiteX15" fmla="*/ 595573 w 5323327"/>
              <a:gd name="connsiteY15" fmla="*/ 212469 h 3298768"/>
              <a:gd name="connsiteX16" fmla="*/ 0 w 5323327"/>
              <a:gd name="connsiteY16" fmla="*/ 0 h 3298768"/>
              <a:gd name="connsiteX17" fmla="*/ 1312018 w 5323327"/>
              <a:gd name="connsiteY17" fmla="*/ 1346047 h 3298768"/>
              <a:gd name="connsiteX18" fmla="*/ 3287058 w 5323327"/>
              <a:gd name="connsiteY18" fmla="*/ 3298768 h 3298768"/>
              <a:gd name="connsiteX0" fmla="*/ 3287058 w 5323327"/>
              <a:gd name="connsiteY0" fmla="*/ 3298768 h 3298768"/>
              <a:gd name="connsiteX1" fmla="*/ 5323327 w 5323327"/>
              <a:gd name="connsiteY1" fmla="*/ 2776497 h 3298768"/>
              <a:gd name="connsiteX2" fmla="*/ 5309179 w 5323327"/>
              <a:gd name="connsiteY2" fmla="*/ 2744663 h 3298768"/>
              <a:gd name="connsiteX3" fmla="*/ 5079024 w 5323327"/>
              <a:gd name="connsiteY3" fmla="*/ 2800158 h 3298768"/>
              <a:gd name="connsiteX4" fmla="*/ 4841916 w 5323327"/>
              <a:gd name="connsiteY4" fmla="*/ 2582688 h 3298768"/>
              <a:gd name="connsiteX5" fmla="*/ 4735682 w 5323327"/>
              <a:gd name="connsiteY5" fmla="*/ 2601350 h 3298768"/>
              <a:gd name="connsiteX6" fmla="*/ 3816159 w 5323327"/>
              <a:gd name="connsiteY6" fmla="*/ 1698659 h 3298768"/>
              <a:gd name="connsiteX7" fmla="*/ 3731025 w 5323327"/>
              <a:gd name="connsiteY7" fmla="*/ 1655603 h 3298768"/>
              <a:gd name="connsiteX8" fmla="*/ 2758080 w 5323327"/>
              <a:gd name="connsiteY8" fmla="*/ 1897711 h 3298768"/>
              <a:gd name="connsiteX9" fmla="*/ 2023217 w 5323327"/>
              <a:gd name="connsiteY9" fmla="*/ 1142847 h 3298768"/>
              <a:gd name="connsiteX10" fmla="*/ 1915641 w 5323327"/>
              <a:gd name="connsiteY10" fmla="*/ 1142847 h 3298768"/>
              <a:gd name="connsiteX11" fmla="*/ 1772206 w 5323327"/>
              <a:gd name="connsiteY11" fmla="*/ 969529 h 3298768"/>
              <a:gd name="connsiteX12" fmla="*/ 1855876 w 5323327"/>
              <a:gd name="connsiteY12" fmla="*/ 975505 h 3298768"/>
              <a:gd name="connsiteX13" fmla="*/ 1119917 w 5323327"/>
              <a:gd name="connsiteY13" fmla="*/ 250767 h 3298768"/>
              <a:gd name="connsiteX14" fmla="*/ 1013194 w 5323327"/>
              <a:gd name="connsiteY14" fmla="*/ 126847 h 3298768"/>
              <a:gd name="connsiteX15" fmla="*/ 595573 w 5323327"/>
              <a:gd name="connsiteY15" fmla="*/ 212469 h 3298768"/>
              <a:gd name="connsiteX16" fmla="*/ 0 w 5323327"/>
              <a:gd name="connsiteY16" fmla="*/ 0 h 3298768"/>
              <a:gd name="connsiteX17" fmla="*/ 1306042 w 5323327"/>
              <a:gd name="connsiteY17" fmla="*/ 1375929 h 3298768"/>
              <a:gd name="connsiteX18" fmla="*/ 3287058 w 5323327"/>
              <a:gd name="connsiteY18" fmla="*/ 3298768 h 3298768"/>
              <a:gd name="connsiteX0" fmla="*/ 3287058 w 5323327"/>
              <a:gd name="connsiteY0" fmla="*/ 3298768 h 3298768"/>
              <a:gd name="connsiteX1" fmla="*/ 5323327 w 5323327"/>
              <a:gd name="connsiteY1" fmla="*/ 2776497 h 3298768"/>
              <a:gd name="connsiteX2" fmla="*/ 5309179 w 5323327"/>
              <a:gd name="connsiteY2" fmla="*/ 2744663 h 3298768"/>
              <a:gd name="connsiteX3" fmla="*/ 5079024 w 5323327"/>
              <a:gd name="connsiteY3" fmla="*/ 2800158 h 3298768"/>
              <a:gd name="connsiteX4" fmla="*/ 4841916 w 5323327"/>
              <a:gd name="connsiteY4" fmla="*/ 2582688 h 3298768"/>
              <a:gd name="connsiteX5" fmla="*/ 4735682 w 5323327"/>
              <a:gd name="connsiteY5" fmla="*/ 2601350 h 3298768"/>
              <a:gd name="connsiteX6" fmla="*/ 3816159 w 5323327"/>
              <a:gd name="connsiteY6" fmla="*/ 1698659 h 3298768"/>
              <a:gd name="connsiteX7" fmla="*/ 3731025 w 5323327"/>
              <a:gd name="connsiteY7" fmla="*/ 1655603 h 3298768"/>
              <a:gd name="connsiteX8" fmla="*/ 2758080 w 5323327"/>
              <a:gd name="connsiteY8" fmla="*/ 1897711 h 3298768"/>
              <a:gd name="connsiteX9" fmla="*/ 2023217 w 5323327"/>
              <a:gd name="connsiteY9" fmla="*/ 1142847 h 3298768"/>
              <a:gd name="connsiteX10" fmla="*/ 1915641 w 5323327"/>
              <a:gd name="connsiteY10" fmla="*/ 1142847 h 3298768"/>
              <a:gd name="connsiteX11" fmla="*/ 1772206 w 5323327"/>
              <a:gd name="connsiteY11" fmla="*/ 969529 h 3298768"/>
              <a:gd name="connsiteX12" fmla="*/ 1855876 w 5323327"/>
              <a:gd name="connsiteY12" fmla="*/ 975505 h 3298768"/>
              <a:gd name="connsiteX13" fmla="*/ 1119917 w 5323327"/>
              <a:gd name="connsiteY13" fmla="*/ 250767 h 3298768"/>
              <a:gd name="connsiteX14" fmla="*/ 1013194 w 5323327"/>
              <a:gd name="connsiteY14" fmla="*/ 126847 h 3298768"/>
              <a:gd name="connsiteX15" fmla="*/ 595573 w 5323327"/>
              <a:gd name="connsiteY15" fmla="*/ 212469 h 3298768"/>
              <a:gd name="connsiteX16" fmla="*/ 0 w 5323327"/>
              <a:gd name="connsiteY16" fmla="*/ 0 h 3298768"/>
              <a:gd name="connsiteX17" fmla="*/ 1306042 w 5323327"/>
              <a:gd name="connsiteY17" fmla="*/ 1375929 h 3298768"/>
              <a:gd name="connsiteX18" fmla="*/ 3287058 w 5323327"/>
              <a:gd name="connsiteY18" fmla="*/ 3298768 h 3298768"/>
              <a:gd name="connsiteX0" fmla="*/ 3287058 w 5323327"/>
              <a:gd name="connsiteY0" fmla="*/ 3298768 h 3298768"/>
              <a:gd name="connsiteX1" fmla="*/ 5323327 w 5323327"/>
              <a:gd name="connsiteY1" fmla="*/ 2776497 h 3298768"/>
              <a:gd name="connsiteX2" fmla="*/ 5309179 w 5323327"/>
              <a:gd name="connsiteY2" fmla="*/ 2744663 h 3298768"/>
              <a:gd name="connsiteX3" fmla="*/ 5079024 w 5323327"/>
              <a:gd name="connsiteY3" fmla="*/ 2800158 h 3298768"/>
              <a:gd name="connsiteX4" fmla="*/ 4841916 w 5323327"/>
              <a:gd name="connsiteY4" fmla="*/ 2582688 h 3298768"/>
              <a:gd name="connsiteX5" fmla="*/ 4735682 w 5323327"/>
              <a:gd name="connsiteY5" fmla="*/ 2601350 h 3298768"/>
              <a:gd name="connsiteX6" fmla="*/ 3816159 w 5323327"/>
              <a:gd name="connsiteY6" fmla="*/ 1698659 h 3298768"/>
              <a:gd name="connsiteX7" fmla="*/ 3731025 w 5323327"/>
              <a:gd name="connsiteY7" fmla="*/ 1655603 h 3298768"/>
              <a:gd name="connsiteX8" fmla="*/ 2758080 w 5323327"/>
              <a:gd name="connsiteY8" fmla="*/ 1897711 h 3298768"/>
              <a:gd name="connsiteX9" fmla="*/ 2023217 w 5323327"/>
              <a:gd name="connsiteY9" fmla="*/ 1142847 h 3298768"/>
              <a:gd name="connsiteX10" fmla="*/ 1915641 w 5323327"/>
              <a:gd name="connsiteY10" fmla="*/ 1142847 h 3298768"/>
              <a:gd name="connsiteX11" fmla="*/ 1772206 w 5323327"/>
              <a:gd name="connsiteY11" fmla="*/ 969529 h 3298768"/>
              <a:gd name="connsiteX12" fmla="*/ 1855876 w 5323327"/>
              <a:gd name="connsiteY12" fmla="*/ 975505 h 3298768"/>
              <a:gd name="connsiteX13" fmla="*/ 1119917 w 5323327"/>
              <a:gd name="connsiteY13" fmla="*/ 250767 h 3298768"/>
              <a:gd name="connsiteX14" fmla="*/ 1013194 w 5323327"/>
              <a:gd name="connsiteY14" fmla="*/ 126847 h 3298768"/>
              <a:gd name="connsiteX15" fmla="*/ 595573 w 5323327"/>
              <a:gd name="connsiteY15" fmla="*/ 212469 h 3298768"/>
              <a:gd name="connsiteX16" fmla="*/ 0 w 5323327"/>
              <a:gd name="connsiteY16" fmla="*/ 0 h 3298768"/>
              <a:gd name="connsiteX17" fmla="*/ 1306042 w 5323327"/>
              <a:gd name="connsiteY17" fmla="*/ 1375929 h 3298768"/>
              <a:gd name="connsiteX18" fmla="*/ 2650747 w 5323327"/>
              <a:gd name="connsiteY18" fmla="*/ 2672823 h 3298768"/>
              <a:gd name="connsiteX19" fmla="*/ 3287058 w 5323327"/>
              <a:gd name="connsiteY19" fmla="*/ 3298768 h 3298768"/>
              <a:gd name="connsiteX0" fmla="*/ 3287058 w 5323327"/>
              <a:gd name="connsiteY0" fmla="*/ 3298768 h 3298768"/>
              <a:gd name="connsiteX1" fmla="*/ 5323327 w 5323327"/>
              <a:gd name="connsiteY1" fmla="*/ 2776497 h 3298768"/>
              <a:gd name="connsiteX2" fmla="*/ 5309179 w 5323327"/>
              <a:gd name="connsiteY2" fmla="*/ 2744663 h 3298768"/>
              <a:gd name="connsiteX3" fmla="*/ 5079024 w 5323327"/>
              <a:gd name="connsiteY3" fmla="*/ 2800158 h 3298768"/>
              <a:gd name="connsiteX4" fmla="*/ 4841916 w 5323327"/>
              <a:gd name="connsiteY4" fmla="*/ 2582688 h 3298768"/>
              <a:gd name="connsiteX5" fmla="*/ 4735682 w 5323327"/>
              <a:gd name="connsiteY5" fmla="*/ 2601350 h 3298768"/>
              <a:gd name="connsiteX6" fmla="*/ 3816159 w 5323327"/>
              <a:gd name="connsiteY6" fmla="*/ 1698659 h 3298768"/>
              <a:gd name="connsiteX7" fmla="*/ 3731025 w 5323327"/>
              <a:gd name="connsiteY7" fmla="*/ 1655603 h 3298768"/>
              <a:gd name="connsiteX8" fmla="*/ 2758080 w 5323327"/>
              <a:gd name="connsiteY8" fmla="*/ 1897711 h 3298768"/>
              <a:gd name="connsiteX9" fmla="*/ 2023217 w 5323327"/>
              <a:gd name="connsiteY9" fmla="*/ 1142847 h 3298768"/>
              <a:gd name="connsiteX10" fmla="*/ 1915641 w 5323327"/>
              <a:gd name="connsiteY10" fmla="*/ 1142847 h 3298768"/>
              <a:gd name="connsiteX11" fmla="*/ 1772206 w 5323327"/>
              <a:gd name="connsiteY11" fmla="*/ 969529 h 3298768"/>
              <a:gd name="connsiteX12" fmla="*/ 1855876 w 5323327"/>
              <a:gd name="connsiteY12" fmla="*/ 975505 h 3298768"/>
              <a:gd name="connsiteX13" fmla="*/ 1119917 w 5323327"/>
              <a:gd name="connsiteY13" fmla="*/ 250767 h 3298768"/>
              <a:gd name="connsiteX14" fmla="*/ 1013194 w 5323327"/>
              <a:gd name="connsiteY14" fmla="*/ 126847 h 3298768"/>
              <a:gd name="connsiteX15" fmla="*/ 595573 w 5323327"/>
              <a:gd name="connsiteY15" fmla="*/ 212469 h 3298768"/>
              <a:gd name="connsiteX16" fmla="*/ 0 w 5323327"/>
              <a:gd name="connsiteY16" fmla="*/ 0 h 3298768"/>
              <a:gd name="connsiteX17" fmla="*/ 1306042 w 5323327"/>
              <a:gd name="connsiteY17" fmla="*/ 1375929 h 3298768"/>
              <a:gd name="connsiteX18" fmla="*/ 2561100 w 5323327"/>
              <a:gd name="connsiteY18" fmla="*/ 2625011 h 3298768"/>
              <a:gd name="connsiteX19" fmla="*/ 3287058 w 5323327"/>
              <a:gd name="connsiteY19" fmla="*/ 3298768 h 3298768"/>
              <a:gd name="connsiteX0" fmla="*/ 3287058 w 5323327"/>
              <a:gd name="connsiteY0" fmla="*/ 3298768 h 3298768"/>
              <a:gd name="connsiteX1" fmla="*/ 3545483 w 5323327"/>
              <a:gd name="connsiteY1" fmla="*/ 3228970 h 3298768"/>
              <a:gd name="connsiteX2" fmla="*/ 5323327 w 5323327"/>
              <a:gd name="connsiteY2" fmla="*/ 2776497 h 3298768"/>
              <a:gd name="connsiteX3" fmla="*/ 5309179 w 5323327"/>
              <a:gd name="connsiteY3" fmla="*/ 2744663 h 3298768"/>
              <a:gd name="connsiteX4" fmla="*/ 5079024 w 5323327"/>
              <a:gd name="connsiteY4" fmla="*/ 2800158 h 3298768"/>
              <a:gd name="connsiteX5" fmla="*/ 4841916 w 5323327"/>
              <a:gd name="connsiteY5" fmla="*/ 2582688 h 3298768"/>
              <a:gd name="connsiteX6" fmla="*/ 4735682 w 5323327"/>
              <a:gd name="connsiteY6" fmla="*/ 2601350 h 3298768"/>
              <a:gd name="connsiteX7" fmla="*/ 3816159 w 5323327"/>
              <a:gd name="connsiteY7" fmla="*/ 1698659 h 3298768"/>
              <a:gd name="connsiteX8" fmla="*/ 3731025 w 5323327"/>
              <a:gd name="connsiteY8" fmla="*/ 1655603 h 3298768"/>
              <a:gd name="connsiteX9" fmla="*/ 2758080 w 5323327"/>
              <a:gd name="connsiteY9" fmla="*/ 1897711 h 3298768"/>
              <a:gd name="connsiteX10" fmla="*/ 2023217 w 5323327"/>
              <a:gd name="connsiteY10" fmla="*/ 1142847 h 3298768"/>
              <a:gd name="connsiteX11" fmla="*/ 1915641 w 5323327"/>
              <a:gd name="connsiteY11" fmla="*/ 1142847 h 3298768"/>
              <a:gd name="connsiteX12" fmla="*/ 1772206 w 5323327"/>
              <a:gd name="connsiteY12" fmla="*/ 969529 h 3298768"/>
              <a:gd name="connsiteX13" fmla="*/ 1855876 w 5323327"/>
              <a:gd name="connsiteY13" fmla="*/ 975505 h 3298768"/>
              <a:gd name="connsiteX14" fmla="*/ 1119917 w 5323327"/>
              <a:gd name="connsiteY14" fmla="*/ 250767 h 3298768"/>
              <a:gd name="connsiteX15" fmla="*/ 1013194 w 5323327"/>
              <a:gd name="connsiteY15" fmla="*/ 126847 h 3298768"/>
              <a:gd name="connsiteX16" fmla="*/ 595573 w 5323327"/>
              <a:gd name="connsiteY16" fmla="*/ 212469 h 3298768"/>
              <a:gd name="connsiteX17" fmla="*/ 0 w 5323327"/>
              <a:gd name="connsiteY17" fmla="*/ 0 h 3298768"/>
              <a:gd name="connsiteX18" fmla="*/ 1306042 w 5323327"/>
              <a:gd name="connsiteY18" fmla="*/ 1375929 h 3298768"/>
              <a:gd name="connsiteX19" fmla="*/ 2561100 w 5323327"/>
              <a:gd name="connsiteY19" fmla="*/ 2625011 h 3298768"/>
              <a:gd name="connsiteX20" fmla="*/ 3287058 w 5323327"/>
              <a:gd name="connsiteY20" fmla="*/ 3298768 h 3298768"/>
              <a:gd name="connsiteX0" fmla="*/ 3287058 w 5323327"/>
              <a:gd name="connsiteY0" fmla="*/ 3298768 h 3298768"/>
              <a:gd name="connsiteX1" fmla="*/ 3545483 w 5323327"/>
              <a:gd name="connsiteY1" fmla="*/ 3228970 h 3298768"/>
              <a:gd name="connsiteX2" fmla="*/ 5323327 w 5323327"/>
              <a:gd name="connsiteY2" fmla="*/ 2776497 h 3298768"/>
              <a:gd name="connsiteX3" fmla="*/ 5309179 w 5323327"/>
              <a:gd name="connsiteY3" fmla="*/ 2744663 h 3298768"/>
              <a:gd name="connsiteX4" fmla="*/ 5079024 w 5323327"/>
              <a:gd name="connsiteY4" fmla="*/ 2800158 h 3298768"/>
              <a:gd name="connsiteX5" fmla="*/ 4841916 w 5323327"/>
              <a:gd name="connsiteY5" fmla="*/ 2582688 h 3298768"/>
              <a:gd name="connsiteX6" fmla="*/ 4735682 w 5323327"/>
              <a:gd name="connsiteY6" fmla="*/ 2601350 h 3298768"/>
              <a:gd name="connsiteX7" fmla="*/ 3816159 w 5323327"/>
              <a:gd name="connsiteY7" fmla="*/ 1698659 h 3298768"/>
              <a:gd name="connsiteX8" fmla="*/ 3731025 w 5323327"/>
              <a:gd name="connsiteY8" fmla="*/ 1655603 h 3298768"/>
              <a:gd name="connsiteX9" fmla="*/ 2797338 w 5323327"/>
              <a:gd name="connsiteY9" fmla="*/ 1886144 h 3298768"/>
              <a:gd name="connsiteX10" fmla="*/ 2758080 w 5323327"/>
              <a:gd name="connsiteY10" fmla="*/ 1897711 h 3298768"/>
              <a:gd name="connsiteX11" fmla="*/ 2023217 w 5323327"/>
              <a:gd name="connsiteY11" fmla="*/ 1142847 h 3298768"/>
              <a:gd name="connsiteX12" fmla="*/ 1915641 w 5323327"/>
              <a:gd name="connsiteY12" fmla="*/ 1142847 h 3298768"/>
              <a:gd name="connsiteX13" fmla="*/ 1772206 w 5323327"/>
              <a:gd name="connsiteY13" fmla="*/ 969529 h 3298768"/>
              <a:gd name="connsiteX14" fmla="*/ 1855876 w 5323327"/>
              <a:gd name="connsiteY14" fmla="*/ 975505 h 3298768"/>
              <a:gd name="connsiteX15" fmla="*/ 1119917 w 5323327"/>
              <a:gd name="connsiteY15" fmla="*/ 250767 h 3298768"/>
              <a:gd name="connsiteX16" fmla="*/ 1013194 w 5323327"/>
              <a:gd name="connsiteY16" fmla="*/ 126847 h 3298768"/>
              <a:gd name="connsiteX17" fmla="*/ 595573 w 5323327"/>
              <a:gd name="connsiteY17" fmla="*/ 212469 h 3298768"/>
              <a:gd name="connsiteX18" fmla="*/ 0 w 5323327"/>
              <a:gd name="connsiteY18" fmla="*/ 0 h 3298768"/>
              <a:gd name="connsiteX19" fmla="*/ 1306042 w 5323327"/>
              <a:gd name="connsiteY19" fmla="*/ 1375929 h 3298768"/>
              <a:gd name="connsiteX20" fmla="*/ 2561100 w 5323327"/>
              <a:gd name="connsiteY20" fmla="*/ 2625011 h 3298768"/>
              <a:gd name="connsiteX21" fmla="*/ 3287058 w 5323327"/>
              <a:gd name="connsiteY21" fmla="*/ 3298768 h 3298768"/>
              <a:gd name="connsiteX0" fmla="*/ 3287058 w 5323327"/>
              <a:gd name="connsiteY0" fmla="*/ 3298768 h 3298768"/>
              <a:gd name="connsiteX1" fmla="*/ 3545483 w 5323327"/>
              <a:gd name="connsiteY1" fmla="*/ 3228970 h 3298768"/>
              <a:gd name="connsiteX2" fmla="*/ 5323327 w 5323327"/>
              <a:gd name="connsiteY2" fmla="*/ 2776497 h 3298768"/>
              <a:gd name="connsiteX3" fmla="*/ 5309179 w 5323327"/>
              <a:gd name="connsiteY3" fmla="*/ 2744663 h 3298768"/>
              <a:gd name="connsiteX4" fmla="*/ 5079024 w 5323327"/>
              <a:gd name="connsiteY4" fmla="*/ 2800158 h 3298768"/>
              <a:gd name="connsiteX5" fmla="*/ 4841916 w 5323327"/>
              <a:gd name="connsiteY5" fmla="*/ 2582688 h 3298768"/>
              <a:gd name="connsiteX6" fmla="*/ 4735682 w 5323327"/>
              <a:gd name="connsiteY6" fmla="*/ 2601350 h 3298768"/>
              <a:gd name="connsiteX7" fmla="*/ 3816159 w 5323327"/>
              <a:gd name="connsiteY7" fmla="*/ 1698659 h 3298768"/>
              <a:gd name="connsiteX8" fmla="*/ 2797338 w 5323327"/>
              <a:gd name="connsiteY8" fmla="*/ 1886144 h 3298768"/>
              <a:gd name="connsiteX9" fmla="*/ 2758080 w 5323327"/>
              <a:gd name="connsiteY9" fmla="*/ 1897711 h 3298768"/>
              <a:gd name="connsiteX10" fmla="*/ 2023217 w 5323327"/>
              <a:gd name="connsiteY10" fmla="*/ 1142847 h 3298768"/>
              <a:gd name="connsiteX11" fmla="*/ 1915641 w 5323327"/>
              <a:gd name="connsiteY11" fmla="*/ 1142847 h 3298768"/>
              <a:gd name="connsiteX12" fmla="*/ 1772206 w 5323327"/>
              <a:gd name="connsiteY12" fmla="*/ 969529 h 3298768"/>
              <a:gd name="connsiteX13" fmla="*/ 1855876 w 5323327"/>
              <a:gd name="connsiteY13" fmla="*/ 975505 h 3298768"/>
              <a:gd name="connsiteX14" fmla="*/ 1119917 w 5323327"/>
              <a:gd name="connsiteY14" fmla="*/ 250767 h 3298768"/>
              <a:gd name="connsiteX15" fmla="*/ 1013194 w 5323327"/>
              <a:gd name="connsiteY15" fmla="*/ 126847 h 3298768"/>
              <a:gd name="connsiteX16" fmla="*/ 595573 w 5323327"/>
              <a:gd name="connsiteY16" fmla="*/ 212469 h 3298768"/>
              <a:gd name="connsiteX17" fmla="*/ 0 w 5323327"/>
              <a:gd name="connsiteY17" fmla="*/ 0 h 3298768"/>
              <a:gd name="connsiteX18" fmla="*/ 1306042 w 5323327"/>
              <a:gd name="connsiteY18" fmla="*/ 1375929 h 3298768"/>
              <a:gd name="connsiteX19" fmla="*/ 2561100 w 5323327"/>
              <a:gd name="connsiteY19" fmla="*/ 2625011 h 3298768"/>
              <a:gd name="connsiteX20" fmla="*/ 3287058 w 5323327"/>
              <a:gd name="connsiteY20" fmla="*/ 3298768 h 3298768"/>
              <a:gd name="connsiteX0" fmla="*/ 3287058 w 5323327"/>
              <a:gd name="connsiteY0" fmla="*/ 3298768 h 3298768"/>
              <a:gd name="connsiteX1" fmla="*/ 3545483 w 5323327"/>
              <a:gd name="connsiteY1" fmla="*/ 3228970 h 3298768"/>
              <a:gd name="connsiteX2" fmla="*/ 5323327 w 5323327"/>
              <a:gd name="connsiteY2" fmla="*/ 2776497 h 3298768"/>
              <a:gd name="connsiteX3" fmla="*/ 5309179 w 5323327"/>
              <a:gd name="connsiteY3" fmla="*/ 2744663 h 3298768"/>
              <a:gd name="connsiteX4" fmla="*/ 5079024 w 5323327"/>
              <a:gd name="connsiteY4" fmla="*/ 2800158 h 3298768"/>
              <a:gd name="connsiteX5" fmla="*/ 4841916 w 5323327"/>
              <a:gd name="connsiteY5" fmla="*/ 2582688 h 3298768"/>
              <a:gd name="connsiteX6" fmla="*/ 4735682 w 5323327"/>
              <a:gd name="connsiteY6" fmla="*/ 2601350 h 3298768"/>
              <a:gd name="connsiteX7" fmla="*/ 2797338 w 5323327"/>
              <a:gd name="connsiteY7" fmla="*/ 1886144 h 3298768"/>
              <a:gd name="connsiteX8" fmla="*/ 2758080 w 5323327"/>
              <a:gd name="connsiteY8" fmla="*/ 1897711 h 3298768"/>
              <a:gd name="connsiteX9" fmla="*/ 2023217 w 5323327"/>
              <a:gd name="connsiteY9" fmla="*/ 1142847 h 3298768"/>
              <a:gd name="connsiteX10" fmla="*/ 1915641 w 5323327"/>
              <a:gd name="connsiteY10" fmla="*/ 1142847 h 3298768"/>
              <a:gd name="connsiteX11" fmla="*/ 1772206 w 5323327"/>
              <a:gd name="connsiteY11" fmla="*/ 969529 h 3298768"/>
              <a:gd name="connsiteX12" fmla="*/ 1855876 w 5323327"/>
              <a:gd name="connsiteY12" fmla="*/ 975505 h 3298768"/>
              <a:gd name="connsiteX13" fmla="*/ 1119917 w 5323327"/>
              <a:gd name="connsiteY13" fmla="*/ 250767 h 3298768"/>
              <a:gd name="connsiteX14" fmla="*/ 1013194 w 5323327"/>
              <a:gd name="connsiteY14" fmla="*/ 126847 h 3298768"/>
              <a:gd name="connsiteX15" fmla="*/ 595573 w 5323327"/>
              <a:gd name="connsiteY15" fmla="*/ 212469 h 3298768"/>
              <a:gd name="connsiteX16" fmla="*/ 0 w 5323327"/>
              <a:gd name="connsiteY16" fmla="*/ 0 h 3298768"/>
              <a:gd name="connsiteX17" fmla="*/ 1306042 w 5323327"/>
              <a:gd name="connsiteY17" fmla="*/ 1375929 h 3298768"/>
              <a:gd name="connsiteX18" fmla="*/ 2561100 w 5323327"/>
              <a:gd name="connsiteY18" fmla="*/ 2625011 h 3298768"/>
              <a:gd name="connsiteX19" fmla="*/ 3287058 w 5323327"/>
              <a:gd name="connsiteY19" fmla="*/ 3298768 h 3298768"/>
              <a:gd name="connsiteX0" fmla="*/ 3287058 w 5309179"/>
              <a:gd name="connsiteY0" fmla="*/ 3298768 h 3298768"/>
              <a:gd name="connsiteX1" fmla="*/ 3545483 w 5309179"/>
              <a:gd name="connsiteY1" fmla="*/ 3228970 h 3298768"/>
              <a:gd name="connsiteX2" fmla="*/ 5309179 w 5309179"/>
              <a:gd name="connsiteY2" fmla="*/ 2744663 h 3298768"/>
              <a:gd name="connsiteX3" fmla="*/ 5079024 w 5309179"/>
              <a:gd name="connsiteY3" fmla="*/ 2800158 h 3298768"/>
              <a:gd name="connsiteX4" fmla="*/ 4841916 w 5309179"/>
              <a:gd name="connsiteY4" fmla="*/ 2582688 h 3298768"/>
              <a:gd name="connsiteX5" fmla="*/ 4735682 w 5309179"/>
              <a:gd name="connsiteY5" fmla="*/ 2601350 h 3298768"/>
              <a:gd name="connsiteX6" fmla="*/ 2797338 w 5309179"/>
              <a:gd name="connsiteY6" fmla="*/ 1886144 h 3298768"/>
              <a:gd name="connsiteX7" fmla="*/ 2758080 w 5309179"/>
              <a:gd name="connsiteY7" fmla="*/ 1897711 h 3298768"/>
              <a:gd name="connsiteX8" fmla="*/ 2023217 w 5309179"/>
              <a:gd name="connsiteY8" fmla="*/ 1142847 h 3298768"/>
              <a:gd name="connsiteX9" fmla="*/ 1915641 w 5309179"/>
              <a:gd name="connsiteY9" fmla="*/ 1142847 h 3298768"/>
              <a:gd name="connsiteX10" fmla="*/ 1772206 w 5309179"/>
              <a:gd name="connsiteY10" fmla="*/ 969529 h 3298768"/>
              <a:gd name="connsiteX11" fmla="*/ 1855876 w 5309179"/>
              <a:gd name="connsiteY11" fmla="*/ 975505 h 3298768"/>
              <a:gd name="connsiteX12" fmla="*/ 1119917 w 5309179"/>
              <a:gd name="connsiteY12" fmla="*/ 250767 h 3298768"/>
              <a:gd name="connsiteX13" fmla="*/ 1013194 w 5309179"/>
              <a:gd name="connsiteY13" fmla="*/ 126847 h 3298768"/>
              <a:gd name="connsiteX14" fmla="*/ 595573 w 5309179"/>
              <a:gd name="connsiteY14" fmla="*/ 212469 h 3298768"/>
              <a:gd name="connsiteX15" fmla="*/ 0 w 5309179"/>
              <a:gd name="connsiteY15" fmla="*/ 0 h 3298768"/>
              <a:gd name="connsiteX16" fmla="*/ 1306042 w 5309179"/>
              <a:gd name="connsiteY16" fmla="*/ 1375929 h 3298768"/>
              <a:gd name="connsiteX17" fmla="*/ 2561100 w 5309179"/>
              <a:gd name="connsiteY17" fmla="*/ 2625011 h 3298768"/>
              <a:gd name="connsiteX18" fmla="*/ 3287058 w 5309179"/>
              <a:gd name="connsiteY18" fmla="*/ 3298768 h 3298768"/>
              <a:gd name="connsiteX0" fmla="*/ 3287058 w 5079024"/>
              <a:gd name="connsiteY0" fmla="*/ 3298768 h 3298768"/>
              <a:gd name="connsiteX1" fmla="*/ 3545483 w 5079024"/>
              <a:gd name="connsiteY1" fmla="*/ 3228970 h 3298768"/>
              <a:gd name="connsiteX2" fmla="*/ 5079024 w 5079024"/>
              <a:gd name="connsiteY2" fmla="*/ 2800158 h 3298768"/>
              <a:gd name="connsiteX3" fmla="*/ 4841916 w 5079024"/>
              <a:gd name="connsiteY3" fmla="*/ 2582688 h 3298768"/>
              <a:gd name="connsiteX4" fmla="*/ 4735682 w 5079024"/>
              <a:gd name="connsiteY4" fmla="*/ 2601350 h 3298768"/>
              <a:gd name="connsiteX5" fmla="*/ 2797338 w 5079024"/>
              <a:gd name="connsiteY5" fmla="*/ 1886144 h 3298768"/>
              <a:gd name="connsiteX6" fmla="*/ 2758080 w 5079024"/>
              <a:gd name="connsiteY6" fmla="*/ 1897711 h 3298768"/>
              <a:gd name="connsiteX7" fmla="*/ 2023217 w 5079024"/>
              <a:gd name="connsiteY7" fmla="*/ 1142847 h 3298768"/>
              <a:gd name="connsiteX8" fmla="*/ 1915641 w 5079024"/>
              <a:gd name="connsiteY8" fmla="*/ 1142847 h 3298768"/>
              <a:gd name="connsiteX9" fmla="*/ 1772206 w 5079024"/>
              <a:gd name="connsiteY9" fmla="*/ 969529 h 3298768"/>
              <a:gd name="connsiteX10" fmla="*/ 1855876 w 5079024"/>
              <a:gd name="connsiteY10" fmla="*/ 975505 h 3298768"/>
              <a:gd name="connsiteX11" fmla="*/ 1119917 w 5079024"/>
              <a:gd name="connsiteY11" fmla="*/ 250767 h 3298768"/>
              <a:gd name="connsiteX12" fmla="*/ 1013194 w 5079024"/>
              <a:gd name="connsiteY12" fmla="*/ 126847 h 3298768"/>
              <a:gd name="connsiteX13" fmla="*/ 595573 w 5079024"/>
              <a:gd name="connsiteY13" fmla="*/ 212469 h 3298768"/>
              <a:gd name="connsiteX14" fmla="*/ 0 w 5079024"/>
              <a:gd name="connsiteY14" fmla="*/ 0 h 3298768"/>
              <a:gd name="connsiteX15" fmla="*/ 1306042 w 5079024"/>
              <a:gd name="connsiteY15" fmla="*/ 1375929 h 3298768"/>
              <a:gd name="connsiteX16" fmla="*/ 2561100 w 5079024"/>
              <a:gd name="connsiteY16" fmla="*/ 2625011 h 3298768"/>
              <a:gd name="connsiteX17" fmla="*/ 3287058 w 5079024"/>
              <a:gd name="connsiteY17" fmla="*/ 3298768 h 3298768"/>
              <a:gd name="connsiteX0" fmla="*/ 3287058 w 4841916"/>
              <a:gd name="connsiteY0" fmla="*/ 3298768 h 3298768"/>
              <a:gd name="connsiteX1" fmla="*/ 3545483 w 4841916"/>
              <a:gd name="connsiteY1" fmla="*/ 3228970 h 3298768"/>
              <a:gd name="connsiteX2" fmla="*/ 4841916 w 4841916"/>
              <a:gd name="connsiteY2" fmla="*/ 2582688 h 3298768"/>
              <a:gd name="connsiteX3" fmla="*/ 4735682 w 4841916"/>
              <a:gd name="connsiteY3" fmla="*/ 2601350 h 3298768"/>
              <a:gd name="connsiteX4" fmla="*/ 2797338 w 4841916"/>
              <a:gd name="connsiteY4" fmla="*/ 1886144 h 3298768"/>
              <a:gd name="connsiteX5" fmla="*/ 2758080 w 4841916"/>
              <a:gd name="connsiteY5" fmla="*/ 1897711 h 3298768"/>
              <a:gd name="connsiteX6" fmla="*/ 2023217 w 4841916"/>
              <a:gd name="connsiteY6" fmla="*/ 1142847 h 3298768"/>
              <a:gd name="connsiteX7" fmla="*/ 1915641 w 4841916"/>
              <a:gd name="connsiteY7" fmla="*/ 1142847 h 3298768"/>
              <a:gd name="connsiteX8" fmla="*/ 1772206 w 4841916"/>
              <a:gd name="connsiteY8" fmla="*/ 969529 h 3298768"/>
              <a:gd name="connsiteX9" fmla="*/ 1855876 w 4841916"/>
              <a:gd name="connsiteY9" fmla="*/ 975505 h 3298768"/>
              <a:gd name="connsiteX10" fmla="*/ 1119917 w 4841916"/>
              <a:gd name="connsiteY10" fmla="*/ 250767 h 3298768"/>
              <a:gd name="connsiteX11" fmla="*/ 1013194 w 4841916"/>
              <a:gd name="connsiteY11" fmla="*/ 126847 h 3298768"/>
              <a:gd name="connsiteX12" fmla="*/ 595573 w 4841916"/>
              <a:gd name="connsiteY12" fmla="*/ 212469 h 3298768"/>
              <a:gd name="connsiteX13" fmla="*/ 0 w 4841916"/>
              <a:gd name="connsiteY13" fmla="*/ 0 h 3298768"/>
              <a:gd name="connsiteX14" fmla="*/ 1306042 w 4841916"/>
              <a:gd name="connsiteY14" fmla="*/ 1375929 h 3298768"/>
              <a:gd name="connsiteX15" fmla="*/ 2561100 w 4841916"/>
              <a:gd name="connsiteY15" fmla="*/ 2625011 h 3298768"/>
              <a:gd name="connsiteX16" fmla="*/ 3287058 w 4841916"/>
              <a:gd name="connsiteY16" fmla="*/ 3298768 h 3298768"/>
              <a:gd name="connsiteX0" fmla="*/ 3287058 w 4735682"/>
              <a:gd name="connsiteY0" fmla="*/ 3298768 h 3298768"/>
              <a:gd name="connsiteX1" fmla="*/ 3545483 w 4735682"/>
              <a:gd name="connsiteY1" fmla="*/ 3228970 h 3298768"/>
              <a:gd name="connsiteX2" fmla="*/ 4735682 w 4735682"/>
              <a:gd name="connsiteY2" fmla="*/ 2601350 h 3298768"/>
              <a:gd name="connsiteX3" fmla="*/ 2797338 w 4735682"/>
              <a:gd name="connsiteY3" fmla="*/ 1886144 h 3298768"/>
              <a:gd name="connsiteX4" fmla="*/ 2758080 w 4735682"/>
              <a:gd name="connsiteY4" fmla="*/ 1897711 h 3298768"/>
              <a:gd name="connsiteX5" fmla="*/ 2023217 w 4735682"/>
              <a:gd name="connsiteY5" fmla="*/ 1142847 h 3298768"/>
              <a:gd name="connsiteX6" fmla="*/ 1915641 w 4735682"/>
              <a:gd name="connsiteY6" fmla="*/ 1142847 h 3298768"/>
              <a:gd name="connsiteX7" fmla="*/ 1772206 w 4735682"/>
              <a:gd name="connsiteY7" fmla="*/ 969529 h 3298768"/>
              <a:gd name="connsiteX8" fmla="*/ 1855876 w 4735682"/>
              <a:gd name="connsiteY8" fmla="*/ 975505 h 3298768"/>
              <a:gd name="connsiteX9" fmla="*/ 1119917 w 4735682"/>
              <a:gd name="connsiteY9" fmla="*/ 250767 h 3298768"/>
              <a:gd name="connsiteX10" fmla="*/ 1013194 w 4735682"/>
              <a:gd name="connsiteY10" fmla="*/ 126847 h 3298768"/>
              <a:gd name="connsiteX11" fmla="*/ 595573 w 4735682"/>
              <a:gd name="connsiteY11" fmla="*/ 212469 h 3298768"/>
              <a:gd name="connsiteX12" fmla="*/ 0 w 4735682"/>
              <a:gd name="connsiteY12" fmla="*/ 0 h 3298768"/>
              <a:gd name="connsiteX13" fmla="*/ 1306042 w 4735682"/>
              <a:gd name="connsiteY13" fmla="*/ 1375929 h 3298768"/>
              <a:gd name="connsiteX14" fmla="*/ 2561100 w 4735682"/>
              <a:gd name="connsiteY14" fmla="*/ 2625011 h 3298768"/>
              <a:gd name="connsiteX15" fmla="*/ 3287058 w 4735682"/>
              <a:gd name="connsiteY15" fmla="*/ 3298768 h 3298768"/>
              <a:gd name="connsiteX0" fmla="*/ 3287058 w 3545483"/>
              <a:gd name="connsiteY0" fmla="*/ 3298768 h 3298768"/>
              <a:gd name="connsiteX1" fmla="*/ 3545483 w 3545483"/>
              <a:gd name="connsiteY1" fmla="*/ 3228970 h 3298768"/>
              <a:gd name="connsiteX2" fmla="*/ 3085925 w 3545483"/>
              <a:gd name="connsiteY2" fmla="*/ 2172924 h 3298768"/>
              <a:gd name="connsiteX3" fmla="*/ 2797338 w 3545483"/>
              <a:gd name="connsiteY3" fmla="*/ 1886144 h 3298768"/>
              <a:gd name="connsiteX4" fmla="*/ 2758080 w 3545483"/>
              <a:gd name="connsiteY4" fmla="*/ 1897711 h 3298768"/>
              <a:gd name="connsiteX5" fmla="*/ 2023217 w 3545483"/>
              <a:gd name="connsiteY5" fmla="*/ 1142847 h 3298768"/>
              <a:gd name="connsiteX6" fmla="*/ 1915641 w 3545483"/>
              <a:gd name="connsiteY6" fmla="*/ 1142847 h 3298768"/>
              <a:gd name="connsiteX7" fmla="*/ 1772206 w 3545483"/>
              <a:gd name="connsiteY7" fmla="*/ 969529 h 3298768"/>
              <a:gd name="connsiteX8" fmla="*/ 1855876 w 3545483"/>
              <a:gd name="connsiteY8" fmla="*/ 975505 h 3298768"/>
              <a:gd name="connsiteX9" fmla="*/ 1119917 w 3545483"/>
              <a:gd name="connsiteY9" fmla="*/ 250767 h 3298768"/>
              <a:gd name="connsiteX10" fmla="*/ 1013194 w 3545483"/>
              <a:gd name="connsiteY10" fmla="*/ 126847 h 3298768"/>
              <a:gd name="connsiteX11" fmla="*/ 595573 w 3545483"/>
              <a:gd name="connsiteY11" fmla="*/ 212469 h 3298768"/>
              <a:gd name="connsiteX12" fmla="*/ 0 w 3545483"/>
              <a:gd name="connsiteY12" fmla="*/ 0 h 3298768"/>
              <a:gd name="connsiteX13" fmla="*/ 1306042 w 3545483"/>
              <a:gd name="connsiteY13" fmla="*/ 1375929 h 3298768"/>
              <a:gd name="connsiteX14" fmla="*/ 2561100 w 3545483"/>
              <a:gd name="connsiteY14" fmla="*/ 2625011 h 3298768"/>
              <a:gd name="connsiteX15" fmla="*/ 3287058 w 3545483"/>
              <a:gd name="connsiteY15" fmla="*/ 3298768 h 3298768"/>
              <a:gd name="connsiteX0" fmla="*/ 3287058 w 3545483"/>
              <a:gd name="connsiteY0" fmla="*/ 3298768 h 3298768"/>
              <a:gd name="connsiteX1" fmla="*/ 3545483 w 3545483"/>
              <a:gd name="connsiteY1" fmla="*/ 3228970 h 3298768"/>
              <a:gd name="connsiteX2" fmla="*/ 3085925 w 3545483"/>
              <a:gd name="connsiteY2" fmla="*/ 2172924 h 3298768"/>
              <a:gd name="connsiteX3" fmla="*/ 2797338 w 3545483"/>
              <a:gd name="connsiteY3" fmla="*/ 1886144 h 3298768"/>
              <a:gd name="connsiteX4" fmla="*/ 2758080 w 3545483"/>
              <a:gd name="connsiteY4" fmla="*/ 1897711 h 3298768"/>
              <a:gd name="connsiteX5" fmla="*/ 2023217 w 3545483"/>
              <a:gd name="connsiteY5" fmla="*/ 1142847 h 3298768"/>
              <a:gd name="connsiteX6" fmla="*/ 1915641 w 3545483"/>
              <a:gd name="connsiteY6" fmla="*/ 1142847 h 3298768"/>
              <a:gd name="connsiteX7" fmla="*/ 1772206 w 3545483"/>
              <a:gd name="connsiteY7" fmla="*/ 969529 h 3298768"/>
              <a:gd name="connsiteX8" fmla="*/ 1855876 w 3545483"/>
              <a:gd name="connsiteY8" fmla="*/ 975505 h 3298768"/>
              <a:gd name="connsiteX9" fmla="*/ 1792207 w 3545483"/>
              <a:gd name="connsiteY9" fmla="*/ 918260 h 3298768"/>
              <a:gd name="connsiteX10" fmla="*/ 1119917 w 3545483"/>
              <a:gd name="connsiteY10" fmla="*/ 250767 h 3298768"/>
              <a:gd name="connsiteX11" fmla="*/ 1013194 w 3545483"/>
              <a:gd name="connsiteY11" fmla="*/ 126847 h 3298768"/>
              <a:gd name="connsiteX12" fmla="*/ 595573 w 3545483"/>
              <a:gd name="connsiteY12" fmla="*/ 212469 h 3298768"/>
              <a:gd name="connsiteX13" fmla="*/ 0 w 3545483"/>
              <a:gd name="connsiteY13" fmla="*/ 0 h 3298768"/>
              <a:gd name="connsiteX14" fmla="*/ 1306042 w 3545483"/>
              <a:gd name="connsiteY14" fmla="*/ 1375929 h 3298768"/>
              <a:gd name="connsiteX15" fmla="*/ 2561100 w 3545483"/>
              <a:gd name="connsiteY15" fmla="*/ 2625011 h 3298768"/>
              <a:gd name="connsiteX16" fmla="*/ 3287058 w 3545483"/>
              <a:gd name="connsiteY16" fmla="*/ 3298768 h 3298768"/>
              <a:gd name="connsiteX0" fmla="*/ 3287058 w 3545483"/>
              <a:gd name="connsiteY0" fmla="*/ 3298768 h 3298768"/>
              <a:gd name="connsiteX1" fmla="*/ 3545483 w 3545483"/>
              <a:gd name="connsiteY1" fmla="*/ 3228970 h 3298768"/>
              <a:gd name="connsiteX2" fmla="*/ 3085925 w 3545483"/>
              <a:gd name="connsiteY2" fmla="*/ 2172924 h 3298768"/>
              <a:gd name="connsiteX3" fmla="*/ 2797338 w 3545483"/>
              <a:gd name="connsiteY3" fmla="*/ 1886144 h 3298768"/>
              <a:gd name="connsiteX4" fmla="*/ 2758080 w 3545483"/>
              <a:gd name="connsiteY4" fmla="*/ 1897711 h 3298768"/>
              <a:gd name="connsiteX5" fmla="*/ 2023217 w 3545483"/>
              <a:gd name="connsiteY5" fmla="*/ 1142847 h 3298768"/>
              <a:gd name="connsiteX6" fmla="*/ 1915641 w 3545483"/>
              <a:gd name="connsiteY6" fmla="*/ 1142847 h 3298768"/>
              <a:gd name="connsiteX7" fmla="*/ 1772206 w 3545483"/>
              <a:gd name="connsiteY7" fmla="*/ 969529 h 3298768"/>
              <a:gd name="connsiteX8" fmla="*/ 1855876 w 3545483"/>
              <a:gd name="connsiteY8" fmla="*/ 975505 h 3298768"/>
              <a:gd name="connsiteX9" fmla="*/ 2837236 w 3545483"/>
              <a:gd name="connsiteY9" fmla="*/ 771303 h 3298768"/>
              <a:gd name="connsiteX10" fmla="*/ 1119917 w 3545483"/>
              <a:gd name="connsiteY10" fmla="*/ 250767 h 3298768"/>
              <a:gd name="connsiteX11" fmla="*/ 1013194 w 3545483"/>
              <a:gd name="connsiteY11" fmla="*/ 126847 h 3298768"/>
              <a:gd name="connsiteX12" fmla="*/ 595573 w 3545483"/>
              <a:gd name="connsiteY12" fmla="*/ 212469 h 3298768"/>
              <a:gd name="connsiteX13" fmla="*/ 0 w 3545483"/>
              <a:gd name="connsiteY13" fmla="*/ 0 h 3298768"/>
              <a:gd name="connsiteX14" fmla="*/ 1306042 w 3545483"/>
              <a:gd name="connsiteY14" fmla="*/ 1375929 h 3298768"/>
              <a:gd name="connsiteX15" fmla="*/ 2561100 w 3545483"/>
              <a:gd name="connsiteY15" fmla="*/ 2625011 h 3298768"/>
              <a:gd name="connsiteX16" fmla="*/ 3287058 w 3545483"/>
              <a:gd name="connsiteY16" fmla="*/ 3298768 h 3298768"/>
              <a:gd name="connsiteX0" fmla="*/ 3287058 w 3545483"/>
              <a:gd name="connsiteY0" fmla="*/ 3298768 h 3298768"/>
              <a:gd name="connsiteX1" fmla="*/ 3545483 w 3545483"/>
              <a:gd name="connsiteY1" fmla="*/ 3228970 h 3298768"/>
              <a:gd name="connsiteX2" fmla="*/ 3085925 w 3545483"/>
              <a:gd name="connsiteY2" fmla="*/ 2172924 h 3298768"/>
              <a:gd name="connsiteX3" fmla="*/ 2797338 w 3545483"/>
              <a:gd name="connsiteY3" fmla="*/ 1886144 h 3298768"/>
              <a:gd name="connsiteX4" fmla="*/ 2758080 w 3545483"/>
              <a:gd name="connsiteY4" fmla="*/ 1897711 h 3298768"/>
              <a:gd name="connsiteX5" fmla="*/ 2023217 w 3545483"/>
              <a:gd name="connsiteY5" fmla="*/ 1142847 h 3298768"/>
              <a:gd name="connsiteX6" fmla="*/ 1915641 w 3545483"/>
              <a:gd name="connsiteY6" fmla="*/ 1142847 h 3298768"/>
              <a:gd name="connsiteX7" fmla="*/ 1772206 w 3545483"/>
              <a:gd name="connsiteY7" fmla="*/ 969529 h 3298768"/>
              <a:gd name="connsiteX8" fmla="*/ 1855876 w 3545483"/>
              <a:gd name="connsiteY8" fmla="*/ 975505 h 3298768"/>
              <a:gd name="connsiteX9" fmla="*/ 2804579 w 3545483"/>
              <a:gd name="connsiteY9" fmla="*/ 741911 h 3298768"/>
              <a:gd name="connsiteX10" fmla="*/ 1119917 w 3545483"/>
              <a:gd name="connsiteY10" fmla="*/ 250767 h 3298768"/>
              <a:gd name="connsiteX11" fmla="*/ 1013194 w 3545483"/>
              <a:gd name="connsiteY11" fmla="*/ 126847 h 3298768"/>
              <a:gd name="connsiteX12" fmla="*/ 595573 w 3545483"/>
              <a:gd name="connsiteY12" fmla="*/ 212469 h 3298768"/>
              <a:gd name="connsiteX13" fmla="*/ 0 w 3545483"/>
              <a:gd name="connsiteY13" fmla="*/ 0 h 3298768"/>
              <a:gd name="connsiteX14" fmla="*/ 1306042 w 3545483"/>
              <a:gd name="connsiteY14" fmla="*/ 1375929 h 3298768"/>
              <a:gd name="connsiteX15" fmla="*/ 2561100 w 3545483"/>
              <a:gd name="connsiteY15" fmla="*/ 2625011 h 3298768"/>
              <a:gd name="connsiteX16" fmla="*/ 3287058 w 3545483"/>
              <a:gd name="connsiteY16" fmla="*/ 3298768 h 3298768"/>
              <a:gd name="connsiteX0" fmla="*/ 3287058 w 3545483"/>
              <a:gd name="connsiteY0" fmla="*/ 3298768 h 3298768"/>
              <a:gd name="connsiteX1" fmla="*/ 3545483 w 3545483"/>
              <a:gd name="connsiteY1" fmla="*/ 3228970 h 3298768"/>
              <a:gd name="connsiteX2" fmla="*/ 3085925 w 3545483"/>
              <a:gd name="connsiteY2" fmla="*/ 2172924 h 3298768"/>
              <a:gd name="connsiteX3" fmla="*/ 2797338 w 3545483"/>
              <a:gd name="connsiteY3" fmla="*/ 1886144 h 3298768"/>
              <a:gd name="connsiteX4" fmla="*/ 2758080 w 3545483"/>
              <a:gd name="connsiteY4" fmla="*/ 1897711 h 3298768"/>
              <a:gd name="connsiteX5" fmla="*/ 2023217 w 3545483"/>
              <a:gd name="connsiteY5" fmla="*/ 1142847 h 3298768"/>
              <a:gd name="connsiteX6" fmla="*/ 1915641 w 3545483"/>
              <a:gd name="connsiteY6" fmla="*/ 1142847 h 3298768"/>
              <a:gd name="connsiteX7" fmla="*/ 1772206 w 3545483"/>
              <a:gd name="connsiteY7" fmla="*/ 969529 h 3298768"/>
              <a:gd name="connsiteX8" fmla="*/ 1855876 w 3545483"/>
              <a:gd name="connsiteY8" fmla="*/ 975505 h 3298768"/>
              <a:gd name="connsiteX9" fmla="*/ 2814376 w 3545483"/>
              <a:gd name="connsiteY9" fmla="*/ 745177 h 3298768"/>
              <a:gd name="connsiteX10" fmla="*/ 1119917 w 3545483"/>
              <a:gd name="connsiteY10" fmla="*/ 250767 h 3298768"/>
              <a:gd name="connsiteX11" fmla="*/ 1013194 w 3545483"/>
              <a:gd name="connsiteY11" fmla="*/ 126847 h 3298768"/>
              <a:gd name="connsiteX12" fmla="*/ 595573 w 3545483"/>
              <a:gd name="connsiteY12" fmla="*/ 212469 h 3298768"/>
              <a:gd name="connsiteX13" fmla="*/ 0 w 3545483"/>
              <a:gd name="connsiteY13" fmla="*/ 0 h 3298768"/>
              <a:gd name="connsiteX14" fmla="*/ 1306042 w 3545483"/>
              <a:gd name="connsiteY14" fmla="*/ 1375929 h 3298768"/>
              <a:gd name="connsiteX15" fmla="*/ 2561100 w 3545483"/>
              <a:gd name="connsiteY15" fmla="*/ 2625011 h 3298768"/>
              <a:gd name="connsiteX16" fmla="*/ 3287058 w 3545483"/>
              <a:gd name="connsiteY16" fmla="*/ 3298768 h 3298768"/>
              <a:gd name="connsiteX0" fmla="*/ 3287058 w 3545483"/>
              <a:gd name="connsiteY0" fmla="*/ 3338649 h 3338649"/>
              <a:gd name="connsiteX1" fmla="*/ 3545483 w 3545483"/>
              <a:gd name="connsiteY1" fmla="*/ 3268851 h 3338649"/>
              <a:gd name="connsiteX2" fmla="*/ 3085925 w 3545483"/>
              <a:gd name="connsiteY2" fmla="*/ 2212805 h 3338649"/>
              <a:gd name="connsiteX3" fmla="*/ 2797338 w 3545483"/>
              <a:gd name="connsiteY3" fmla="*/ 1926025 h 3338649"/>
              <a:gd name="connsiteX4" fmla="*/ 2758080 w 3545483"/>
              <a:gd name="connsiteY4" fmla="*/ 1937592 h 3338649"/>
              <a:gd name="connsiteX5" fmla="*/ 2023217 w 3545483"/>
              <a:gd name="connsiteY5" fmla="*/ 1182728 h 3338649"/>
              <a:gd name="connsiteX6" fmla="*/ 1915641 w 3545483"/>
              <a:gd name="connsiteY6" fmla="*/ 1182728 h 3338649"/>
              <a:gd name="connsiteX7" fmla="*/ 1772206 w 3545483"/>
              <a:gd name="connsiteY7" fmla="*/ 1009410 h 3338649"/>
              <a:gd name="connsiteX8" fmla="*/ 1855876 w 3545483"/>
              <a:gd name="connsiteY8" fmla="*/ 1015386 h 3338649"/>
              <a:gd name="connsiteX9" fmla="*/ 2814376 w 3545483"/>
              <a:gd name="connsiteY9" fmla="*/ 785058 h 3338649"/>
              <a:gd name="connsiteX10" fmla="*/ 1982065 w 3545483"/>
              <a:gd name="connsiteY10" fmla="*/ 0 h 3338649"/>
              <a:gd name="connsiteX11" fmla="*/ 1013194 w 3545483"/>
              <a:gd name="connsiteY11" fmla="*/ 166728 h 3338649"/>
              <a:gd name="connsiteX12" fmla="*/ 595573 w 3545483"/>
              <a:gd name="connsiteY12" fmla="*/ 252350 h 3338649"/>
              <a:gd name="connsiteX13" fmla="*/ 0 w 3545483"/>
              <a:gd name="connsiteY13" fmla="*/ 39881 h 3338649"/>
              <a:gd name="connsiteX14" fmla="*/ 1306042 w 3545483"/>
              <a:gd name="connsiteY14" fmla="*/ 1415810 h 3338649"/>
              <a:gd name="connsiteX15" fmla="*/ 2561100 w 3545483"/>
              <a:gd name="connsiteY15" fmla="*/ 2664892 h 3338649"/>
              <a:gd name="connsiteX16" fmla="*/ 3287058 w 3545483"/>
              <a:gd name="connsiteY16" fmla="*/ 3338649 h 3338649"/>
              <a:gd name="connsiteX0" fmla="*/ 3287058 w 3545483"/>
              <a:gd name="connsiteY0" fmla="*/ 3338649 h 3338649"/>
              <a:gd name="connsiteX1" fmla="*/ 3545483 w 3545483"/>
              <a:gd name="connsiteY1" fmla="*/ 3268851 h 3338649"/>
              <a:gd name="connsiteX2" fmla="*/ 3085925 w 3545483"/>
              <a:gd name="connsiteY2" fmla="*/ 2212805 h 3338649"/>
              <a:gd name="connsiteX3" fmla="*/ 2797338 w 3545483"/>
              <a:gd name="connsiteY3" fmla="*/ 1926025 h 3338649"/>
              <a:gd name="connsiteX4" fmla="*/ 2758080 w 3545483"/>
              <a:gd name="connsiteY4" fmla="*/ 1937592 h 3338649"/>
              <a:gd name="connsiteX5" fmla="*/ 2023217 w 3545483"/>
              <a:gd name="connsiteY5" fmla="*/ 1182728 h 3338649"/>
              <a:gd name="connsiteX6" fmla="*/ 1915641 w 3545483"/>
              <a:gd name="connsiteY6" fmla="*/ 1182728 h 3338649"/>
              <a:gd name="connsiteX7" fmla="*/ 1772206 w 3545483"/>
              <a:gd name="connsiteY7" fmla="*/ 1009410 h 3338649"/>
              <a:gd name="connsiteX8" fmla="*/ 1855876 w 3545483"/>
              <a:gd name="connsiteY8" fmla="*/ 1015386 h 3338649"/>
              <a:gd name="connsiteX9" fmla="*/ 2814376 w 3545483"/>
              <a:gd name="connsiteY9" fmla="*/ 785058 h 3338649"/>
              <a:gd name="connsiteX10" fmla="*/ 1982065 w 3545483"/>
              <a:gd name="connsiteY10" fmla="*/ 0 h 3338649"/>
              <a:gd name="connsiteX11" fmla="*/ 1194581 w 3545483"/>
              <a:gd name="connsiteY11" fmla="*/ 128650 h 3338649"/>
              <a:gd name="connsiteX12" fmla="*/ 1013194 w 3545483"/>
              <a:gd name="connsiteY12" fmla="*/ 166728 h 3338649"/>
              <a:gd name="connsiteX13" fmla="*/ 595573 w 3545483"/>
              <a:gd name="connsiteY13" fmla="*/ 252350 h 3338649"/>
              <a:gd name="connsiteX14" fmla="*/ 0 w 3545483"/>
              <a:gd name="connsiteY14" fmla="*/ 39881 h 3338649"/>
              <a:gd name="connsiteX15" fmla="*/ 1306042 w 3545483"/>
              <a:gd name="connsiteY15" fmla="*/ 1415810 h 3338649"/>
              <a:gd name="connsiteX16" fmla="*/ 2561100 w 3545483"/>
              <a:gd name="connsiteY16" fmla="*/ 2664892 h 3338649"/>
              <a:gd name="connsiteX17" fmla="*/ 3287058 w 3545483"/>
              <a:gd name="connsiteY17" fmla="*/ 3338649 h 3338649"/>
              <a:gd name="connsiteX0" fmla="*/ 3287058 w 3545483"/>
              <a:gd name="connsiteY0" fmla="*/ 3338649 h 3338649"/>
              <a:gd name="connsiteX1" fmla="*/ 3545483 w 3545483"/>
              <a:gd name="connsiteY1" fmla="*/ 3268851 h 3338649"/>
              <a:gd name="connsiteX2" fmla="*/ 3085925 w 3545483"/>
              <a:gd name="connsiteY2" fmla="*/ 2212805 h 3338649"/>
              <a:gd name="connsiteX3" fmla="*/ 2797338 w 3545483"/>
              <a:gd name="connsiteY3" fmla="*/ 1926025 h 3338649"/>
              <a:gd name="connsiteX4" fmla="*/ 2758080 w 3545483"/>
              <a:gd name="connsiteY4" fmla="*/ 1937592 h 3338649"/>
              <a:gd name="connsiteX5" fmla="*/ 2023217 w 3545483"/>
              <a:gd name="connsiteY5" fmla="*/ 1182728 h 3338649"/>
              <a:gd name="connsiteX6" fmla="*/ 1915641 w 3545483"/>
              <a:gd name="connsiteY6" fmla="*/ 1182728 h 3338649"/>
              <a:gd name="connsiteX7" fmla="*/ 1772206 w 3545483"/>
              <a:gd name="connsiteY7" fmla="*/ 1009410 h 3338649"/>
              <a:gd name="connsiteX8" fmla="*/ 1855876 w 3545483"/>
              <a:gd name="connsiteY8" fmla="*/ 1015386 h 3338649"/>
              <a:gd name="connsiteX9" fmla="*/ 2814376 w 3545483"/>
              <a:gd name="connsiteY9" fmla="*/ 785058 h 3338649"/>
              <a:gd name="connsiteX10" fmla="*/ 1982065 w 3545483"/>
              <a:gd name="connsiteY10" fmla="*/ 0 h 3338649"/>
              <a:gd name="connsiteX11" fmla="*/ 1720361 w 3545483"/>
              <a:gd name="connsiteY11" fmla="*/ 43742 h 3338649"/>
              <a:gd name="connsiteX12" fmla="*/ 1194581 w 3545483"/>
              <a:gd name="connsiteY12" fmla="*/ 128650 h 3338649"/>
              <a:gd name="connsiteX13" fmla="*/ 1013194 w 3545483"/>
              <a:gd name="connsiteY13" fmla="*/ 166728 h 3338649"/>
              <a:gd name="connsiteX14" fmla="*/ 595573 w 3545483"/>
              <a:gd name="connsiteY14" fmla="*/ 252350 h 3338649"/>
              <a:gd name="connsiteX15" fmla="*/ 0 w 3545483"/>
              <a:gd name="connsiteY15" fmla="*/ 39881 h 3338649"/>
              <a:gd name="connsiteX16" fmla="*/ 1306042 w 3545483"/>
              <a:gd name="connsiteY16" fmla="*/ 1415810 h 3338649"/>
              <a:gd name="connsiteX17" fmla="*/ 2561100 w 3545483"/>
              <a:gd name="connsiteY17" fmla="*/ 2664892 h 3338649"/>
              <a:gd name="connsiteX18" fmla="*/ 3287058 w 3545483"/>
              <a:gd name="connsiteY18" fmla="*/ 3338649 h 3338649"/>
              <a:gd name="connsiteX0" fmla="*/ 3287058 w 3545483"/>
              <a:gd name="connsiteY0" fmla="*/ 3373284 h 3373284"/>
              <a:gd name="connsiteX1" fmla="*/ 3545483 w 3545483"/>
              <a:gd name="connsiteY1" fmla="*/ 3303486 h 3373284"/>
              <a:gd name="connsiteX2" fmla="*/ 3085925 w 3545483"/>
              <a:gd name="connsiteY2" fmla="*/ 2247440 h 3373284"/>
              <a:gd name="connsiteX3" fmla="*/ 2797338 w 3545483"/>
              <a:gd name="connsiteY3" fmla="*/ 1960660 h 3373284"/>
              <a:gd name="connsiteX4" fmla="*/ 2758080 w 3545483"/>
              <a:gd name="connsiteY4" fmla="*/ 1972227 h 3373284"/>
              <a:gd name="connsiteX5" fmla="*/ 2023217 w 3545483"/>
              <a:gd name="connsiteY5" fmla="*/ 1217363 h 3373284"/>
              <a:gd name="connsiteX6" fmla="*/ 1915641 w 3545483"/>
              <a:gd name="connsiteY6" fmla="*/ 1217363 h 3373284"/>
              <a:gd name="connsiteX7" fmla="*/ 1772206 w 3545483"/>
              <a:gd name="connsiteY7" fmla="*/ 1044045 h 3373284"/>
              <a:gd name="connsiteX8" fmla="*/ 1855876 w 3545483"/>
              <a:gd name="connsiteY8" fmla="*/ 1050021 h 3373284"/>
              <a:gd name="connsiteX9" fmla="*/ 2814376 w 3545483"/>
              <a:gd name="connsiteY9" fmla="*/ 819693 h 3373284"/>
              <a:gd name="connsiteX10" fmla="*/ 1982065 w 3545483"/>
              <a:gd name="connsiteY10" fmla="*/ 34635 h 3373284"/>
              <a:gd name="connsiteX11" fmla="*/ 1828129 w 3545483"/>
              <a:gd name="connsiteY11" fmla="*/ 0 h 3373284"/>
              <a:gd name="connsiteX12" fmla="*/ 1194581 w 3545483"/>
              <a:gd name="connsiteY12" fmla="*/ 163285 h 3373284"/>
              <a:gd name="connsiteX13" fmla="*/ 1013194 w 3545483"/>
              <a:gd name="connsiteY13" fmla="*/ 201363 h 3373284"/>
              <a:gd name="connsiteX14" fmla="*/ 595573 w 3545483"/>
              <a:gd name="connsiteY14" fmla="*/ 286985 h 3373284"/>
              <a:gd name="connsiteX15" fmla="*/ 0 w 3545483"/>
              <a:gd name="connsiteY15" fmla="*/ 74516 h 3373284"/>
              <a:gd name="connsiteX16" fmla="*/ 1306042 w 3545483"/>
              <a:gd name="connsiteY16" fmla="*/ 1450445 h 3373284"/>
              <a:gd name="connsiteX17" fmla="*/ 2561100 w 3545483"/>
              <a:gd name="connsiteY17" fmla="*/ 2699527 h 3373284"/>
              <a:gd name="connsiteX18" fmla="*/ 3287058 w 3545483"/>
              <a:gd name="connsiteY18" fmla="*/ 3373284 h 3373284"/>
              <a:gd name="connsiteX0" fmla="*/ 3287058 w 3545483"/>
              <a:gd name="connsiteY0" fmla="*/ 3373284 h 3373284"/>
              <a:gd name="connsiteX1" fmla="*/ 3545483 w 3545483"/>
              <a:gd name="connsiteY1" fmla="*/ 3303486 h 3373284"/>
              <a:gd name="connsiteX2" fmla="*/ 3085925 w 3545483"/>
              <a:gd name="connsiteY2" fmla="*/ 2247440 h 3373284"/>
              <a:gd name="connsiteX3" fmla="*/ 2797338 w 3545483"/>
              <a:gd name="connsiteY3" fmla="*/ 1960660 h 3373284"/>
              <a:gd name="connsiteX4" fmla="*/ 2758080 w 3545483"/>
              <a:gd name="connsiteY4" fmla="*/ 1972227 h 3373284"/>
              <a:gd name="connsiteX5" fmla="*/ 2023217 w 3545483"/>
              <a:gd name="connsiteY5" fmla="*/ 1217363 h 3373284"/>
              <a:gd name="connsiteX6" fmla="*/ 1915641 w 3545483"/>
              <a:gd name="connsiteY6" fmla="*/ 1217363 h 3373284"/>
              <a:gd name="connsiteX7" fmla="*/ 1772206 w 3545483"/>
              <a:gd name="connsiteY7" fmla="*/ 1044045 h 3373284"/>
              <a:gd name="connsiteX8" fmla="*/ 1855876 w 3545483"/>
              <a:gd name="connsiteY8" fmla="*/ 1050021 h 3373284"/>
              <a:gd name="connsiteX9" fmla="*/ 2814376 w 3545483"/>
              <a:gd name="connsiteY9" fmla="*/ 819693 h 3373284"/>
              <a:gd name="connsiteX10" fmla="*/ 1982065 w 3545483"/>
              <a:gd name="connsiteY10" fmla="*/ 34635 h 3373284"/>
              <a:gd name="connsiteX11" fmla="*/ 1828129 w 3545483"/>
              <a:gd name="connsiteY11" fmla="*/ 0 h 3373284"/>
              <a:gd name="connsiteX12" fmla="*/ 1194581 w 3545483"/>
              <a:gd name="connsiteY12" fmla="*/ 163285 h 3373284"/>
              <a:gd name="connsiteX13" fmla="*/ 1013194 w 3545483"/>
              <a:gd name="connsiteY13" fmla="*/ 201363 h 3373284"/>
              <a:gd name="connsiteX14" fmla="*/ 595573 w 3545483"/>
              <a:gd name="connsiteY14" fmla="*/ 286985 h 3373284"/>
              <a:gd name="connsiteX15" fmla="*/ 423872 w 3545483"/>
              <a:gd name="connsiteY15" fmla="*/ 222068 h 3373284"/>
              <a:gd name="connsiteX16" fmla="*/ 0 w 3545483"/>
              <a:gd name="connsiteY16" fmla="*/ 74516 h 3373284"/>
              <a:gd name="connsiteX17" fmla="*/ 1306042 w 3545483"/>
              <a:gd name="connsiteY17" fmla="*/ 1450445 h 3373284"/>
              <a:gd name="connsiteX18" fmla="*/ 2561100 w 3545483"/>
              <a:gd name="connsiteY18" fmla="*/ 2699527 h 3373284"/>
              <a:gd name="connsiteX19" fmla="*/ 3287058 w 3545483"/>
              <a:gd name="connsiteY19" fmla="*/ 3373284 h 3373284"/>
              <a:gd name="connsiteX0" fmla="*/ 3287058 w 3545483"/>
              <a:gd name="connsiteY0" fmla="*/ 3435333 h 3435333"/>
              <a:gd name="connsiteX1" fmla="*/ 3545483 w 3545483"/>
              <a:gd name="connsiteY1" fmla="*/ 3365535 h 3435333"/>
              <a:gd name="connsiteX2" fmla="*/ 3085925 w 3545483"/>
              <a:gd name="connsiteY2" fmla="*/ 2309489 h 3435333"/>
              <a:gd name="connsiteX3" fmla="*/ 2797338 w 3545483"/>
              <a:gd name="connsiteY3" fmla="*/ 2022709 h 3435333"/>
              <a:gd name="connsiteX4" fmla="*/ 2758080 w 3545483"/>
              <a:gd name="connsiteY4" fmla="*/ 2034276 h 3435333"/>
              <a:gd name="connsiteX5" fmla="*/ 2023217 w 3545483"/>
              <a:gd name="connsiteY5" fmla="*/ 1279412 h 3435333"/>
              <a:gd name="connsiteX6" fmla="*/ 1915641 w 3545483"/>
              <a:gd name="connsiteY6" fmla="*/ 1279412 h 3435333"/>
              <a:gd name="connsiteX7" fmla="*/ 1772206 w 3545483"/>
              <a:gd name="connsiteY7" fmla="*/ 1106094 h 3435333"/>
              <a:gd name="connsiteX8" fmla="*/ 1855876 w 3545483"/>
              <a:gd name="connsiteY8" fmla="*/ 1112070 h 3435333"/>
              <a:gd name="connsiteX9" fmla="*/ 2814376 w 3545483"/>
              <a:gd name="connsiteY9" fmla="*/ 881742 h 3435333"/>
              <a:gd name="connsiteX10" fmla="*/ 1982065 w 3545483"/>
              <a:gd name="connsiteY10" fmla="*/ 96684 h 3435333"/>
              <a:gd name="connsiteX11" fmla="*/ 1828129 w 3545483"/>
              <a:gd name="connsiteY11" fmla="*/ 62049 h 3435333"/>
              <a:gd name="connsiteX12" fmla="*/ 1194581 w 3545483"/>
              <a:gd name="connsiteY12" fmla="*/ 225334 h 3435333"/>
              <a:gd name="connsiteX13" fmla="*/ 1013194 w 3545483"/>
              <a:gd name="connsiteY13" fmla="*/ 263412 h 3435333"/>
              <a:gd name="connsiteX14" fmla="*/ 595573 w 3545483"/>
              <a:gd name="connsiteY14" fmla="*/ 349034 h 3435333"/>
              <a:gd name="connsiteX15" fmla="*/ 237726 w 3545483"/>
              <a:gd name="connsiteY15" fmla="*/ 0 h 3435333"/>
              <a:gd name="connsiteX16" fmla="*/ 0 w 3545483"/>
              <a:gd name="connsiteY16" fmla="*/ 136565 h 3435333"/>
              <a:gd name="connsiteX17" fmla="*/ 1306042 w 3545483"/>
              <a:gd name="connsiteY17" fmla="*/ 1512494 h 3435333"/>
              <a:gd name="connsiteX18" fmla="*/ 2561100 w 3545483"/>
              <a:gd name="connsiteY18" fmla="*/ 2761576 h 3435333"/>
              <a:gd name="connsiteX19" fmla="*/ 3287058 w 3545483"/>
              <a:gd name="connsiteY19" fmla="*/ 3435333 h 3435333"/>
              <a:gd name="connsiteX0" fmla="*/ 3287058 w 3545483"/>
              <a:gd name="connsiteY0" fmla="*/ 3435333 h 3435333"/>
              <a:gd name="connsiteX1" fmla="*/ 3545483 w 3545483"/>
              <a:gd name="connsiteY1" fmla="*/ 3365535 h 3435333"/>
              <a:gd name="connsiteX2" fmla="*/ 3085925 w 3545483"/>
              <a:gd name="connsiteY2" fmla="*/ 2309489 h 3435333"/>
              <a:gd name="connsiteX3" fmla="*/ 2797338 w 3545483"/>
              <a:gd name="connsiteY3" fmla="*/ 2022709 h 3435333"/>
              <a:gd name="connsiteX4" fmla="*/ 2758080 w 3545483"/>
              <a:gd name="connsiteY4" fmla="*/ 2034276 h 3435333"/>
              <a:gd name="connsiteX5" fmla="*/ 2023217 w 3545483"/>
              <a:gd name="connsiteY5" fmla="*/ 1279412 h 3435333"/>
              <a:gd name="connsiteX6" fmla="*/ 1915641 w 3545483"/>
              <a:gd name="connsiteY6" fmla="*/ 1279412 h 3435333"/>
              <a:gd name="connsiteX7" fmla="*/ 1772206 w 3545483"/>
              <a:gd name="connsiteY7" fmla="*/ 1106094 h 3435333"/>
              <a:gd name="connsiteX8" fmla="*/ 1855876 w 3545483"/>
              <a:gd name="connsiteY8" fmla="*/ 1112070 h 3435333"/>
              <a:gd name="connsiteX9" fmla="*/ 2814376 w 3545483"/>
              <a:gd name="connsiteY9" fmla="*/ 881742 h 3435333"/>
              <a:gd name="connsiteX10" fmla="*/ 1982065 w 3545483"/>
              <a:gd name="connsiteY10" fmla="*/ 96684 h 3435333"/>
              <a:gd name="connsiteX11" fmla="*/ 1828129 w 3545483"/>
              <a:gd name="connsiteY11" fmla="*/ 62049 h 3435333"/>
              <a:gd name="connsiteX12" fmla="*/ 1194581 w 3545483"/>
              <a:gd name="connsiteY12" fmla="*/ 225334 h 3435333"/>
              <a:gd name="connsiteX13" fmla="*/ 1013194 w 3545483"/>
              <a:gd name="connsiteY13" fmla="*/ 263412 h 3435333"/>
              <a:gd name="connsiteX14" fmla="*/ 595573 w 3545483"/>
              <a:gd name="connsiteY14" fmla="*/ 349034 h 3435333"/>
              <a:gd name="connsiteX15" fmla="*/ 237726 w 3545483"/>
              <a:gd name="connsiteY15" fmla="*/ 0 h 3435333"/>
              <a:gd name="connsiteX16" fmla="*/ 64644 w 3545483"/>
              <a:gd name="connsiteY16" fmla="*/ 94707 h 3435333"/>
              <a:gd name="connsiteX17" fmla="*/ 0 w 3545483"/>
              <a:gd name="connsiteY17" fmla="*/ 136565 h 3435333"/>
              <a:gd name="connsiteX18" fmla="*/ 1306042 w 3545483"/>
              <a:gd name="connsiteY18" fmla="*/ 1512494 h 3435333"/>
              <a:gd name="connsiteX19" fmla="*/ 2561100 w 3545483"/>
              <a:gd name="connsiteY19" fmla="*/ 2761576 h 3435333"/>
              <a:gd name="connsiteX20" fmla="*/ 3287058 w 3545483"/>
              <a:gd name="connsiteY20" fmla="*/ 3435333 h 3435333"/>
              <a:gd name="connsiteX0" fmla="*/ 3356308 w 3614733"/>
              <a:gd name="connsiteY0" fmla="*/ 3435333 h 3435333"/>
              <a:gd name="connsiteX1" fmla="*/ 3614733 w 3614733"/>
              <a:gd name="connsiteY1" fmla="*/ 3365535 h 3435333"/>
              <a:gd name="connsiteX2" fmla="*/ 3155175 w 3614733"/>
              <a:gd name="connsiteY2" fmla="*/ 2309489 h 3435333"/>
              <a:gd name="connsiteX3" fmla="*/ 2866588 w 3614733"/>
              <a:gd name="connsiteY3" fmla="*/ 2022709 h 3435333"/>
              <a:gd name="connsiteX4" fmla="*/ 2827330 w 3614733"/>
              <a:gd name="connsiteY4" fmla="*/ 2034276 h 3435333"/>
              <a:gd name="connsiteX5" fmla="*/ 2092467 w 3614733"/>
              <a:gd name="connsiteY5" fmla="*/ 1279412 h 3435333"/>
              <a:gd name="connsiteX6" fmla="*/ 1984891 w 3614733"/>
              <a:gd name="connsiteY6" fmla="*/ 1279412 h 3435333"/>
              <a:gd name="connsiteX7" fmla="*/ 1841456 w 3614733"/>
              <a:gd name="connsiteY7" fmla="*/ 1106094 h 3435333"/>
              <a:gd name="connsiteX8" fmla="*/ 1925126 w 3614733"/>
              <a:gd name="connsiteY8" fmla="*/ 1112070 h 3435333"/>
              <a:gd name="connsiteX9" fmla="*/ 2883626 w 3614733"/>
              <a:gd name="connsiteY9" fmla="*/ 881742 h 3435333"/>
              <a:gd name="connsiteX10" fmla="*/ 2051315 w 3614733"/>
              <a:gd name="connsiteY10" fmla="*/ 96684 h 3435333"/>
              <a:gd name="connsiteX11" fmla="*/ 1897379 w 3614733"/>
              <a:gd name="connsiteY11" fmla="*/ 62049 h 3435333"/>
              <a:gd name="connsiteX12" fmla="*/ 1263831 w 3614733"/>
              <a:gd name="connsiteY12" fmla="*/ 225334 h 3435333"/>
              <a:gd name="connsiteX13" fmla="*/ 1082444 w 3614733"/>
              <a:gd name="connsiteY13" fmla="*/ 263412 h 3435333"/>
              <a:gd name="connsiteX14" fmla="*/ 664823 w 3614733"/>
              <a:gd name="connsiteY14" fmla="*/ 349034 h 3435333"/>
              <a:gd name="connsiteX15" fmla="*/ 306976 w 3614733"/>
              <a:gd name="connsiteY15" fmla="*/ 0 h 3435333"/>
              <a:gd name="connsiteX16" fmla="*/ 0 w 3614733"/>
              <a:gd name="connsiteY16" fmla="*/ 62050 h 3435333"/>
              <a:gd name="connsiteX17" fmla="*/ 69250 w 3614733"/>
              <a:gd name="connsiteY17" fmla="*/ 136565 h 3435333"/>
              <a:gd name="connsiteX18" fmla="*/ 1375292 w 3614733"/>
              <a:gd name="connsiteY18" fmla="*/ 1512494 h 3435333"/>
              <a:gd name="connsiteX19" fmla="*/ 2630350 w 3614733"/>
              <a:gd name="connsiteY19" fmla="*/ 2761576 h 3435333"/>
              <a:gd name="connsiteX20" fmla="*/ 3356308 w 3614733"/>
              <a:gd name="connsiteY20" fmla="*/ 3435333 h 3435333"/>
              <a:gd name="connsiteX0" fmla="*/ 3356308 w 3614733"/>
              <a:gd name="connsiteY0" fmla="*/ 3435333 h 3435333"/>
              <a:gd name="connsiteX1" fmla="*/ 3614733 w 3614733"/>
              <a:gd name="connsiteY1" fmla="*/ 3365535 h 3435333"/>
              <a:gd name="connsiteX2" fmla="*/ 3155175 w 3614733"/>
              <a:gd name="connsiteY2" fmla="*/ 2309489 h 3435333"/>
              <a:gd name="connsiteX3" fmla="*/ 2866588 w 3614733"/>
              <a:gd name="connsiteY3" fmla="*/ 2022709 h 3435333"/>
              <a:gd name="connsiteX4" fmla="*/ 2827330 w 3614733"/>
              <a:gd name="connsiteY4" fmla="*/ 2034276 h 3435333"/>
              <a:gd name="connsiteX5" fmla="*/ 2092467 w 3614733"/>
              <a:gd name="connsiteY5" fmla="*/ 1279412 h 3435333"/>
              <a:gd name="connsiteX6" fmla="*/ 1984891 w 3614733"/>
              <a:gd name="connsiteY6" fmla="*/ 1279412 h 3435333"/>
              <a:gd name="connsiteX7" fmla="*/ 1841456 w 3614733"/>
              <a:gd name="connsiteY7" fmla="*/ 1106094 h 3435333"/>
              <a:gd name="connsiteX8" fmla="*/ 1925126 w 3614733"/>
              <a:gd name="connsiteY8" fmla="*/ 1112070 h 3435333"/>
              <a:gd name="connsiteX9" fmla="*/ 2883626 w 3614733"/>
              <a:gd name="connsiteY9" fmla="*/ 881742 h 3435333"/>
              <a:gd name="connsiteX10" fmla="*/ 2051315 w 3614733"/>
              <a:gd name="connsiteY10" fmla="*/ 96684 h 3435333"/>
              <a:gd name="connsiteX11" fmla="*/ 1897379 w 3614733"/>
              <a:gd name="connsiteY11" fmla="*/ 62049 h 3435333"/>
              <a:gd name="connsiteX12" fmla="*/ 1263831 w 3614733"/>
              <a:gd name="connsiteY12" fmla="*/ 225334 h 3435333"/>
              <a:gd name="connsiteX13" fmla="*/ 1082444 w 3614733"/>
              <a:gd name="connsiteY13" fmla="*/ 263412 h 3435333"/>
              <a:gd name="connsiteX14" fmla="*/ 721722 w 3614733"/>
              <a:gd name="connsiteY14" fmla="*/ 336370 h 3435333"/>
              <a:gd name="connsiteX15" fmla="*/ 664823 w 3614733"/>
              <a:gd name="connsiteY15" fmla="*/ 349034 h 3435333"/>
              <a:gd name="connsiteX16" fmla="*/ 306976 w 3614733"/>
              <a:gd name="connsiteY16" fmla="*/ 0 h 3435333"/>
              <a:gd name="connsiteX17" fmla="*/ 0 w 3614733"/>
              <a:gd name="connsiteY17" fmla="*/ 62050 h 3435333"/>
              <a:gd name="connsiteX18" fmla="*/ 69250 w 3614733"/>
              <a:gd name="connsiteY18" fmla="*/ 136565 h 3435333"/>
              <a:gd name="connsiteX19" fmla="*/ 1375292 w 3614733"/>
              <a:gd name="connsiteY19" fmla="*/ 1512494 h 3435333"/>
              <a:gd name="connsiteX20" fmla="*/ 2630350 w 3614733"/>
              <a:gd name="connsiteY20" fmla="*/ 2761576 h 3435333"/>
              <a:gd name="connsiteX21" fmla="*/ 3356308 w 3614733"/>
              <a:gd name="connsiteY21" fmla="*/ 3435333 h 3435333"/>
              <a:gd name="connsiteX0" fmla="*/ 3356308 w 3614733"/>
              <a:gd name="connsiteY0" fmla="*/ 3435333 h 3435333"/>
              <a:gd name="connsiteX1" fmla="*/ 3614733 w 3614733"/>
              <a:gd name="connsiteY1" fmla="*/ 3365535 h 3435333"/>
              <a:gd name="connsiteX2" fmla="*/ 3155175 w 3614733"/>
              <a:gd name="connsiteY2" fmla="*/ 2309489 h 3435333"/>
              <a:gd name="connsiteX3" fmla="*/ 2866588 w 3614733"/>
              <a:gd name="connsiteY3" fmla="*/ 2022709 h 3435333"/>
              <a:gd name="connsiteX4" fmla="*/ 2827330 w 3614733"/>
              <a:gd name="connsiteY4" fmla="*/ 2034276 h 3435333"/>
              <a:gd name="connsiteX5" fmla="*/ 2092467 w 3614733"/>
              <a:gd name="connsiteY5" fmla="*/ 1279412 h 3435333"/>
              <a:gd name="connsiteX6" fmla="*/ 1984891 w 3614733"/>
              <a:gd name="connsiteY6" fmla="*/ 1279412 h 3435333"/>
              <a:gd name="connsiteX7" fmla="*/ 1841456 w 3614733"/>
              <a:gd name="connsiteY7" fmla="*/ 1106094 h 3435333"/>
              <a:gd name="connsiteX8" fmla="*/ 1925126 w 3614733"/>
              <a:gd name="connsiteY8" fmla="*/ 1112070 h 3435333"/>
              <a:gd name="connsiteX9" fmla="*/ 2883626 w 3614733"/>
              <a:gd name="connsiteY9" fmla="*/ 881742 h 3435333"/>
              <a:gd name="connsiteX10" fmla="*/ 2051315 w 3614733"/>
              <a:gd name="connsiteY10" fmla="*/ 96684 h 3435333"/>
              <a:gd name="connsiteX11" fmla="*/ 1897379 w 3614733"/>
              <a:gd name="connsiteY11" fmla="*/ 62049 h 3435333"/>
              <a:gd name="connsiteX12" fmla="*/ 1263831 w 3614733"/>
              <a:gd name="connsiteY12" fmla="*/ 225334 h 3435333"/>
              <a:gd name="connsiteX13" fmla="*/ 1082444 w 3614733"/>
              <a:gd name="connsiteY13" fmla="*/ 263412 h 3435333"/>
              <a:gd name="connsiteX14" fmla="*/ 721722 w 3614733"/>
              <a:gd name="connsiteY14" fmla="*/ 336370 h 3435333"/>
              <a:gd name="connsiteX15" fmla="*/ 306976 w 3614733"/>
              <a:gd name="connsiteY15" fmla="*/ 0 h 3435333"/>
              <a:gd name="connsiteX16" fmla="*/ 0 w 3614733"/>
              <a:gd name="connsiteY16" fmla="*/ 62050 h 3435333"/>
              <a:gd name="connsiteX17" fmla="*/ 69250 w 3614733"/>
              <a:gd name="connsiteY17" fmla="*/ 136565 h 3435333"/>
              <a:gd name="connsiteX18" fmla="*/ 1375292 w 3614733"/>
              <a:gd name="connsiteY18" fmla="*/ 1512494 h 3435333"/>
              <a:gd name="connsiteX19" fmla="*/ 2630350 w 3614733"/>
              <a:gd name="connsiteY19" fmla="*/ 2761576 h 3435333"/>
              <a:gd name="connsiteX20" fmla="*/ 3356308 w 3614733"/>
              <a:gd name="connsiteY20" fmla="*/ 3435333 h 3435333"/>
              <a:gd name="connsiteX0" fmla="*/ 3356308 w 3614733"/>
              <a:gd name="connsiteY0" fmla="*/ 3441864 h 3441864"/>
              <a:gd name="connsiteX1" fmla="*/ 3614733 w 3614733"/>
              <a:gd name="connsiteY1" fmla="*/ 3372066 h 3441864"/>
              <a:gd name="connsiteX2" fmla="*/ 3155175 w 3614733"/>
              <a:gd name="connsiteY2" fmla="*/ 2316020 h 3441864"/>
              <a:gd name="connsiteX3" fmla="*/ 2866588 w 3614733"/>
              <a:gd name="connsiteY3" fmla="*/ 2029240 h 3441864"/>
              <a:gd name="connsiteX4" fmla="*/ 2827330 w 3614733"/>
              <a:gd name="connsiteY4" fmla="*/ 2040807 h 3441864"/>
              <a:gd name="connsiteX5" fmla="*/ 2092467 w 3614733"/>
              <a:gd name="connsiteY5" fmla="*/ 1285943 h 3441864"/>
              <a:gd name="connsiteX6" fmla="*/ 1984891 w 3614733"/>
              <a:gd name="connsiteY6" fmla="*/ 1285943 h 3441864"/>
              <a:gd name="connsiteX7" fmla="*/ 1841456 w 3614733"/>
              <a:gd name="connsiteY7" fmla="*/ 1112625 h 3441864"/>
              <a:gd name="connsiteX8" fmla="*/ 1925126 w 3614733"/>
              <a:gd name="connsiteY8" fmla="*/ 1118601 h 3441864"/>
              <a:gd name="connsiteX9" fmla="*/ 2883626 w 3614733"/>
              <a:gd name="connsiteY9" fmla="*/ 888273 h 3441864"/>
              <a:gd name="connsiteX10" fmla="*/ 2051315 w 3614733"/>
              <a:gd name="connsiteY10" fmla="*/ 103215 h 3441864"/>
              <a:gd name="connsiteX11" fmla="*/ 1897379 w 3614733"/>
              <a:gd name="connsiteY11" fmla="*/ 68580 h 3441864"/>
              <a:gd name="connsiteX12" fmla="*/ 1263831 w 3614733"/>
              <a:gd name="connsiteY12" fmla="*/ 231865 h 3441864"/>
              <a:gd name="connsiteX13" fmla="*/ 1082444 w 3614733"/>
              <a:gd name="connsiteY13" fmla="*/ 269943 h 3441864"/>
              <a:gd name="connsiteX14" fmla="*/ 721722 w 3614733"/>
              <a:gd name="connsiteY14" fmla="*/ 342901 h 3441864"/>
              <a:gd name="connsiteX15" fmla="*/ 336367 w 3614733"/>
              <a:gd name="connsiteY15" fmla="*/ 0 h 3441864"/>
              <a:gd name="connsiteX16" fmla="*/ 0 w 3614733"/>
              <a:gd name="connsiteY16" fmla="*/ 68581 h 3441864"/>
              <a:gd name="connsiteX17" fmla="*/ 69250 w 3614733"/>
              <a:gd name="connsiteY17" fmla="*/ 143096 h 3441864"/>
              <a:gd name="connsiteX18" fmla="*/ 1375292 w 3614733"/>
              <a:gd name="connsiteY18" fmla="*/ 1519025 h 3441864"/>
              <a:gd name="connsiteX19" fmla="*/ 2630350 w 3614733"/>
              <a:gd name="connsiteY19" fmla="*/ 2768107 h 3441864"/>
              <a:gd name="connsiteX20" fmla="*/ 3356308 w 3614733"/>
              <a:gd name="connsiteY20" fmla="*/ 3441864 h 3441864"/>
              <a:gd name="connsiteX0" fmla="*/ 3356308 w 3614733"/>
              <a:gd name="connsiteY0" fmla="*/ 3441864 h 3441864"/>
              <a:gd name="connsiteX1" fmla="*/ 3614733 w 3614733"/>
              <a:gd name="connsiteY1" fmla="*/ 3372066 h 3441864"/>
              <a:gd name="connsiteX2" fmla="*/ 3155175 w 3614733"/>
              <a:gd name="connsiteY2" fmla="*/ 2316020 h 3441864"/>
              <a:gd name="connsiteX3" fmla="*/ 2866588 w 3614733"/>
              <a:gd name="connsiteY3" fmla="*/ 2029240 h 3441864"/>
              <a:gd name="connsiteX4" fmla="*/ 2827330 w 3614733"/>
              <a:gd name="connsiteY4" fmla="*/ 2040807 h 3441864"/>
              <a:gd name="connsiteX5" fmla="*/ 2092467 w 3614733"/>
              <a:gd name="connsiteY5" fmla="*/ 1285943 h 3441864"/>
              <a:gd name="connsiteX6" fmla="*/ 1984891 w 3614733"/>
              <a:gd name="connsiteY6" fmla="*/ 1285943 h 3441864"/>
              <a:gd name="connsiteX7" fmla="*/ 1841456 w 3614733"/>
              <a:gd name="connsiteY7" fmla="*/ 1112625 h 3441864"/>
              <a:gd name="connsiteX8" fmla="*/ 1925126 w 3614733"/>
              <a:gd name="connsiteY8" fmla="*/ 1118601 h 3441864"/>
              <a:gd name="connsiteX9" fmla="*/ 2883626 w 3614733"/>
              <a:gd name="connsiteY9" fmla="*/ 888273 h 3441864"/>
              <a:gd name="connsiteX10" fmla="*/ 2051315 w 3614733"/>
              <a:gd name="connsiteY10" fmla="*/ 103215 h 3441864"/>
              <a:gd name="connsiteX11" fmla="*/ 1263831 w 3614733"/>
              <a:gd name="connsiteY11" fmla="*/ 231865 h 3441864"/>
              <a:gd name="connsiteX12" fmla="*/ 1082444 w 3614733"/>
              <a:gd name="connsiteY12" fmla="*/ 269943 h 3441864"/>
              <a:gd name="connsiteX13" fmla="*/ 721722 w 3614733"/>
              <a:gd name="connsiteY13" fmla="*/ 342901 h 3441864"/>
              <a:gd name="connsiteX14" fmla="*/ 336367 w 3614733"/>
              <a:gd name="connsiteY14" fmla="*/ 0 h 3441864"/>
              <a:gd name="connsiteX15" fmla="*/ 0 w 3614733"/>
              <a:gd name="connsiteY15" fmla="*/ 68581 h 3441864"/>
              <a:gd name="connsiteX16" fmla="*/ 69250 w 3614733"/>
              <a:gd name="connsiteY16" fmla="*/ 143096 h 3441864"/>
              <a:gd name="connsiteX17" fmla="*/ 1375292 w 3614733"/>
              <a:gd name="connsiteY17" fmla="*/ 1519025 h 3441864"/>
              <a:gd name="connsiteX18" fmla="*/ 2630350 w 3614733"/>
              <a:gd name="connsiteY18" fmla="*/ 2768107 h 3441864"/>
              <a:gd name="connsiteX19" fmla="*/ 3356308 w 3614733"/>
              <a:gd name="connsiteY19" fmla="*/ 3441864 h 3441864"/>
              <a:gd name="connsiteX0" fmla="*/ 3356308 w 3614733"/>
              <a:gd name="connsiteY0" fmla="*/ 3441864 h 3441864"/>
              <a:gd name="connsiteX1" fmla="*/ 3614733 w 3614733"/>
              <a:gd name="connsiteY1" fmla="*/ 3372066 h 3441864"/>
              <a:gd name="connsiteX2" fmla="*/ 3155175 w 3614733"/>
              <a:gd name="connsiteY2" fmla="*/ 2316020 h 3441864"/>
              <a:gd name="connsiteX3" fmla="*/ 2866588 w 3614733"/>
              <a:gd name="connsiteY3" fmla="*/ 2029240 h 3441864"/>
              <a:gd name="connsiteX4" fmla="*/ 2827330 w 3614733"/>
              <a:gd name="connsiteY4" fmla="*/ 2040807 h 3441864"/>
              <a:gd name="connsiteX5" fmla="*/ 2092467 w 3614733"/>
              <a:gd name="connsiteY5" fmla="*/ 1285943 h 3441864"/>
              <a:gd name="connsiteX6" fmla="*/ 1984891 w 3614733"/>
              <a:gd name="connsiteY6" fmla="*/ 1285943 h 3441864"/>
              <a:gd name="connsiteX7" fmla="*/ 1841456 w 3614733"/>
              <a:gd name="connsiteY7" fmla="*/ 1112625 h 3441864"/>
              <a:gd name="connsiteX8" fmla="*/ 1925126 w 3614733"/>
              <a:gd name="connsiteY8" fmla="*/ 1118601 h 3441864"/>
              <a:gd name="connsiteX9" fmla="*/ 2883626 w 3614733"/>
              <a:gd name="connsiteY9" fmla="*/ 888273 h 3441864"/>
              <a:gd name="connsiteX10" fmla="*/ 2051315 w 3614733"/>
              <a:gd name="connsiteY10" fmla="*/ 103215 h 3441864"/>
              <a:gd name="connsiteX11" fmla="*/ 1082444 w 3614733"/>
              <a:gd name="connsiteY11" fmla="*/ 269943 h 3441864"/>
              <a:gd name="connsiteX12" fmla="*/ 721722 w 3614733"/>
              <a:gd name="connsiteY12" fmla="*/ 342901 h 3441864"/>
              <a:gd name="connsiteX13" fmla="*/ 336367 w 3614733"/>
              <a:gd name="connsiteY13" fmla="*/ 0 h 3441864"/>
              <a:gd name="connsiteX14" fmla="*/ 0 w 3614733"/>
              <a:gd name="connsiteY14" fmla="*/ 68581 h 3441864"/>
              <a:gd name="connsiteX15" fmla="*/ 69250 w 3614733"/>
              <a:gd name="connsiteY15" fmla="*/ 143096 h 3441864"/>
              <a:gd name="connsiteX16" fmla="*/ 1375292 w 3614733"/>
              <a:gd name="connsiteY16" fmla="*/ 1519025 h 3441864"/>
              <a:gd name="connsiteX17" fmla="*/ 2630350 w 3614733"/>
              <a:gd name="connsiteY17" fmla="*/ 2768107 h 3441864"/>
              <a:gd name="connsiteX18" fmla="*/ 3356308 w 3614733"/>
              <a:gd name="connsiteY18" fmla="*/ 3441864 h 3441864"/>
              <a:gd name="connsiteX0" fmla="*/ 3356308 w 3614733"/>
              <a:gd name="connsiteY0" fmla="*/ 3441864 h 3441864"/>
              <a:gd name="connsiteX1" fmla="*/ 3614733 w 3614733"/>
              <a:gd name="connsiteY1" fmla="*/ 3372066 h 3441864"/>
              <a:gd name="connsiteX2" fmla="*/ 3155175 w 3614733"/>
              <a:gd name="connsiteY2" fmla="*/ 2316020 h 3441864"/>
              <a:gd name="connsiteX3" fmla="*/ 2866588 w 3614733"/>
              <a:gd name="connsiteY3" fmla="*/ 2029240 h 3441864"/>
              <a:gd name="connsiteX4" fmla="*/ 2827330 w 3614733"/>
              <a:gd name="connsiteY4" fmla="*/ 2040807 h 3441864"/>
              <a:gd name="connsiteX5" fmla="*/ 2092467 w 3614733"/>
              <a:gd name="connsiteY5" fmla="*/ 1285943 h 3441864"/>
              <a:gd name="connsiteX6" fmla="*/ 1984891 w 3614733"/>
              <a:gd name="connsiteY6" fmla="*/ 1285943 h 3441864"/>
              <a:gd name="connsiteX7" fmla="*/ 1841456 w 3614733"/>
              <a:gd name="connsiteY7" fmla="*/ 1112625 h 3441864"/>
              <a:gd name="connsiteX8" fmla="*/ 1925126 w 3614733"/>
              <a:gd name="connsiteY8" fmla="*/ 1118601 h 3441864"/>
              <a:gd name="connsiteX9" fmla="*/ 2862361 w 3614733"/>
              <a:gd name="connsiteY9" fmla="*/ 893589 h 3441864"/>
              <a:gd name="connsiteX10" fmla="*/ 2051315 w 3614733"/>
              <a:gd name="connsiteY10" fmla="*/ 103215 h 3441864"/>
              <a:gd name="connsiteX11" fmla="*/ 1082444 w 3614733"/>
              <a:gd name="connsiteY11" fmla="*/ 269943 h 3441864"/>
              <a:gd name="connsiteX12" fmla="*/ 721722 w 3614733"/>
              <a:gd name="connsiteY12" fmla="*/ 342901 h 3441864"/>
              <a:gd name="connsiteX13" fmla="*/ 336367 w 3614733"/>
              <a:gd name="connsiteY13" fmla="*/ 0 h 3441864"/>
              <a:gd name="connsiteX14" fmla="*/ 0 w 3614733"/>
              <a:gd name="connsiteY14" fmla="*/ 68581 h 3441864"/>
              <a:gd name="connsiteX15" fmla="*/ 69250 w 3614733"/>
              <a:gd name="connsiteY15" fmla="*/ 143096 h 3441864"/>
              <a:gd name="connsiteX16" fmla="*/ 1375292 w 3614733"/>
              <a:gd name="connsiteY16" fmla="*/ 1519025 h 3441864"/>
              <a:gd name="connsiteX17" fmla="*/ 2630350 w 3614733"/>
              <a:gd name="connsiteY17" fmla="*/ 2768107 h 3441864"/>
              <a:gd name="connsiteX18" fmla="*/ 3356308 w 3614733"/>
              <a:gd name="connsiteY18" fmla="*/ 3441864 h 3441864"/>
              <a:gd name="connsiteX0" fmla="*/ 3356308 w 3614733"/>
              <a:gd name="connsiteY0" fmla="*/ 3441864 h 3441864"/>
              <a:gd name="connsiteX1" fmla="*/ 3614733 w 3614733"/>
              <a:gd name="connsiteY1" fmla="*/ 3372066 h 3441864"/>
              <a:gd name="connsiteX2" fmla="*/ 3155175 w 3614733"/>
              <a:gd name="connsiteY2" fmla="*/ 2316020 h 3441864"/>
              <a:gd name="connsiteX3" fmla="*/ 2866588 w 3614733"/>
              <a:gd name="connsiteY3" fmla="*/ 2029240 h 3441864"/>
              <a:gd name="connsiteX4" fmla="*/ 2827330 w 3614733"/>
              <a:gd name="connsiteY4" fmla="*/ 2040807 h 3441864"/>
              <a:gd name="connsiteX5" fmla="*/ 2092467 w 3614733"/>
              <a:gd name="connsiteY5" fmla="*/ 1285943 h 3441864"/>
              <a:gd name="connsiteX6" fmla="*/ 1984891 w 3614733"/>
              <a:gd name="connsiteY6" fmla="*/ 1285943 h 3441864"/>
              <a:gd name="connsiteX7" fmla="*/ 1841456 w 3614733"/>
              <a:gd name="connsiteY7" fmla="*/ 1112625 h 3441864"/>
              <a:gd name="connsiteX8" fmla="*/ 1925126 w 3614733"/>
              <a:gd name="connsiteY8" fmla="*/ 1118601 h 3441864"/>
              <a:gd name="connsiteX9" fmla="*/ 2862361 w 3614733"/>
              <a:gd name="connsiteY9" fmla="*/ 893589 h 3441864"/>
              <a:gd name="connsiteX10" fmla="*/ 2035366 w 3614733"/>
              <a:gd name="connsiteY10" fmla="*/ 103215 h 3441864"/>
              <a:gd name="connsiteX11" fmla="*/ 1082444 w 3614733"/>
              <a:gd name="connsiteY11" fmla="*/ 269943 h 3441864"/>
              <a:gd name="connsiteX12" fmla="*/ 721722 w 3614733"/>
              <a:gd name="connsiteY12" fmla="*/ 342901 h 3441864"/>
              <a:gd name="connsiteX13" fmla="*/ 336367 w 3614733"/>
              <a:gd name="connsiteY13" fmla="*/ 0 h 3441864"/>
              <a:gd name="connsiteX14" fmla="*/ 0 w 3614733"/>
              <a:gd name="connsiteY14" fmla="*/ 68581 h 3441864"/>
              <a:gd name="connsiteX15" fmla="*/ 69250 w 3614733"/>
              <a:gd name="connsiteY15" fmla="*/ 143096 h 3441864"/>
              <a:gd name="connsiteX16" fmla="*/ 1375292 w 3614733"/>
              <a:gd name="connsiteY16" fmla="*/ 1519025 h 3441864"/>
              <a:gd name="connsiteX17" fmla="*/ 2630350 w 3614733"/>
              <a:gd name="connsiteY17" fmla="*/ 2768107 h 3441864"/>
              <a:gd name="connsiteX18" fmla="*/ 3356308 w 3614733"/>
              <a:gd name="connsiteY18" fmla="*/ 3441864 h 3441864"/>
              <a:gd name="connsiteX0" fmla="*/ 3356308 w 3614733"/>
              <a:gd name="connsiteY0" fmla="*/ 3441864 h 3441864"/>
              <a:gd name="connsiteX1" fmla="*/ 3614733 w 3614733"/>
              <a:gd name="connsiteY1" fmla="*/ 3372066 h 3441864"/>
              <a:gd name="connsiteX2" fmla="*/ 3155175 w 3614733"/>
              <a:gd name="connsiteY2" fmla="*/ 2316020 h 3441864"/>
              <a:gd name="connsiteX3" fmla="*/ 2866588 w 3614733"/>
              <a:gd name="connsiteY3" fmla="*/ 2029240 h 3441864"/>
              <a:gd name="connsiteX4" fmla="*/ 2827330 w 3614733"/>
              <a:gd name="connsiteY4" fmla="*/ 2040807 h 3441864"/>
              <a:gd name="connsiteX5" fmla="*/ 2092467 w 3614733"/>
              <a:gd name="connsiteY5" fmla="*/ 1285943 h 3441864"/>
              <a:gd name="connsiteX6" fmla="*/ 1984891 w 3614733"/>
              <a:gd name="connsiteY6" fmla="*/ 1285943 h 3441864"/>
              <a:gd name="connsiteX7" fmla="*/ 1841456 w 3614733"/>
              <a:gd name="connsiteY7" fmla="*/ 1112625 h 3441864"/>
              <a:gd name="connsiteX8" fmla="*/ 2862361 w 3614733"/>
              <a:gd name="connsiteY8" fmla="*/ 893589 h 3441864"/>
              <a:gd name="connsiteX9" fmla="*/ 2035366 w 3614733"/>
              <a:gd name="connsiteY9" fmla="*/ 103215 h 3441864"/>
              <a:gd name="connsiteX10" fmla="*/ 1082444 w 3614733"/>
              <a:gd name="connsiteY10" fmla="*/ 269943 h 3441864"/>
              <a:gd name="connsiteX11" fmla="*/ 721722 w 3614733"/>
              <a:gd name="connsiteY11" fmla="*/ 342901 h 3441864"/>
              <a:gd name="connsiteX12" fmla="*/ 336367 w 3614733"/>
              <a:gd name="connsiteY12" fmla="*/ 0 h 3441864"/>
              <a:gd name="connsiteX13" fmla="*/ 0 w 3614733"/>
              <a:gd name="connsiteY13" fmla="*/ 68581 h 3441864"/>
              <a:gd name="connsiteX14" fmla="*/ 69250 w 3614733"/>
              <a:gd name="connsiteY14" fmla="*/ 143096 h 3441864"/>
              <a:gd name="connsiteX15" fmla="*/ 1375292 w 3614733"/>
              <a:gd name="connsiteY15" fmla="*/ 1519025 h 3441864"/>
              <a:gd name="connsiteX16" fmla="*/ 2630350 w 3614733"/>
              <a:gd name="connsiteY16" fmla="*/ 2768107 h 3441864"/>
              <a:gd name="connsiteX17" fmla="*/ 3356308 w 3614733"/>
              <a:gd name="connsiteY17" fmla="*/ 3441864 h 344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14733" h="3441864">
                <a:moveTo>
                  <a:pt x="3356308" y="3441864"/>
                </a:moveTo>
                <a:lnTo>
                  <a:pt x="3614733" y="3372066"/>
                </a:lnTo>
                <a:lnTo>
                  <a:pt x="3155175" y="2316020"/>
                </a:lnTo>
                <a:lnTo>
                  <a:pt x="2866588" y="2029240"/>
                </a:lnTo>
                <a:lnTo>
                  <a:pt x="2827330" y="2040807"/>
                </a:lnTo>
                <a:lnTo>
                  <a:pt x="2092467" y="1285943"/>
                </a:lnTo>
                <a:lnTo>
                  <a:pt x="1984891" y="1285943"/>
                </a:lnTo>
                <a:lnTo>
                  <a:pt x="1841456" y="1112625"/>
                </a:lnTo>
                <a:lnTo>
                  <a:pt x="2862361" y="893589"/>
                </a:lnTo>
                <a:lnTo>
                  <a:pt x="2035366" y="103215"/>
                </a:lnTo>
                <a:lnTo>
                  <a:pt x="1082444" y="269943"/>
                </a:lnTo>
                <a:lnTo>
                  <a:pt x="721722" y="342901"/>
                </a:lnTo>
                <a:lnTo>
                  <a:pt x="336367" y="0"/>
                </a:lnTo>
                <a:lnTo>
                  <a:pt x="0" y="68581"/>
                </a:lnTo>
                <a:lnTo>
                  <a:pt x="69250" y="143096"/>
                </a:lnTo>
                <a:cubicBezTo>
                  <a:pt x="188657" y="332026"/>
                  <a:pt x="827449" y="969230"/>
                  <a:pt x="1375292" y="1519025"/>
                </a:cubicBezTo>
                <a:lnTo>
                  <a:pt x="2630350" y="2768107"/>
                </a:lnTo>
                <a:lnTo>
                  <a:pt x="3356308" y="3441864"/>
                </a:lnTo>
                <a:close/>
              </a:path>
            </a:pathLst>
          </a:custGeom>
          <a:solidFill>
            <a:srgbClr val="009CD6">
              <a:alpha val="50196"/>
            </a:srgbClr>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799">
              <a:solidFill>
                <a:prstClr val="white"/>
              </a:solidFill>
              <a:latin typeface="Calibri" panose="020F0502020204030204"/>
            </a:endParaRPr>
          </a:p>
        </p:txBody>
      </p:sp>
      <p:sp>
        <p:nvSpPr>
          <p:cNvPr id="43" name="Vrije vorm 41"/>
          <p:cNvSpPr/>
          <p:nvPr/>
        </p:nvSpPr>
        <p:spPr>
          <a:xfrm>
            <a:off x="7176899" y="5202926"/>
            <a:ext cx="1834073" cy="1161389"/>
          </a:xfrm>
          <a:custGeom>
            <a:avLst/>
            <a:gdLst>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1017917 w 1834551"/>
              <a:gd name="connsiteY9" fmla="*/ 454325 h 1161691"/>
              <a:gd name="connsiteX10" fmla="*/ 1104181 w 1834551"/>
              <a:gd name="connsiteY10" fmla="*/ 437072 h 1161691"/>
              <a:gd name="connsiteX11" fmla="*/ 1178944 w 1834551"/>
              <a:gd name="connsiteY11" fmla="*/ 517585 h 1161691"/>
              <a:gd name="connsiteX12" fmla="*/ 1190446 w 1834551"/>
              <a:gd name="connsiteY12" fmla="*/ 615351 h 1161691"/>
              <a:gd name="connsiteX13" fmla="*/ 1242204 w 1834551"/>
              <a:gd name="connsiteY13" fmla="*/ 661359 h 1161691"/>
              <a:gd name="connsiteX14" fmla="*/ 1115683 w 1834551"/>
              <a:gd name="connsiteY14" fmla="*/ 718868 h 1161691"/>
              <a:gd name="connsiteX15" fmla="*/ 994914 w 1834551"/>
              <a:gd name="connsiteY15" fmla="*/ 586596 h 1161691"/>
              <a:gd name="connsiteX16" fmla="*/ 885646 w 1834551"/>
              <a:gd name="connsiteY16" fmla="*/ 621102 h 1161691"/>
              <a:gd name="connsiteX17" fmla="*/ 506083 w 1834551"/>
              <a:gd name="connsiteY17" fmla="*/ 276045 h 1161691"/>
              <a:gd name="connsiteX18" fmla="*/ 488831 w 1834551"/>
              <a:gd name="connsiteY18" fmla="*/ 276045 h 1161691"/>
              <a:gd name="connsiteX19" fmla="*/ 408317 w 1834551"/>
              <a:gd name="connsiteY19" fmla="*/ 207034 h 1161691"/>
              <a:gd name="connsiteX20" fmla="*/ 310551 w 1834551"/>
              <a:gd name="connsiteY20" fmla="*/ 46008 h 1161691"/>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1017917 w 1834551"/>
              <a:gd name="connsiteY9" fmla="*/ 454325 h 1161691"/>
              <a:gd name="connsiteX10" fmla="*/ 1104181 w 1834551"/>
              <a:gd name="connsiteY10" fmla="*/ 437072 h 1161691"/>
              <a:gd name="connsiteX11" fmla="*/ 1178944 w 1834551"/>
              <a:gd name="connsiteY11" fmla="*/ 517585 h 1161691"/>
              <a:gd name="connsiteX12" fmla="*/ 1190446 w 1834551"/>
              <a:gd name="connsiteY12" fmla="*/ 615351 h 1161691"/>
              <a:gd name="connsiteX13" fmla="*/ 1115683 w 1834551"/>
              <a:gd name="connsiteY13" fmla="*/ 718868 h 1161691"/>
              <a:gd name="connsiteX14" fmla="*/ 994914 w 1834551"/>
              <a:gd name="connsiteY14" fmla="*/ 586596 h 1161691"/>
              <a:gd name="connsiteX15" fmla="*/ 885646 w 1834551"/>
              <a:gd name="connsiteY15" fmla="*/ 621102 h 1161691"/>
              <a:gd name="connsiteX16" fmla="*/ 506083 w 1834551"/>
              <a:gd name="connsiteY16" fmla="*/ 276045 h 1161691"/>
              <a:gd name="connsiteX17" fmla="*/ 488831 w 1834551"/>
              <a:gd name="connsiteY17" fmla="*/ 276045 h 1161691"/>
              <a:gd name="connsiteX18" fmla="*/ 408317 w 1834551"/>
              <a:gd name="connsiteY18" fmla="*/ 207034 h 1161691"/>
              <a:gd name="connsiteX19" fmla="*/ 310551 w 1834551"/>
              <a:gd name="connsiteY19" fmla="*/ 46008 h 1161691"/>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1017917 w 1834551"/>
              <a:gd name="connsiteY9" fmla="*/ 454325 h 1161691"/>
              <a:gd name="connsiteX10" fmla="*/ 1104181 w 1834551"/>
              <a:gd name="connsiteY10" fmla="*/ 437072 h 1161691"/>
              <a:gd name="connsiteX11" fmla="*/ 1178944 w 1834551"/>
              <a:gd name="connsiteY11" fmla="*/ 517585 h 1161691"/>
              <a:gd name="connsiteX12" fmla="*/ 1115683 w 1834551"/>
              <a:gd name="connsiteY12" fmla="*/ 718868 h 1161691"/>
              <a:gd name="connsiteX13" fmla="*/ 994914 w 1834551"/>
              <a:gd name="connsiteY13" fmla="*/ 586596 h 1161691"/>
              <a:gd name="connsiteX14" fmla="*/ 885646 w 1834551"/>
              <a:gd name="connsiteY14" fmla="*/ 621102 h 1161691"/>
              <a:gd name="connsiteX15" fmla="*/ 506083 w 1834551"/>
              <a:gd name="connsiteY15" fmla="*/ 276045 h 1161691"/>
              <a:gd name="connsiteX16" fmla="*/ 488831 w 1834551"/>
              <a:gd name="connsiteY16" fmla="*/ 276045 h 1161691"/>
              <a:gd name="connsiteX17" fmla="*/ 408317 w 1834551"/>
              <a:gd name="connsiteY17" fmla="*/ 207034 h 1161691"/>
              <a:gd name="connsiteX18" fmla="*/ 310551 w 1834551"/>
              <a:gd name="connsiteY18" fmla="*/ 46008 h 1161691"/>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1017917 w 1834551"/>
              <a:gd name="connsiteY9" fmla="*/ 454325 h 1161691"/>
              <a:gd name="connsiteX10" fmla="*/ 1104181 w 1834551"/>
              <a:gd name="connsiteY10" fmla="*/ 437072 h 1161691"/>
              <a:gd name="connsiteX11" fmla="*/ 1115683 w 1834551"/>
              <a:gd name="connsiteY11" fmla="*/ 718868 h 1161691"/>
              <a:gd name="connsiteX12" fmla="*/ 994914 w 1834551"/>
              <a:gd name="connsiteY12" fmla="*/ 586596 h 1161691"/>
              <a:gd name="connsiteX13" fmla="*/ 885646 w 1834551"/>
              <a:gd name="connsiteY13" fmla="*/ 621102 h 1161691"/>
              <a:gd name="connsiteX14" fmla="*/ 506083 w 1834551"/>
              <a:gd name="connsiteY14" fmla="*/ 276045 h 1161691"/>
              <a:gd name="connsiteX15" fmla="*/ 488831 w 1834551"/>
              <a:gd name="connsiteY15" fmla="*/ 276045 h 1161691"/>
              <a:gd name="connsiteX16" fmla="*/ 408317 w 1834551"/>
              <a:gd name="connsiteY16" fmla="*/ 207034 h 1161691"/>
              <a:gd name="connsiteX17" fmla="*/ 310551 w 1834551"/>
              <a:gd name="connsiteY17" fmla="*/ 46008 h 1161691"/>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1017917 w 1834551"/>
              <a:gd name="connsiteY9" fmla="*/ 454325 h 1161691"/>
              <a:gd name="connsiteX10" fmla="*/ 1115683 w 1834551"/>
              <a:gd name="connsiteY10" fmla="*/ 718868 h 1161691"/>
              <a:gd name="connsiteX11" fmla="*/ 994914 w 1834551"/>
              <a:gd name="connsiteY11" fmla="*/ 586596 h 1161691"/>
              <a:gd name="connsiteX12" fmla="*/ 885646 w 1834551"/>
              <a:gd name="connsiteY12" fmla="*/ 621102 h 1161691"/>
              <a:gd name="connsiteX13" fmla="*/ 506083 w 1834551"/>
              <a:gd name="connsiteY13" fmla="*/ 276045 h 1161691"/>
              <a:gd name="connsiteX14" fmla="*/ 488831 w 1834551"/>
              <a:gd name="connsiteY14" fmla="*/ 276045 h 1161691"/>
              <a:gd name="connsiteX15" fmla="*/ 408317 w 1834551"/>
              <a:gd name="connsiteY15" fmla="*/ 207034 h 1161691"/>
              <a:gd name="connsiteX16" fmla="*/ 310551 w 1834551"/>
              <a:gd name="connsiteY16" fmla="*/ 46008 h 1161691"/>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1115683 w 1834551"/>
              <a:gd name="connsiteY9" fmla="*/ 718868 h 1161691"/>
              <a:gd name="connsiteX10" fmla="*/ 994914 w 1834551"/>
              <a:gd name="connsiteY10" fmla="*/ 586596 h 1161691"/>
              <a:gd name="connsiteX11" fmla="*/ 885646 w 1834551"/>
              <a:gd name="connsiteY11" fmla="*/ 621102 h 1161691"/>
              <a:gd name="connsiteX12" fmla="*/ 506083 w 1834551"/>
              <a:gd name="connsiteY12" fmla="*/ 276045 h 1161691"/>
              <a:gd name="connsiteX13" fmla="*/ 488831 w 1834551"/>
              <a:gd name="connsiteY13" fmla="*/ 276045 h 1161691"/>
              <a:gd name="connsiteX14" fmla="*/ 408317 w 1834551"/>
              <a:gd name="connsiteY14" fmla="*/ 207034 h 1161691"/>
              <a:gd name="connsiteX15" fmla="*/ 310551 w 1834551"/>
              <a:gd name="connsiteY15" fmla="*/ 46008 h 1161691"/>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1115683 w 1834551"/>
              <a:gd name="connsiteY9" fmla="*/ 718868 h 1161691"/>
              <a:gd name="connsiteX10" fmla="*/ 885646 w 1834551"/>
              <a:gd name="connsiteY10" fmla="*/ 621102 h 1161691"/>
              <a:gd name="connsiteX11" fmla="*/ 506083 w 1834551"/>
              <a:gd name="connsiteY11" fmla="*/ 276045 h 1161691"/>
              <a:gd name="connsiteX12" fmla="*/ 488831 w 1834551"/>
              <a:gd name="connsiteY12" fmla="*/ 276045 h 1161691"/>
              <a:gd name="connsiteX13" fmla="*/ 408317 w 1834551"/>
              <a:gd name="connsiteY13" fmla="*/ 207034 h 1161691"/>
              <a:gd name="connsiteX14" fmla="*/ 310551 w 1834551"/>
              <a:gd name="connsiteY14" fmla="*/ 46008 h 1161691"/>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885646 w 1834551"/>
              <a:gd name="connsiteY9" fmla="*/ 621102 h 1161691"/>
              <a:gd name="connsiteX10" fmla="*/ 506083 w 1834551"/>
              <a:gd name="connsiteY10" fmla="*/ 276045 h 1161691"/>
              <a:gd name="connsiteX11" fmla="*/ 488831 w 1834551"/>
              <a:gd name="connsiteY11" fmla="*/ 276045 h 1161691"/>
              <a:gd name="connsiteX12" fmla="*/ 408317 w 1834551"/>
              <a:gd name="connsiteY12" fmla="*/ 207034 h 1161691"/>
              <a:gd name="connsiteX13" fmla="*/ 310551 w 1834551"/>
              <a:gd name="connsiteY13" fmla="*/ 46008 h 1161691"/>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506083 w 1834551"/>
              <a:gd name="connsiteY9" fmla="*/ 276045 h 1161691"/>
              <a:gd name="connsiteX10" fmla="*/ 488831 w 1834551"/>
              <a:gd name="connsiteY10" fmla="*/ 276045 h 1161691"/>
              <a:gd name="connsiteX11" fmla="*/ 408317 w 1834551"/>
              <a:gd name="connsiteY11" fmla="*/ 207034 h 1161691"/>
              <a:gd name="connsiteX12" fmla="*/ 310551 w 1834551"/>
              <a:gd name="connsiteY12" fmla="*/ 46008 h 1161691"/>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506083 w 1834551"/>
              <a:gd name="connsiteY9" fmla="*/ 276045 h 1161691"/>
              <a:gd name="connsiteX10" fmla="*/ 408317 w 1834551"/>
              <a:gd name="connsiteY10" fmla="*/ 207034 h 1161691"/>
              <a:gd name="connsiteX11" fmla="*/ 310551 w 1834551"/>
              <a:gd name="connsiteY11" fmla="*/ 46008 h 1161691"/>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408317 w 1834551"/>
              <a:gd name="connsiteY9" fmla="*/ 207034 h 1161691"/>
              <a:gd name="connsiteX10" fmla="*/ 310551 w 1834551"/>
              <a:gd name="connsiteY10" fmla="*/ 46008 h 1161691"/>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310551 w 1834551"/>
              <a:gd name="connsiteY9" fmla="*/ 46008 h 1161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4551" h="1161691">
                <a:moveTo>
                  <a:pt x="310551" y="46008"/>
                </a:moveTo>
                <a:lnTo>
                  <a:pt x="0" y="28755"/>
                </a:lnTo>
                <a:lnTo>
                  <a:pt x="914400" y="925902"/>
                </a:lnTo>
                <a:lnTo>
                  <a:pt x="1006415" y="902898"/>
                </a:lnTo>
                <a:lnTo>
                  <a:pt x="1242204" y="1127185"/>
                </a:lnTo>
                <a:lnTo>
                  <a:pt x="1259457" y="1161691"/>
                </a:lnTo>
                <a:lnTo>
                  <a:pt x="1834551" y="1023668"/>
                </a:lnTo>
                <a:lnTo>
                  <a:pt x="736121" y="0"/>
                </a:lnTo>
                <a:lnTo>
                  <a:pt x="563593" y="5751"/>
                </a:lnTo>
                <a:lnTo>
                  <a:pt x="310551" y="46008"/>
                </a:lnTo>
                <a:close/>
              </a:path>
            </a:pathLst>
          </a:custGeom>
          <a:solidFill>
            <a:schemeClr val="bg1">
              <a:alpha val="50196"/>
            </a:schemeClr>
          </a:solidFill>
          <a:ln w="12700">
            <a:solidFill>
              <a:schemeClr val="bg1"/>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799">
              <a:solidFill>
                <a:prstClr val="white"/>
              </a:solidFill>
              <a:latin typeface="Calibri" panose="020F0502020204030204"/>
            </a:endParaRPr>
          </a:p>
        </p:txBody>
      </p:sp>
      <p:sp>
        <p:nvSpPr>
          <p:cNvPr id="44" name="Vrije vorm 52"/>
          <p:cNvSpPr/>
          <p:nvPr/>
        </p:nvSpPr>
        <p:spPr>
          <a:xfrm>
            <a:off x="8769491" y="4639481"/>
            <a:ext cx="2449264" cy="1425863"/>
          </a:xfrm>
          <a:custGeom>
            <a:avLst/>
            <a:gdLst>
              <a:gd name="connsiteX0" fmla="*/ 1236453 w 2449902"/>
              <a:gd name="connsiteY0" fmla="*/ 0 h 1426234"/>
              <a:gd name="connsiteX1" fmla="*/ 2449902 w 2449902"/>
              <a:gd name="connsiteY1" fmla="*/ 874143 h 1426234"/>
              <a:gd name="connsiteX2" fmla="*/ 816634 w 2449902"/>
              <a:gd name="connsiteY2" fmla="*/ 1426234 h 1426234"/>
              <a:gd name="connsiteX3" fmla="*/ 897147 w 2449902"/>
              <a:gd name="connsiteY3" fmla="*/ 1121434 h 1426234"/>
              <a:gd name="connsiteX4" fmla="*/ 0 w 2449902"/>
              <a:gd name="connsiteY4" fmla="*/ 333554 h 1426234"/>
              <a:gd name="connsiteX5" fmla="*/ 366929 w 2449902"/>
              <a:gd name="connsiteY5" fmla="*/ 234569 h 1426234"/>
              <a:gd name="connsiteX6" fmla="*/ 304757 w 2449902"/>
              <a:gd name="connsiteY6" fmla="*/ 253491 h 1426234"/>
              <a:gd name="connsiteX7" fmla="*/ 311901 w 2449902"/>
              <a:gd name="connsiteY7" fmla="*/ 296353 h 1426234"/>
              <a:gd name="connsiteX8" fmla="*/ 409532 w 2449902"/>
              <a:gd name="connsiteY8" fmla="*/ 377316 h 1426234"/>
              <a:gd name="connsiteX9" fmla="*/ 516688 w 2449902"/>
              <a:gd name="connsiteY9" fmla="*/ 327309 h 1426234"/>
              <a:gd name="connsiteX10" fmla="*/ 647657 w 2449902"/>
              <a:gd name="connsiteY10" fmla="*/ 424941 h 1426234"/>
              <a:gd name="connsiteX11" fmla="*/ 792913 w 2449902"/>
              <a:gd name="connsiteY11" fmla="*/ 372553 h 1426234"/>
              <a:gd name="connsiteX12" fmla="*/ 750051 w 2449902"/>
              <a:gd name="connsiteY12" fmla="*/ 341597 h 1426234"/>
              <a:gd name="connsiteX13" fmla="*/ 747669 w 2449902"/>
              <a:gd name="connsiteY13" fmla="*/ 267778 h 1426234"/>
              <a:gd name="connsiteX14" fmla="*/ 626226 w 2449902"/>
              <a:gd name="connsiteY14" fmla="*/ 165384 h 1426234"/>
              <a:gd name="connsiteX15" fmla="*/ 558763 w 2449902"/>
              <a:gd name="connsiteY15" fmla="*/ 182818 h 1426234"/>
              <a:gd name="connsiteX16" fmla="*/ 1236453 w 2449902"/>
              <a:gd name="connsiteY16" fmla="*/ 0 h 1426234"/>
              <a:gd name="connsiteX17" fmla="*/ 1225356 w 2449902"/>
              <a:gd name="connsiteY17" fmla="*/ 118686 h 1426234"/>
              <a:gd name="connsiteX18" fmla="*/ 1155940 w 2449902"/>
              <a:gd name="connsiteY18" fmla="*/ 138022 h 1426234"/>
              <a:gd name="connsiteX19" fmla="*/ 1650521 w 2449902"/>
              <a:gd name="connsiteY19" fmla="*/ 506083 h 1426234"/>
              <a:gd name="connsiteX20" fmla="*/ 1657800 w 2449902"/>
              <a:gd name="connsiteY20" fmla="*/ 381899 h 1426234"/>
              <a:gd name="connsiteX21" fmla="*/ 1309059 w 2449902"/>
              <a:gd name="connsiteY21" fmla="*/ 136854 h 1426234"/>
              <a:gd name="connsiteX22" fmla="*/ 1225356 w 2449902"/>
              <a:gd name="connsiteY22" fmla="*/ 118686 h 1426234"/>
              <a:gd name="connsiteX23" fmla="*/ 1886309 w 2449902"/>
              <a:gd name="connsiteY23" fmla="*/ 552090 h 1426234"/>
              <a:gd name="connsiteX24" fmla="*/ 1420483 w 2449902"/>
              <a:gd name="connsiteY24" fmla="*/ 690113 h 1426234"/>
              <a:gd name="connsiteX25" fmla="*/ 1316966 w 2449902"/>
              <a:gd name="connsiteY25" fmla="*/ 862641 h 1426234"/>
              <a:gd name="connsiteX26" fmla="*/ 1351471 w 2449902"/>
              <a:gd name="connsiteY26" fmla="*/ 966158 h 1426234"/>
              <a:gd name="connsiteX27" fmla="*/ 2156603 w 2449902"/>
              <a:gd name="connsiteY27" fmla="*/ 764875 h 1426234"/>
              <a:gd name="connsiteX28" fmla="*/ 1886309 w 2449902"/>
              <a:gd name="connsiteY28" fmla="*/ 552090 h 1426234"/>
              <a:gd name="connsiteX0" fmla="*/ 1236453 w 2449902"/>
              <a:gd name="connsiteY0" fmla="*/ 0 h 1426234"/>
              <a:gd name="connsiteX1" fmla="*/ 2449902 w 2449902"/>
              <a:gd name="connsiteY1" fmla="*/ 874143 h 1426234"/>
              <a:gd name="connsiteX2" fmla="*/ 816634 w 2449902"/>
              <a:gd name="connsiteY2" fmla="*/ 1426234 h 1426234"/>
              <a:gd name="connsiteX3" fmla="*/ 897147 w 2449902"/>
              <a:gd name="connsiteY3" fmla="*/ 1121434 h 1426234"/>
              <a:gd name="connsiteX4" fmla="*/ 0 w 2449902"/>
              <a:gd name="connsiteY4" fmla="*/ 333554 h 1426234"/>
              <a:gd name="connsiteX5" fmla="*/ 366929 w 2449902"/>
              <a:gd name="connsiteY5" fmla="*/ 234569 h 1426234"/>
              <a:gd name="connsiteX6" fmla="*/ 304757 w 2449902"/>
              <a:gd name="connsiteY6" fmla="*/ 253491 h 1426234"/>
              <a:gd name="connsiteX7" fmla="*/ 311901 w 2449902"/>
              <a:gd name="connsiteY7" fmla="*/ 296353 h 1426234"/>
              <a:gd name="connsiteX8" fmla="*/ 409532 w 2449902"/>
              <a:gd name="connsiteY8" fmla="*/ 377316 h 1426234"/>
              <a:gd name="connsiteX9" fmla="*/ 516688 w 2449902"/>
              <a:gd name="connsiteY9" fmla="*/ 327309 h 1426234"/>
              <a:gd name="connsiteX10" fmla="*/ 647657 w 2449902"/>
              <a:gd name="connsiteY10" fmla="*/ 424941 h 1426234"/>
              <a:gd name="connsiteX11" fmla="*/ 792913 w 2449902"/>
              <a:gd name="connsiteY11" fmla="*/ 372553 h 1426234"/>
              <a:gd name="connsiteX12" fmla="*/ 750051 w 2449902"/>
              <a:gd name="connsiteY12" fmla="*/ 341597 h 1426234"/>
              <a:gd name="connsiteX13" fmla="*/ 747669 w 2449902"/>
              <a:gd name="connsiteY13" fmla="*/ 267778 h 1426234"/>
              <a:gd name="connsiteX14" fmla="*/ 626226 w 2449902"/>
              <a:gd name="connsiteY14" fmla="*/ 165384 h 1426234"/>
              <a:gd name="connsiteX15" fmla="*/ 1236453 w 2449902"/>
              <a:gd name="connsiteY15" fmla="*/ 0 h 1426234"/>
              <a:gd name="connsiteX16" fmla="*/ 1225356 w 2449902"/>
              <a:gd name="connsiteY16" fmla="*/ 118686 h 1426234"/>
              <a:gd name="connsiteX17" fmla="*/ 1155940 w 2449902"/>
              <a:gd name="connsiteY17" fmla="*/ 138022 h 1426234"/>
              <a:gd name="connsiteX18" fmla="*/ 1650521 w 2449902"/>
              <a:gd name="connsiteY18" fmla="*/ 506083 h 1426234"/>
              <a:gd name="connsiteX19" fmla="*/ 1657800 w 2449902"/>
              <a:gd name="connsiteY19" fmla="*/ 381899 h 1426234"/>
              <a:gd name="connsiteX20" fmla="*/ 1309059 w 2449902"/>
              <a:gd name="connsiteY20" fmla="*/ 136854 h 1426234"/>
              <a:gd name="connsiteX21" fmla="*/ 1225356 w 2449902"/>
              <a:gd name="connsiteY21" fmla="*/ 118686 h 1426234"/>
              <a:gd name="connsiteX22" fmla="*/ 1886309 w 2449902"/>
              <a:gd name="connsiteY22" fmla="*/ 552090 h 1426234"/>
              <a:gd name="connsiteX23" fmla="*/ 1420483 w 2449902"/>
              <a:gd name="connsiteY23" fmla="*/ 690113 h 1426234"/>
              <a:gd name="connsiteX24" fmla="*/ 1316966 w 2449902"/>
              <a:gd name="connsiteY24" fmla="*/ 862641 h 1426234"/>
              <a:gd name="connsiteX25" fmla="*/ 1351471 w 2449902"/>
              <a:gd name="connsiteY25" fmla="*/ 966158 h 1426234"/>
              <a:gd name="connsiteX26" fmla="*/ 2156603 w 2449902"/>
              <a:gd name="connsiteY26" fmla="*/ 764875 h 1426234"/>
              <a:gd name="connsiteX27" fmla="*/ 1886309 w 2449902"/>
              <a:gd name="connsiteY27" fmla="*/ 552090 h 1426234"/>
              <a:gd name="connsiteX0" fmla="*/ 1236453 w 2449902"/>
              <a:gd name="connsiteY0" fmla="*/ 0 h 1426234"/>
              <a:gd name="connsiteX1" fmla="*/ 2449902 w 2449902"/>
              <a:gd name="connsiteY1" fmla="*/ 874143 h 1426234"/>
              <a:gd name="connsiteX2" fmla="*/ 816634 w 2449902"/>
              <a:gd name="connsiteY2" fmla="*/ 1426234 h 1426234"/>
              <a:gd name="connsiteX3" fmla="*/ 897147 w 2449902"/>
              <a:gd name="connsiteY3" fmla="*/ 1121434 h 1426234"/>
              <a:gd name="connsiteX4" fmla="*/ 0 w 2449902"/>
              <a:gd name="connsiteY4" fmla="*/ 333554 h 1426234"/>
              <a:gd name="connsiteX5" fmla="*/ 304757 w 2449902"/>
              <a:gd name="connsiteY5" fmla="*/ 253491 h 1426234"/>
              <a:gd name="connsiteX6" fmla="*/ 311901 w 2449902"/>
              <a:gd name="connsiteY6" fmla="*/ 296353 h 1426234"/>
              <a:gd name="connsiteX7" fmla="*/ 409532 w 2449902"/>
              <a:gd name="connsiteY7" fmla="*/ 377316 h 1426234"/>
              <a:gd name="connsiteX8" fmla="*/ 516688 w 2449902"/>
              <a:gd name="connsiteY8" fmla="*/ 327309 h 1426234"/>
              <a:gd name="connsiteX9" fmla="*/ 647657 w 2449902"/>
              <a:gd name="connsiteY9" fmla="*/ 424941 h 1426234"/>
              <a:gd name="connsiteX10" fmla="*/ 792913 w 2449902"/>
              <a:gd name="connsiteY10" fmla="*/ 372553 h 1426234"/>
              <a:gd name="connsiteX11" fmla="*/ 750051 w 2449902"/>
              <a:gd name="connsiteY11" fmla="*/ 341597 h 1426234"/>
              <a:gd name="connsiteX12" fmla="*/ 747669 w 2449902"/>
              <a:gd name="connsiteY12" fmla="*/ 267778 h 1426234"/>
              <a:gd name="connsiteX13" fmla="*/ 626226 w 2449902"/>
              <a:gd name="connsiteY13" fmla="*/ 165384 h 1426234"/>
              <a:gd name="connsiteX14" fmla="*/ 1236453 w 2449902"/>
              <a:gd name="connsiteY14" fmla="*/ 0 h 1426234"/>
              <a:gd name="connsiteX15" fmla="*/ 1225356 w 2449902"/>
              <a:gd name="connsiteY15" fmla="*/ 118686 h 1426234"/>
              <a:gd name="connsiteX16" fmla="*/ 1155940 w 2449902"/>
              <a:gd name="connsiteY16" fmla="*/ 138022 h 1426234"/>
              <a:gd name="connsiteX17" fmla="*/ 1650521 w 2449902"/>
              <a:gd name="connsiteY17" fmla="*/ 506083 h 1426234"/>
              <a:gd name="connsiteX18" fmla="*/ 1657800 w 2449902"/>
              <a:gd name="connsiteY18" fmla="*/ 381899 h 1426234"/>
              <a:gd name="connsiteX19" fmla="*/ 1309059 w 2449902"/>
              <a:gd name="connsiteY19" fmla="*/ 136854 h 1426234"/>
              <a:gd name="connsiteX20" fmla="*/ 1225356 w 2449902"/>
              <a:gd name="connsiteY20" fmla="*/ 118686 h 1426234"/>
              <a:gd name="connsiteX21" fmla="*/ 1886309 w 2449902"/>
              <a:gd name="connsiteY21" fmla="*/ 552090 h 1426234"/>
              <a:gd name="connsiteX22" fmla="*/ 1420483 w 2449902"/>
              <a:gd name="connsiteY22" fmla="*/ 690113 h 1426234"/>
              <a:gd name="connsiteX23" fmla="*/ 1316966 w 2449902"/>
              <a:gd name="connsiteY23" fmla="*/ 862641 h 1426234"/>
              <a:gd name="connsiteX24" fmla="*/ 1351471 w 2449902"/>
              <a:gd name="connsiteY24" fmla="*/ 966158 h 1426234"/>
              <a:gd name="connsiteX25" fmla="*/ 2156603 w 2449902"/>
              <a:gd name="connsiteY25" fmla="*/ 764875 h 1426234"/>
              <a:gd name="connsiteX26" fmla="*/ 1886309 w 2449902"/>
              <a:gd name="connsiteY26" fmla="*/ 552090 h 1426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449902" h="1426234">
                <a:moveTo>
                  <a:pt x="1236453" y="0"/>
                </a:moveTo>
                <a:lnTo>
                  <a:pt x="2449902" y="874143"/>
                </a:lnTo>
                <a:lnTo>
                  <a:pt x="816634" y="1426234"/>
                </a:lnTo>
                <a:cubicBezTo>
                  <a:pt x="653691" y="1272875"/>
                  <a:pt x="743789" y="1165524"/>
                  <a:pt x="897147" y="1121434"/>
                </a:cubicBezTo>
                <a:lnTo>
                  <a:pt x="0" y="333554"/>
                </a:lnTo>
                <a:lnTo>
                  <a:pt x="304757" y="253491"/>
                </a:lnTo>
                <a:lnTo>
                  <a:pt x="311901" y="296353"/>
                </a:lnTo>
                <a:lnTo>
                  <a:pt x="409532" y="377316"/>
                </a:lnTo>
                <a:lnTo>
                  <a:pt x="516688" y="327309"/>
                </a:lnTo>
                <a:lnTo>
                  <a:pt x="647657" y="424941"/>
                </a:lnTo>
                <a:lnTo>
                  <a:pt x="792913" y="372553"/>
                </a:lnTo>
                <a:lnTo>
                  <a:pt x="750051" y="341597"/>
                </a:lnTo>
                <a:lnTo>
                  <a:pt x="747669" y="267778"/>
                </a:lnTo>
                <a:lnTo>
                  <a:pt x="626226" y="165384"/>
                </a:lnTo>
                <a:lnTo>
                  <a:pt x="1236453" y="0"/>
                </a:lnTo>
                <a:close/>
                <a:moveTo>
                  <a:pt x="1225356" y="118686"/>
                </a:moveTo>
                <a:cubicBezTo>
                  <a:pt x="1202813" y="120369"/>
                  <a:pt x="1182651" y="128303"/>
                  <a:pt x="1155940" y="138022"/>
                </a:cubicBezTo>
                <a:lnTo>
                  <a:pt x="1650521" y="506083"/>
                </a:lnTo>
                <a:cubicBezTo>
                  <a:pt x="1682316" y="484533"/>
                  <a:pt x="1704586" y="429643"/>
                  <a:pt x="1657800" y="381899"/>
                </a:cubicBezTo>
                <a:lnTo>
                  <a:pt x="1309059" y="136854"/>
                </a:lnTo>
                <a:cubicBezTo>
                  <a:pt x="1272823" y="121571"/>
                  <a:pt x="1247899" y="117003"/>
                  <a:pt x="1225356" y="118686"/>
                </a:cubicBezTo>
                <a:close/>
                <a:moveTo>
                  <a:pt x="1886309" y="552090"/>
                </a:moveTo>
                <a:cubicBezTo>
                  <a:pt x="1731034" y="598098"/>
                  <a:pt x="1500996" y="609600"/>
                  <a:pt x="1420483" y="690113"/>
                </a:cubicBezTo>
                <a:cubicBezTo>
                  <a:pt x="1347637" y="755290"/>
                  <a:pt x="1366808" y="757207"/>
                  <a:pt x="1316966" y="862641"/>
                </a:cubicBezTo>
                <a:cubicBezTo>
                  <a:pt x="1326552" y="935485"/>
                  <a:pt x="1336135" y="933569"/>
                  <a:pt x="1351471" y="966158"/>
                </a:cubicBezTo>
                <a:lnTo>
                  <a:pt x="2156603" y="764875"/>
                </a:lnTo>
                <a:lnTo>
                  <a:pt x="1886309" y="552090"/>
                </a:lnTo>
                <a:close/>
              </a:path>
            </a:pathLst>
          </a:custGeom>
          <a:solidFill>
            <a:schemeClr val="bg1">
              <a:alpha val="50196"/>
            </a:schemeClr>
          </a:solidFill>
          <a:ln w="12700">
            <a:solidFill>
              <a:schemeClr val="bg1"/>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799">
              <a:solidFill>
                <a:prstClr val="white"/>
              </a:solidFill>
              <a:latin typeface="Calibri" panose="020F0502020204030204"/>
            </a:endParaRPr>
          </a:p>
        </p:txBody>
      </p:sp>
      <p:sp>
        <p:nvSpPr>
          <p:cNvPr id="55" name="Vrije vorm 37"/>
          <p:cNvSpPr/>
          <p:nvPr/>
        </p:nvSpPr>
        <p:spPr>
          <a:xfrm>
            <a:off x="697271" y="1339298"/>
            <a:ext cx="1632843" cy="448457"/>
          </a:xfrm>
          <a:custGeom>
            <a:avLst/>
            <a:gdLst>
              <a:gd name="connsiteX0" fmla="*/ 1610264 w 1610264"/>
              <a:gd name="connsiteY0" fmla="*/ 120770 h 448574"/>
              <a:gd name="connsiteX1" fmla="*/ 690113 w 1610264"/>
              <a:gd name="connsiteY1" fmla="*/ 448574 h 448574"/>
              <a:gd name="connsiteX2" fmla="*/ 0 w 1610264"/>
              <a:gd name="connsiteY2" fmla="*/ 241540 h 448574"/>
              <a:gd name="connsiteX3" fmla="*/ 1190445 w 1610264"/>
              <a:gd name="connsiteY3" fmla="*/ 0 h 448574"/>
              <a:gd name="connsiteX4" fmla="*/ 1610264 w 1610264"/>
              <a:gd name="connsiteY4" fmla="*/ 120770 h 448574"/>
              <a:gd name="connsiteX0" fmla="*/ 1633268 w 1633268"/>
              <a:gd name="connsiteY0" fmla="*/ 120770 h 448574"/>
              <a:gd name="connsiteX1" fmla="*/ 713117 w 1633268"/>
              <a:gd name="connsiteY1" fmla="*/ 448574 h 448574"/>
              <a:gd name="connsiteX2" fmla="*/ 0 w 1633268"/>
              <a:gd name="connsiteY2" fmla="*/ 235789 h 448574"/>
              <a:gd name="connsiteX3" fmla="*/ 1213449 w 1633268"/>
              <a:gd name="connsiteY3" fmla="*/ 0 h 448574"/>
              <a:gd name="connsiteX4" fmla="*/ 1633268 w 1633268"/>
              <a:gd name="connsiteY4" fmla="*/ 120770 h 448574"/>
              <a:gd name="connsiteX0" fmla="*/ 1633268 w 1633268"/>
              <a:gd name="connsiteY0" fmla="*/ 120770 h 448574"/>
              <a:gd name="connsiteX1" fmla="*/ 713117 w 1633268"/>
              <a:gd name="connsiteY1" fmla="*/ 448574 h 448574"/>
              <a:gd name="connsiteX2" fmla="*/ 0 w 1633268"/>
              <a:gd name="connsiteY2" fmla="*/ 235789 h 448574"/>
              <a:gd name="connsiteX3" fmla="*/ 1213449 w 1633268"/>
              <a:gd name="connsiteY3" fmla="*/ 0 h 448574"/>
              <a:gd name="connsiteX4" fmla="*/ 1633268 w 1633268"/>
              <a:gd name="connsiteY4" fmla="*/ 120770 h 448574"/>
              <a:gd name="connsiteX0" fmla="*/ 1633268 w 1633268"/>
              <a:gd name="connsiteY0" fmla="*/ 120770 h 448574"/>
              <a:gd name="connsiteX1" fmla="*/ 713117 w 1633268"/>
              <a:gd name="connsiteY1" fmla="*/ 448574 h 448574"/>
              <a:gd name="connsiteX2" fmla="*/ 0 w 1633268"/>
              <a:gd name="connsiteY2" fmla="*/ 235789 h 448574"/>
              <a:gd name="connsiteX3" fmla="*/ 1213449 w 1633268"/>
              <a:gd name="connsiteY3" fmla="*/ 0 h 448574"/>
              <a:gd name="connsiteX4" fmla="*/ 1633268 w 1633268"/>
              <a:gd name="connsiteY4" fmla="*/ 120770 h 448574"/>
              <a:gd name="connsiteX0" fmla="*/ 1633268 w 1633268"/>
              <a:gd name="connsiteY0" fmla="*/ 120770 h 448574"/>
              <a:gd name="connsiteX1" fmla="*/ 713117 w 1633268"/>
              <a:gd name="connsiteY1" fmla="*/ 448574 h 448574"/>
              <a:gd name="connsiteX2" fmla="*/ 0 w 1633268"/>
              <a:gd name="connsiteY2" fmla="*/ 235789 h 448574"/>
              <a:gd name="connsiteX3" fmla="*/ 1213449 w 1633268"/>
              <a:gd name="connsiteY3" fmla="*/ 0 h 448574"/>
              <a:gd name="connsiteX4" fmla="*/ 1633268 w 1633268"/>
              <a:gd name="connsiteY4" fmla="*/ 120770 h 448574"/>
              <a:gd name="connsiteX0" fmla="*/ 1633268 w 1633268"/>
              <a:gd name="connsiteY0" fmla="*/ 120770 h 448574"/>
              <a:gd name="connsiteX1" fmla="*/ 713117 w 1633268"/>
              <a:gd name="connsiteY1" fmla="*/ 448574 h 448574"/>
              <a:gd name="connsiteX2" fmla="*/ 0 w 1633268"/>
              <a:gd name="connsiteY2" fmla="*/ 235789 h 448574"/>
              <a:gd name="connsiteX3" fmla="*/ 1213449 w 1633268"/>
              <a:gd name="connsiteY3" fmla="*/ 0 h 448574"/>
              <a:gd name="connsiteX4" fmla="*/ 1633268 w 1633268"/>
              <a:gd name="connsiteY4" fmla="*/ 120770 h 448574"/>
              <a:gd name="connsiteX0" fmla="*/ 1633268 w 1633268"/>
              <a:gd name="connsiteY0" fmla="*/ 120770 h 448574"/>
              <a:gd name="connsiteX1" fmla="*/ 713117 w 1633268"/>
              <a:gd name="connsiteY1" fmla="*/ 448574 h 448574"/>
              <a:gd name="connsiteX2" fmla="*/ 0 w 1633268"/>
              <a:gd name="connsiteY2" fmla="*/ 235789 h 448574"/>
              <a:gd name="connsiteX3" fmla="*/ 1213449 w 1633268"/>
              <a:gd name="connsiteY3" fmla="*/ 0 h 448574"/>
              <a:gd name="connsiteX4" fmla="*/ 1633268 w 1633268"/>
              <a:gd name="connsiteY4" fmla="*/ 120770 h 448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3268" h="448574">
                <a:moveTo>
                  <a:pt x="1633268" y="120770"/>
                </a:moveTo>
                <a:lnTo>
                  <a:pt x="713117" y="448574"/>
                </a:lnTo>
                <a:lnTo>
                  <a:pt x="0" y="235789"/>
                </a:lnTo>
                <a:cubicBezTo>
                  <a:pt x="456242" y="93932"/>
                  <a:pt x="958491" y="21087"/>
                  <a:pt x="1213449" y="0"/>
                </a:cubicBezTo>
                <a:lnTo>
                  <a:pt x="1633268" y="120770"/>
                </a:lnTo>
                <a:close/>
              </a:path>
            </a:pathLst>
          </a:custGeom>
          <a:solidFill>
            <a:srgbClr val="92D050">
              <a:alpha val="50196"/>
            </a:srgbClr>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799">
              <a:solidFill>
                <a:prstClr val="white"/>
              </a:solidFill>
              <a:latin typeface="Calibri" panose="020F0502020204030204"/>
            </a:endParaRPr>
          </a:p>
        </p:txBody>
      </p:sp>
      <p:grpSp>
        <p:nvGrpSpPr>
          <p:cNvPr id="51" name="Groep 50"/>
          <p:cNvGrpSpPr/>
          <p:nvPr/>
        </p:nvGrpSpPr>
        <p:grpSpPr>
          <a:xfrm>
            <a:off x="643759" y="1031384"/>
            <a:ext cx="791795" cy="551137"/>
            <a:chOff x="1072822" y="1241965"/>
            <a:chExt cx="792000" cy="551281"/>
          </a:xfrm>
        </p:grpSpPr>
        <p:sp>
          <p:nvSpPr>
            <p:cNvPr id="52" name="Vrije vorm 25"/>
            <p:cNvSpPr/>
            <p:nvPr/>
          </p:nvSpPr>
          <p:spPr>
            <a:xfrm flipV="1">
              <a:off x="1072822" y="1336028"/>
              <a:ext cx="221315" cy="457218"/>
            </a:xfrm>
            <a:custGeom>
              <a:avLst/>
              <a:gdLst>
                <a:gd name="connsiteX0" fmla="*/ 0 w 560070"/>
                <a:gd name="connsiteY0" fmla="*/ 251460 h 640080"/>
                <a:gd name="connsiteX1" fmla="*/ 560070 w 560070"/>
                <a:gd name="connsiteY1" fmla="*/ 0 h 640080"/>
                <a:gd name="connsiteX2" fmla="*/ 560070 w 560070"/>
                <a:gd name="connsiteY2" fmla="*/ 411480 h 640080"/>
                <a:gd name="connsiteX3" fmla="*/ 11430 w 560070"/>
                <a:gd name="connsiteY3" fmla="*/ 640080 h 640080"/>
                <a:gd name="connsiteX4" fmla="*/ 0 w 560070"/>
                <a:gd name="connsiteY4" fmla="*/ 617220 h 640080"/>
                <a:gd name="connsiteX0" fmla="*/ 0 w 560070"/>
                <a:gd name="connsiteY0" fmla="*/ 251460 h 617220"/>
                <a:gd name="connsiteX1" fmla="*/ 560070 w 560070"/>
                <a:gd name="connsiteY1" fmla="*/ 0 h 617220"/>
                <a:gd name="connsiteX2" fmla="*/ 560070 w 560070"/>
                <a:gd name="connsiteY2" fmla="*/ 411480 h 617220"/>
                <a:gd name="connsiteX3" fmla="*/ 33666 w 560070"/>
                <a:gd name="connsiteY3" fmla="*/ 503907 h 617220"/>
                <a:gd name="connsiteX4" fmla="*/ 0 w 560070"/>
                <a:gd name="connsiteY4" fmla="*/ 617220 h 617220"/>
                <a:gd name="connsiteX0" fmla="*/ 0 w 560070"/>
                <a:gd name="connsiteY0" fmla="*/ 251460 h 506984"/>
                <a:gd name="connsiteX1" fmla="*/ 560070 w 560070"/>
                <a:gd name="connsiteY1" fmla="*/ 0 h 506984"/>
                <a:gd name="connsiteX2" fmla="*/ 560070 w 560070"/>
                <a:gd name="connsiteY2" fmla="*/ 411480 h 506984"/>
                <a:gd name="connsiteX3" fmla="*/ 33666 w 560070"/>
                <a:gd name="connsiteY3" fmla="*/ 503907 h 506984"/>
                <a:gd name="connsiteX4" fmla="*/ 144544 w 560070"/>
                <a:gd name="connsiteY4" fmla="*/ 506984 h 506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070" h="506984">
                  <a:moveTo>
                    <a:pt x="0" y="251460"/>
                  </a:moveTo>
                  <a:lnTo>
                    <a:pt x="560070" y="0"/>
                  </a:lnTo>
                  <a:lnTo>
                    <a:pt x="560070" y="411480"/>
                  </a:lnTo>
                  <a:lnTo>
                    <a:pt x="33666" y="503907"/>
                  </a:lnTo>
                  <a:lnTo>
                    <a:pt x="144544" y="506984"/>
                  </a:lnTo>
                </a:path>
              </a:pathLst>
            </a:cu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999">
                <a:solidFill>
                  <a:prstClr val="white"/>
                </a:solidFill>
                <a:latin typeface="Calibri" panose="020F0502020204030204"/>
              </a:endParaRPr>
            </a:p>
          </p:txBody>
        </p:sp>
        <p:sp>
          <p:nvSpPr>
            <p:cNvPr id="53" name="Titel 24"/>
            <p:cNvSpPr txBox="1">
              <a:spLocks/>
            </p:cNvSpPr>
            <p:nvPr/>
          </p:nvSpPr>
          <p:spPr>
            <a:xfrm>
              <a:off x="1072822" y="1241965"/>
              <a:ext cx="792000" cy="324000"/>
            </a:xfrm>
            <a:prstGeom prst="rect">
              <a:avLst/>
            </a:prstGeom>
            <a:solidFill>
              <a:schemeClr val="tx2"/>
            </a:solidFill>
          </p:spPr>
          <p:txBody>
            <a:bodyPr vert="horz" lIns="71981" tIns="179953" rIns="71981" bIns="143963" rtlCol="0" anchor="ctr">
              <a:noAutofit/>
            </a:bodyPr>
            <a:lstStyle>
              <a:defPPr>
                <a:defRPr lang="nl-NL"/>
              </a:defPPr>
              <a:lvl1pPr defTabSz="914400">
                <a:lnSpc>
                  <a:spcPct val="80000"/>
                </a:lnSpc>
                <a:spcBef>
                  <a:spcPct val="0"/>
                </a:spcBef>
                <a:defRPr sz="1100">
                  <a:solidFill>
                    <a:schemeClr val="bg1"/>
                  </a:solidFill>
                  <a:latin typeface="+mj-lt"/>
                  <a:ea typeface="+mj-ea"/>
                  <a:cs typeface="+mj-cs"/>
                </a:defRPr>
              </a:lvl1pPr>
            </a:lstStyle>
            <a:p>
              <a:pPr algn="ctr" defTabSz="914377"/>
              <a:r>
                <a:rPr lang="en-US" dirty="0">
                  <a:solidFill>
                    <a:prstClr val="white"/>
                  </a:solidFill>
                  <a:latin typeface="+mn-lt"/>
                </a:rPr>
                <a:t>REEFER CENTER</a:t>
              </a:r>
              <a:endParaRPr lang="nl-NL" dirty="0">
                <a:solidFill>
                  <a:prstClr val="white"/>
                </a:solidFill>
                <a:latin typeface="+mn-lt"/>
              </a:endParaRPr>
            </a:p>
          </p:txBody>
        </p:sp>
      </p:grpSp>
      <p:sp>
        <p:nvSpPr>
          <p:cNvPr id="92" name="Vrije vorm 1"/>
          <p:cNvSpPr/>
          <p:nvPr/>
        </p:nvSpPr>
        <p:spPr>
          <a:xfrm>
            <a:off x="9116054" y="4707469"/>
            <a:ext cx="419368" cy="310755"/>
          </a:xfrm>
          <a:custGeom>
            <a:avLst/>
            <a:gdLst>
              <a:gd name="connsiteX0" fmla="*/ 51303 w 419477"/>
              <a:gd name="connsiteY0" fmla="*/ 129766 h 310836"/>
              <a:gd name="connsiteX1" fmla="*/ 54320 w 419477"/>
              <a:gd name="connsiteY1" fmla="*/ 33196 h 310836"/>
              <a:gd name="connsiteX2" fmla="*/ 172015 w 419477"/>
              <a:gd name="connsiteY2" fmla="*/ 0 h 310836"/>
              <a:gd name="connsiteX3" fmla="*/ 256514 w 419477"/>
              <a:gd name="connsiteY3" fmla="*/ 69410 h 310836"/>
              <a:gd name="connsiteX4" fmla="*/ 295746 w 419477"/>
              <a:gd name="connsiteY4" fmla="*/ 54321 h 310836"/>
              <a:gd name="connsiteX5" fmla="*/ 337996 w 419477"/>
              <a:gd name="connsiteY5" fmla="*/ 84499 h 310836"/>
              <a:gd name="connsiteX6" fmla="*/ 307817 w 419477"/>
              <a:gd name="connsiteY6" fmla="*/ 99588 h 310836"/>
              <a:gd name="connsiteX7" fmla="*/ 410423 w 419477"/>
              <a:gd name="connsiteY7" fmla="*/ 181069 h 310836"/>
              <a:gd name="connsiteX8" fmla="*/ 419477 w 419477"/>
              <a:gd name="connsiteY8" fmla="*/ 277640 h 310836"/>
              <a:gd name="connsiteX9" fmla="*/ 295746 w 419477"/>
              <a:gd name="connsiteY9" fmla="*/ 310836 h 310836"/>
              <a:gd name="connsiteX10" fmla="*/ 223318 w 419477"/>
              <a:gd name="connsiteY10" fmla="*/ 250479 h 310836"/>
              <a:gd name="connsiteX11" fmla="*/ 181069 w 419477"/>
              <a:gd name="connsiteY11" fmla="*/ 271604 h 310836"/>
              <a:gd name="connsiteX12" fmla="*/ 159944 w 419477"/>
              <a:gd name="connsiteY12" fmla="*/ 247461 h 310836"/>
              <a:gd name="connsiteX13" fmla="*/ 78463 w 419477"/>
              <a:gd name="connsiteY13" fmla="*/ 280657 h 310836"/>
              <a:gd name="connsiteX14" fmla="*/ 0 w 419477"/>
              <a:gd name="connsiteY14" fmla="*/ 226337 h 310836"/>
              <a:gd name="connsiteX15" fmla="*/ 3017 w 419477"/>
              <a:gd name="connsiteY15" fmla="*/ 175034 h 310836"/>
              <a:gd name="connsiteX16" fmla="*/ 51303 w 419477"/>
              <a:gd name="connsiteY16" fmla="*/ 129766 h 310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9477" h="310836">
                <a:moveTo>
                  <a:pt x="51303" y="129766"/>
                </a:moveTo>
                <a:cubicBezTo>
                  <a:pt x="52309" y="97576"/>
                  <a:pt x="53314" y="65386"/>
                  <a:pt x="54320" y="33196"/>
                </a:cubicBezTo>
                <a:lnTo>
                  <a:pt x="172015" y="0"/>
                </a:lnTo>
                <a:lnTo>
                  <a:pt x="256514" y="69410"/>
                </a:lnTo>
                <a:lnTo>
                  <a:pt x="295746" y="54321"/>
                </a:lnTo>
                <a:lnTo>
                  <a:pt x="337996" y="84499"/>
                </a:lnTo>
                <a:lnTo>
                  <a:pt x="307817" y="99588"/>
                </a:lnTo>
                <a:lnTo>
                  <a:pt x="410423" y="181069"/>
                </a:lnTo>
                <a:lnTo>
                  <a:pt x="419477" y="277640"/>
                </a:lnTo>
                <a:lnTo>
                  <a:pt x="295746" y="310836"/>
                </a:lnTo>
                <a:lnTo>
                  <a:pt x="223318" y="250479"/>
                </a:lnTo>
                <a:lnTo>
                  <a:pt x="181069" y="271604"/>
                </a:lnTo>
                <a:lnTo>
                  <a:pt x="159944" y="247461"/>
                </a:lnTo>
                <a:lnTo>
                  <a:pt x="78463" y="280657"/>
                </a:lnTo>
                <a:lnTo>
                  <a:pt x="0" y="226337"/>
                </a:lnTo>
                <a:lnTo>
                  <a:pt x="3017" y="175034"/>
                </a:lnTo>
                <a:lnTo>
                  <a:pt x="51303" y="129766"/>
                </a:lnTo>
                <a:close/>
              </a:path>
            </a:pathLst>
          </a:custGeom>
          <a:solidFill>
            <a:srgbClr val="FFD800">
              <a:alpha val="50196"/>
            </a:srgbClr>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799">
              <a:solidFill>
                <a:prstClr val="white"/>
              </a:solidFill>
              <a:latin typeface="Calibri" panose="020F0502020204030204"/>
            </a:endParaRPr>
          </a:p>
        </p:txBody>
      </p:sp>
      <p:grpSp>
        <p:nvGrpSpPr>
          <p:cNvPr id="122" name="Groep 121"/>
          <p:cNvGrpSpPr/>
          <p:nvPr/>
        </p:nvGrpSpPr>
        <p:grpSpPr>
          <a:xfrm>
            <a:off x="2543009" y="906196"/>
            <a:ext cx="719813" cy="551137"/>
            <a:chOff x="1072822" y="1241965"/>
            <a:chExt cx="720000" cy="551281"/>
          </a:xfrm>
        </p:grpSpPr>
        <p:sp>
          <p:nvSpPr>
            <p:cNvPr id="123" name="Vrije vorm 25"/>
            <p:cNvSpPr/>
            <p:nvPr/>
          </p:nvSpPr>
          <p:spPr>
            <a:xfrm flipV="1">
              <a:off x="1072822" y="1336028"/>
              <a:ext cx="221315" cy="457218"/>
            </a:xfrm>
            <a:custGeom>
              <a:avLst/>
              <a:gdLst>
                <a:gd name="connsiteX0" fmla="*/ 0 w 560070"/>
                <a:gd name="connsiteY0" fmla="*/ 251460 h 640080"/>
                <a:gd name="connsiteX1" fmla="*/ 560070 w 560070"/>
                <a:gd name="connsiteY1" fmla="*/ 0 h 640080"/>
                <a:gd name="connsiteX2" fmla="*/ 560070 w 560070"/>
                <a:gd name="connsiteY2" fmla="*/ 411480 h 640080"/>
                <a:gd name="connsiteX3" fmla="*/ 11430 w 560070"/>
                <a:gd name="connsiteY3" fmla="*/ 640080 h 640080"/>
                <a:gd name="connsiteX4" fmla="*/ 0 w 560070"/>
                <a:gd name="connsiteY4" fmla="*/ 617220 h 640080"/>
                <a:gd name="connsiteX0" fmla="*/ 0 w 560070"/>
                <a:gd name="connsiteY0" fmla="*/ 251460 h 617220"/>
                <a:gd name="connsiteX1" fmla="*/ 560070 w 560070"/>
                <a:gd name="connsiteY1" fmla="*/ 0 h 617220"/>
                <a:gd name="connsiteX2" fmla="*/ 560070 w 560070"/>
                <a:gd name="connsiteY2" fmla="*/ 411480 h 617220"/>
                <a:gd name="connsiteX3" fmla="*/ 33666 w 560070"/>
                <a:gd name="connsiteY3" fmla="*/ 503907 h 617220"/>
                <a:gd name="connsiteX4" fmla="*/ 0 w 560070"/>
                <a:gd name="connsiteY4" fmla="*/ 617220 h 617220"/>
                <a:gd name="connsiteX0" fmla="*/ 0 w 560070"/>
                <a:gd name="connsiteY0" fmla="*/ 251460 h 506984"/>
                <a:gd name="connsiteX1" fmla="*/ 560070 w 560070"/>
                <a:gd name="connsiteY1" fmla="*/ 0 h 506984"/>
                <a:gd name="connsiteX2" fmla="*/ 560070 w 560070"/>
                <a:gd name="connsiteY2" fmla="*/ 411480 h 506984"/>
                <a:gd name="connsiteX3" fmla="*/ 33666 w 560070"/>
                <a:gd name="connsiteY3" fmla="*/ 503907 h 506984"/>
                <a:gd name="connsiteX4" fmla="*/ 144544 w 560070"/>
                <a:gd name="connsiteY4" fmla="*/ 506984 h 506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070" h="506984">
                  <a:moveTo>
                    <a:pt x="0" y="251460"/>
                  </a:moveTo>
                  <a:lnTo>
                    <a:pt x="560070" y="0"/>
                  </a:lnTo>
                  <a:lnTo>
                    <a:pt x="560070" y="411480"/>
                  </a:lnTo>
                  <a:lnTo>
                    <a:pt x="33666" y="503907"/>
                  </a:lnTo>
                  <a:lnTo>
                    <a:pt x="144544" y="506984"/>
                  </a:lnTo>
                </a:path>
              </a:pathLst>
            </a:cu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999">
                <a:solidFill>
                  <a:prstClr val="white"/>
                </a:solidFill>
                <a:latin typeface="Calibri" panose="020F0502020204030204"/>
              </a:endParaRPr>
            </a:p>
          </p:txBody>
        </p:sp>
        <p:sp>
          <p:nvSpPr>
            <p:cNvPr id="124" name="Titel 24"/>
            <p:cNvSpPr txBox="1">
              <a:spLocks/>
            </p:cNvSpPr>
            <p:nvPr/>
          </p:nvSpPr>
          <p:spPr>
            <a:xfrm>
              <a:off x="1072822" y="1241965"/>
              <a:ext cx="720000" cy="324000"/>
            </a:xfrm>
            <a:prstGeom prst="rect">
              <a:avLst/>
            </a:prstGeom>
            <a:solidFill>
              <a:schemeClr val="tx2"/>
            </a:solidFill>
          </p:spPr>
          <p:txBody>
            <a:bodyPr vert="horz" lIns="71981" tIns="179953" rIns="71981" bIns="143963" rtlCol="0" anchor="ctr">
              <a:noAutofit/>
            </a:bodyPr>
            <a:lstStyle>
              <a:defPPr>
                <a:defRPr lang="nl-NL"/>
              </a:defPPr>
              <a:lvl1pPr defTabSz="914400">
                <a:lnSpc>
                  <a:spcPct val="80000"/>
                </a:lnSpc>
                <a:spcBef>
                  <a:spcPct val="0"/>
                </a:spcBef>
                <a:defRPr sz="1100">
                  <a:solidFill>
                    <a:schemeClr val="bg1"/>
                  </a:solidFill>
                  <a:latin typeface="+mj-lt"/>
                  <a:ea typeface="+mj-ea"/>
                  <a:cs typeface="+mj-cs"/>
                </a:defRPr>
              </a:lvl1pPr>
            </a:lstStyle>
            <a:p>
              <a:pPr algn="ctr" defTabSz="914377"/>
              <a:r>
                <a:rPr lang="en-US" dirty="0">
                  <a:solidFill>
                    <a:prstClr val="white"/>
                  </a:solidFill>
                  <a:latin typeface="+mn-lt"/>
                </a:rPr>
                <a:t>DEPOT</a:t>
              </a:r>
              <a:endParaRPr lang="nl-NL" dirty="0">
                <a:solidFill>
                  <a:prstClr val="white"/>
                </a:solidFill>
                <a:latin typeface="+mn-lt"/>
              </a:endParaRPr>
            </a:p>
          </p:txBody>
        </p:sp>
      </p:grpSp>
      <p:sp>
        <p:nvSpPr>
          <p:cNvPr id="2" name="Ovaal 1"/>
          <p:cNvSpPr/>
          <p:nvPr/>
        </p:nvSpPr>
        <p:spPr>
          <a:xfrm>
            <a:off x="1385373" y="1518617"/>
            <a:ext cx="81935" cy="81935"/>
          </a:xfrm>
          <a:prstGeom prst="ellipse">
            <a:avLst/>
          </a:prstGeom>
          <a:ln w="19050">
            <a:solidFill>
              <a:schemeClr val="bg1"/>
            </a:solidFill>
          </a:ln>
        </p:spPr>
        <p:txBody>
          <a:bodyPr vert="horz" lIns="0" tIns="107972" rIns="0" bIns="107972" rtlCol="0" anchor="t">
            <a:noAutofit/>
          </a:bodyPr>
          <a:lstStyle/>
          <a:p>
            <a:pPr defTabSz="914104">
              <a:lnSpc>
                <a:spcPct val="90000"/>
              </a:lnSpc>
              <a:spcBef>
                <a:spcPct val="0"/>
              </a:spcBef>
            </a:pPr>
            <a:endParaRPr lang="nl-NL" sz="1000">
              <a:solidFill>
                <a:prstClr val="white"/>
              </a:solidFill>
              <a:latin typeface="Calibri Light" panose="020F0302020204030204"/>
            </a:endParaRPr>
          </a:p>
        </p:txBody>
      </p:sp>
      <p:cxnSp>
        <p:nvCxnSpPr>
          <p:cNvPr id="4" name="Verbindingslijn: gebogen 3"/>
          <p:cNvCxnSpPr>
            <a:stCxn id="2" idx="4"/>
          </p:cNvCxnSpPr>
          <p:nvPr/>
        </p:nvCxnSpPr>
        <p:spPr>
          <a:xfrm rot="5400000">
            <a:off x="878689" y="1939005"/>
            <a:ext cx="886105" cy="209199"/>
          </a:xfrm>
          <a:prstGeom prst="bentConnector2">
            <a:avLst/>
          </a:prstGeom>
          <a:ln w="19050">
            <a:solidFill>
              <a:schemeClr val="bg1"/>
            </a:solidFill>
            <a:miter lim="800000"/>
          </a:ln>
        </p:spPr>
      </p:cxnSp>
      <p:sp>
        <p:nvSpPr>
          <p:cNvPr id="110" name="Ovaal 109"/>
          <p:cNvSpPr/>
          <p:nvPr/>
        </p:nvSpPr>
        <p:spPr>
          <a:xfrm>
            <a:off x="6060309" y="4814002"/>
            <a:ext cx="81935" cy="81935"/>
          </a:xfrm>
          <a:prstGeom prst="ellipse">
            <a:avLst/>
          </a:prstGeom>
          <a:ln w="19050">
            <a:solidFill>
              <a:schemeClr val="bg1"/>
            </a:solidFill>
          </a:ln>
        </p:spPr>
        <p:txBody>
          <a:bodyPr vert="horz" lIns="0" tIns="107972" rIns="0" bIns="107972" rtlCol="0" anchor="t">
            <a:noAutofit/>
          </a:bodyPr>
          <a:lstStyle/>
          <a:p>
            <a:pPr defTabSz="914104">
              <a:lnSpc>
                <a:spcPct val="90000"/>
              </a:lnSpc>
              <a:spcBef>
                <a:spcPct val="0"/>
              </a:spcBef>
            </a:pPr>
            <a:endParaRPr lang="nl-NL" sz="1000">
              <a:solidFill>
                <a:prstClr val="white"/>
              </a:solidFill>
              <a:latin typeface="Calibri Light" panose="020F0302020204030204"/>
            </a:endParaRPr>
          </a:p>
        </p:txBody>
      </p:sp>
      <p:cxnSp>
        <p:nvCxnSpPr>
          <p:cNvPr id="112" name="Verbindingslijn: gebogen 111"/>
          <p:cNvCxnSpPr>
            <a:stCxn id="110" idx="4"/>
          </p:cNvCxnSpPr>
          <p:nvPr/>
        </p:nvCxnSpPr>
        <p:spPr>
          <a:xfrm rot="5400000">
            <a:off x="5444903" y="5205749"/>
            <a:ext cx="966187" cy="346563"/>
          </a:xfrm>
          <a:prstGeom prst="bentConnector2">
            <a:avLst/>
          </a:prstGeom>
          <a:ln w="19050">
            <a:solidFill>
              <a:schemeClr val="bg1"/>
            </a:solidFill>
            <a:miter lim="800000"/>
          </a:ln>
        </p:spPr>
      </p:cxnSp>
      <p:sp>
        <p:nvSpPr>
          <p:cNvPr id="57" name="Ovaal 56"/>
          <p:cNvSpPr/>
          <p:nvPr/>
        </p:nvSpPr>
        <p:spPr>
          <a:xfrm rot="16200000">
            <a:off x="2917237" y="1381485"/>
            <a:ext cx="81935" cy="81935"/>
          </a:xfrm>
          <a:prstGeom prst="ellipse">
            <a:avLst/>
          </a:prstGeom>
          <a:ln w="19050">
            <a:solidFill>
              <a:schemeClr val="bg1"/>
            </a:solidFill>
          </a:ln>
        </p:spPr>
        <p:txBody>
          <a:bodyPr vert="horz" lIns="0" tIns="107972" rIns="0" bIns="107972" rtlCol="0" anchor="t">
            <a:noAutofit/>
          </a:bodyPr>
          <a:lstStyle/>
          <a:p>
            <a:pPr defTabSz="914104">
              <a:lnSpc>
                <a:spcPct val="90000"/>
              </a:lnSpc>
              <a:spcBef>
                <a:spcPct val="0"/>
              </a:spcBef>
            </a:pPr>
            <a:endParaRPr lang="nl-NL" sz="1000">
              <a:solidFill>
                <a:prstClr val="white"/>
              </a:solidFill>
              <a:latin typeface="Calibri Light" panose="020F0302020204030204"/>
            </a:endParaRPr>
          </a:p>
        </p:txBody>
      </p:sp>
      <p:cxnSp>
        <p:nvCxnSpPr>
          <p:cNvPr id="58" name="Verbindingslijn: gebogen 57"/>
          <p:cNvCxnSpPr>
            <a:stCxn id="57" idx="4"/>
            <a:endCxn id="86" idx="1"/>
          </p:cNvCxnSpPr>
          <p:nvPr/>
        </p:nvCxnSpPr>
        <p:spPr>
          <a:xfrm>
            <a:off x="2999172" y="1422451"/>
            <a:ext cx="1648769" cy="781935"/>
          </a:xfrm>
          <a:prstGeom prst="bentConnector3">
            <a:avLst>
              <a:gd name="adj1" fmla="val 79657"/>
            </a:avLst>
          </a:prstGeom>
          <a:ln w="19050">
            <a:solidFill>
              <a:schemeClr val="bg1"/>
            </a:solidFill>
            <a:miter lim="800000"/>
          </a:ln>
        </p:spPr>
      </p:cxnSp>
      <p:sp>
        <p:nvSpPr>
          <p:cNvPr id="64" name="Ovaal 63"/>
          <p:cNvSpPr/>
          <p:nvPr/>
        </p:nvSpPr>
        <p:spPr>
          <a:xfrm rot="5400000">
            <a:off x="4517821" y="4387470"/>
            <a:ext cx="81935" cy="81935"/>
          </a:xfrm>
          <a:prstGeom prst="ellipse">
            <a:avLst/>
          </a:prstGeom>
          <a:ln w="19050">
            <a:solidFill>
              <a:schemeClr val="bg1"/>
            </a:solidFill>
          </a:ln>
        </p:spPr>
        <p:txBody>
          <a:bodyPr vert="horz" lIns="0" tIns="107972" rIns="0" bIns="107972" rtlCol="0" anchor="t">
            <a:noAutofit/>
          </a:bodyPr>
          <a:lstStyle/>
          <a:p>
            <a:pPr defTabSz="914104">
              <a:lnSpc>
                <a:spcPct val="90000"/>
              </a:lnSpc>
              <a:spcBef>
                <a:spcPct val="0"/>
              </a:spcBef>
            </a:pPr>
            <a:endParaRPr lang="nl-NL" sz="1000">
              <a:solidFill>
                <a:prstClr val="white"/>
              </a:solidFill>
              <a:latin typeface="Calibri Light" panose="020F0302020204030204"/>
            </a:endParaRPr>
          </a:p>
        </p:txBody>
      </p:sp>
      <p:sp>
        <p:nvSpPr>
          <p:cNvPr id="72" name="Ovaal 71"/>
          <p:cNvSpPr/>
          <p:nvPr/>
        </p:nvSpPr>
        <p:spPr>
          <a:xfrm rot="16200000">
            <a:off x="6724224" y="3645253"/>
            <a:ext cx="81935" cy="81935"/>
          </a:xfrm>
          <a:prstGeom prst="ellipse">
            <a:avLst/>
          </a:prstGeom>
          <a:ln w="19050">
            <a:solidFill>
              <a:schemeClr val="bg1"/>
            </a:solidFill>
          </a:ln>
        </p:spPr>
        <p:txBody>
          <a:bodyPr vert="horz" lIns="0" tIns="107972" rIns="0" bIns="107972" rtlCol="0" anchor="t">
            <a:noAutofit/>
          </a:bodyPr>
          <a:lstStyle/>
          <a:p>
            <a:pPr defTabSz="914104">
              <a:lnSpc>
                <a:spcPct val="90000"/>
              </a:lnSpc>
              <a:spcBef>
                <a:spcPct val="0"/>
              </a:spcBef>
            </a:pPr>
            <a:endParaRPr lang="nl-NL" sz="1000">
              <a:solidFill>
                <a:prstClr val="white"/>
              </a:solidFill>
              <a:latin typeface="Calibri Light" panose="020F0302020204030204"/>
            </a:endParaRPr>
          </a:p>
        </p:txBody>
      </p:sp>
      <p:cxnSp>
        <p:nvCxnSpPr>
          <p:cNvPr id="73" name="Verbindingslijn: gebogen 72"/>
          <p:cNvCxnSpPr>
            <a:stCxn id="72" idx="4"/>
          </p:cNvCxnSpPr>
          <p:nvPr/>
        </p:nvCxnSpPr>
        <p:spPr>
          <a:xfrm flipV="1">
            <a:off x="6806156" y="3488037"/>
            <a:ext cx="750907" cy="198183"/>
          </a:xfrm>
          <a:prstGeom prst="bentConnector2">
            <a:avLst/>
          </a:prstGeom>
          <a:ln w="19050">
            <a:solidFill>
              <a:schemeClr val="bg1"/>
            </a:solidFill>
            <a:miter lim="800000"/>
          </a:ln>
        </p:spPr>
      </p:cxnSp>
      <p:sp>
        <p:nvSpPr>
          <p:cNvPr id="78" name="Ovaal 77"/>
          <p:cNvSpPr/>
          <p:nvPr/>
        </p:nvSpPr>
        <p:spPr>
          <a:xfrm rot="16200000">
            <a:off x="4886613" y="1494698"/>
            <a:ext cx="81935" cy="81935"/>
          </a:xfrm>
          <a:prstGeom prst="ellipse">
            <a:avLst/>
          </a:prstGeom>
          <a:ln w="19050">
            <a:solidFill>
              <a:schemeClr val="bg1"/>
            </a:solidFill>
          </a:ln>
        </p:spPr>
        <p:txBody>
          <a:bodyPr vert="horz" lIns="0" tIns="107972" rIns="0" bIns="107972" rtlCol="0" anchor="t">
            <a:noAutofit/>
          </a:bodyPr>
          <a:lstStyle/>
          <a:p>
            <a:pPr defTabSz="914104">
              <a:lnSpc>
                <a:spcPct val="90000"/>
              </a:lnSpc>
              <a:spcBef>
                <a:spcPct val="0"/>
              </a:spcBef>
            </a:pPr>
            <a:endParaRPr lang="nl-NL" sz="1000">
              <a:solidFill>
                <a:prstClr val="white"/>
              </a:solidFill>
              <a:latin typeface="Calibri Light" panose="020F0302020204030204"/>
            </a:endParaRPr>
          </a:p>
        </p:txBody>
      </p:sp>
      <p:cxnSp>
        <p:nvCxnSpPr>
          <p:cNvPr id="79" name="Verbindingslijn: gebogen 78"/>
          <p:cNvCxnSpPr>
            <a:stCxn id="78" idx="4"/>
            <a:endCxn id="97" idx="1"/>
          </p:cNvCxnSpPr>
          <p:nvPr/>
        </p:nvCxnSpPr>
        <p:spPr>
          <a:xfrm flipV="1">
            <a:off x="4968547" y="762501"/>
            <a:ext cx="536656" cy="773163"/>
          </a:xfrm>
          <a:prstGeom prst="bentConnector3">
            <a:avLst>
              <a:gd name="adj1" fmla="val 59904"/>
            </a:avLst>
          </a:prstGeom>
          <a:ln w="19050">
            <a:solidFill>
              <a:schemeClr val="bg1"/>
            </a:solidFill>
            <a:miter lim="800000"/>
          </a:ln>
        </p:spPr>
      </p:cxnSp>
      <p:pic>
        <p:nvPicPr>
          <p:cNvPr id="80" name="Afbeelding 79"/>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17377" y="2036773"/>
            <a:ext cx="899767" cy="899767"/>
          </a:xfrm>
          <a:prstGeom prst="rect">
            <a:avLst/>
          </a:prstGeom>
          <a:solidFill>
            <a:srgbClr val="FFD800">
              <a:alpha val="50196"/>
            </a:srgbClr>
          </a:solidFill>
          <a:ln w="19050">
            <a:solidFill>
              <a:schemeClr val="bg1"/>
            </a:solidFill>
            <a:miter lim="800000"/>
          </a:ln>
        </p:spPr>
      </p:pic>
      <p:pic>
        <p:nvPicPr>
          <p:cNvPr id="86" name="Afbeelding 85"/>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4647938" y="1754502"/>
            <a:ext cx="899767" cy="899767"/>
          </a:xfrm>
          <a:prstGeom prst="rect">
            <a:avLst/>
          </a:prstGeom>
          <a:solidFill>
            <a:srgbClr val="FFD800">
              <a:alpha val="50196"/>
            </a:srgbClr>
          </a:solidFill>
          <a:ln w="19050">
            <a:solidFill>
              <a:schemeClr val="bg1"/>
            </a:solidFill>
            <a:miter lim="800000"/>
          </a:ln>
        </p:spPr>
      </p:pic>
      <p:pic>
        <p:nvPicPr>
          <p:cNvPr id="88" name="Afbeelding 87"/>
          <p:cNvPicPr preferRelativeResize="0">
            <a:picLocks/>
          </p:cNvPicPr>
          <p:nvPr/>
        </p:nvPicPr>
        <p:blipFill rotWithShape="1">
          <a:blip r:embed="rId8" cstate="email">
            <a:extLst>
              <a:ext uri="{28A0092B-C50C-407E-A947-70E740481C1C}">
                <a14:useLocalDpi xmlns:a14="http://schemas.microsoft.com/office/drawing/2010/main"/>
              </a:ext>
            </a:extLst>
          </a:blip>
          <a:srcRect/>
          <a:stretch/>
        </p:blipFill>
        <p:spPr>
          <a:xfrm>
            <a:off x="7107181" y="2588270"/>
            <a:ext cx="899767" cy="899767"/>
          </a:xfrm>
          <a:prstGeom prst="rect">
            <a:avLst/>
          </a:prstGeom>
          <a:solidFill>
            <a:srgbClr val="FFD800">
              <a:alpha val="50196"/>
            </a:srgbClr>
          </a:solidFill>
          <a:ln w="19050">
            <a:solidFill>
              <a:schemeClr val="bg1"/>
            </a:solidFill>
            <a:miter lim="800000"/>
          </a:ln>
        </p:spPr>
      </p:pic>
      <p:pic>
        <p:nvPicPr>
          <p:cNvPr id="97" name="Afbeelding 96"/>
          <p:cNvPicPr preferRelativeResize="0">
            <a:picLocks/>
          </p:cNvPicPr>
          <p:nvPr/>
        </p:nvPicPr>
        <p:blipFill rotWithShape="1">
          <a:blip r:embed="rId9" cstate="email">
            <a:extLst>
              <a:ext uri="{28A0092B-C50C-407E-A947-70E740481C1C}">
                <a14:useLocalDpi xmlns:a14="http://schemas.microsoft.com/office/drawing/2010/main"/>
              </a:ext>
            </a:extLst>
          </a:blip>
          <a:srcRect/>
          <a:stretch/>
        </p:blipFill>
        <p:spPr>
          <a:xfrm>
            <a:off x="5505204" y="312618"/>
            <a:ext cx="899767" cy="899767"/>
          </a:xfrm>
          <a:prstGeom prst="rect">
            <a:avLst/>
          </a:prstGeom>
          <a:solidFill>
            <a:srgbClr val="FFD800">
              <a:alpha val="50196"/>
            </a:srgbClr>
          </a:solidFill>
          <a:ln w="19050">
            <a:solidFill>
              <a:schemeClr val="bg1"/>
            </a:solidFill>
            <a:miter lim="800000"/>
          </a:ln>
        </p:spPr>
      </p:pic>
      <p:sp>
        <p:nvSpPr>
          <p:cNvPr id="104" name="Titel 24"/>
          <p:cNvSpPr txBox="1">
            <a:spLocks/>
          </p:cNvSpPr>
          <p:nvPr/>
        </p:nvSpPr>
        <p:spPr>
          <a:xfrm>
            <a:off x="4845524" y="6326256"/>
            <a:ext cx="1439625" cy="359907"/>
          </a:xfrm>
          <a:prstGeom prst="rect">
            <a:avLst/>
          </a:prstGeom>
        </p:spPr>
        <p:txBody>
          <a:bodyPr vert="horz" lIns="0" tIns="107972" rIns="0" bIns="107972" rtlCol="0" anchor="t">
            <a:noAutofit/>
          </a:bodyPr>
          <a:lstStyle>
            <a:defPPr>
              <a:defRPr lang="nl-NL"/>
            </a:defPPr>
            <a:lvl1pPr defTabSz="914400">
              <a:lnSpc>
                <a:spcPct val="90000"/>
              </a:lnSpc>
              <a:spcBef>
                <a:spcPct val="0"/>
              </a:spcBef>
              <a:buNone/>
              <a:defRPr sz="1000">
                <a:solidFill>
                  <a:schemeClr val="bg1"/>
                </a:solidFill>
                <a:latin typeface="+mj-lt"/>
                <a:ea typeface="+mj-ea"/>
                <a:cs typeface="+mj-cs"/>
              </a:defRPr>
            </a:lvl1pPr>
          </a:lstStyle>
          <a:p>
            <a:pPr defTabSz="914377"/>
            <a:r>
              <a:rPr lang="en-US" cap="all" dirty="0">
                <a:solidFill>
                  <a:prstClr val="white"/>
                </a:solidFill>
                <a:latin typeface="Calibri Light" panose="020F0302020204030204"/>
              </a:rPr>
              <a:t>PHASE 1</a:t>
            </a:r>
            <a:endParaRPr lang="nl-NL" cap="all" dirty="0">
              <a:solidFill>
                <a:prstClr val="white"/>
              </a:solidFill>
              <a:latin typeface="Calibri Light" panose="020F0302020204030204"/>
            </a:endParaRPr>
          </a:p>
        </p:txBody>
      </p:sp>
      <p:sp>
        <p:nvSpPr>
          <p:cNvPr id="108" name="Titel 24"/>
          <p:cNvSpPr txBox="1">
            <a:spLocks/>
          </p:cNvSpPr>
          <p:nvPr/>
        </p:nvSpPr>
        <p:spPr>
          <a:xfrm>
            <a:off x="5653537" y="2314636"/>
            <a:ext cx="1439625" cy="359907"/>
          </a:xfrm>
          <a:prstGeom prst="rect">
            <a:avLst/>
          </a:prstGeom>
        </p:spPr>
        <p:txBody>
          <a:bodyPr vert="horz" lIns="0" tIns="107972" rIns="0" bIns="107972" rtlCol="0" anchor="t">
            <a:noAutofit/>
          </a:bodyPr>
          <a:lstStyle>
            <a:defPPr>
              <a:defRPr lang="nl-NL"/>
            </a:defPPr>
            <a:lvl1pPr defTabSz="914400">
              <a:lnSpc>
                <a:spcPct val="90000"/>
              </a:lnSpc>
              <a:spcBef>
                <a:spcPct val="0"/>
              </a:spcBef>
              <a:buNone/>
              <a:defRPr sz="1000">
                <a:solidFill>
                  <a:schemeClr val="bg1"/>
                </a:solidFill>
                <a:latin typeface="+mj-lt"/>
                <a:ea typeface="+mj-ea"/>
                <a:cs typeface="+mj-cs"/>
              </a:defRPr>
            </a:lvl1pPr>
          </a:lstStyle>
          <a:p>
            <a:pPr defTabSz="914377"/>
            <a:r>
              <a:rPr lang="en-US" cap="all" dirty="0">
                <a:solidFill>
                  <a:prstClr val="white"/>
                </a:solidFill>
                <a:latin typeface="+mn-lt"/>
              </a:rPr>
              <a:t>EMPTY</a:t>
            </a:r>
            <a:br>
              <a:rPr lang="en-US" cap="all" dirty="0">
                <a:solidFill>
                  <a:prstClr val="white"/>
                </a:solidFill>
                <a:latin typeface="+mn-lt"/>
              </a:rPr>
            </a:br>
            <a:r>
              <a:rPr lang="en-US" cap="all" dirty="0">
                <a:solidFill>
                  <a:prstClr val="white"/>
                </a:solidFill>
                <a:latin typeface="+mn-lt"/>
              </a:rPr>
              <a:t>HANDLING</a:t>
            </a:r>
            <a:endParaRPr lang="nl-NL" cap="all" dirty="0">
              <a:solidFill>
                <a:prstClr val="white"/>
              </a:solidFill>
              <a:latin typeface="+mn-lt"/>
            </a:endParaRPr>
          </a:p>
        </p:txBody>
      </p:sp>
      <p:sp>
        <p:nvSpPr>
          <p:cNvPr id="109" name="Titel 24"/>
          <p:cNvSpPr txBox="1">
            <a:spLocks/>
          </p:cNvSpPr>
          <p:nvPr/>
        </p:nvSpPr>
        <p:spPr>
          <a:xfrm>
            <a:off x="2948780" y="5549381"/>
            <a:ext cx="1439625" cy="359907"/>
          </a:xfrm>
          <a:prstGeom prst="rect">
            <a:avLst/>
          </a:prstGeom>
        </p:spPr>
        <p:txBody>
          <a:bodyPr vert="horz" lIns="0" tIns="107972" rIns="0" bIns="107972" rtlCol="0" anchor="t">
            <a:noAutofit/>
          </a:bodyPr>
          <a:lstStyle>
            <a:defPPr>
              <a:defRPr lang="nl-NL"/>
            </a:defPPr>
            <a:lvl1pPr defTabSz="914400">
              <a:lnSpc>
                <a:spcPct val="90000"/>
              </a:lnSpc>
              <a:spcBef>
                <a:spcPct val="0"/>
              </a:spcBef>
              <a:buNone/>
              <a:defRPr sz="1000">
                <a:solidFill>
                  <a:schemeClr val="bg1"/>
                </a:solidFill>
                <a:latin typeface="+mj-lt"/>
                <a:ea typeface="+mj-ea"/>
                <a:cs typeface="+mj-cs"/>
              </a:defRPr>
            </a:lvl1pPr>
          </a:lstStyle>
          <a:p>
            <a:pPr defTabSz="914377"/>
            <a:r>
              <a:rPr lang="nl-NL" cap="all" dirty="0">
                <a:solidFill>
                  <a:prstClr val="white"/>
                </a:solidFill>
                <a:latin typeface="+mn-lt"/>
              </a:rPr>
              <a:t>RAIL</a:t>
            </a:r>
          </a:p>
        </p:txBody>
      </p:sp>
      <p:sp>
        <p:nvSpPr>
          <p:cNvPr id="111" name="Titel 24"/>
          <p:cNvSpPr txBox="1">
            <a:spLocks/>
          </p:cNvSpPr>
          <p:nvPr/>
        </p:nvSpPr>
        <p:spPr>
          <a:xfrm>
            <a:off x="5507264" y="1193339"/>
            <a:ext cx="1439625" cy="359907"/>
          </a:xfrm>
          <a:prstGeom prst="rect">
            <a:avLst/>
          </a:prstGeom>
        </p:spPr>
        <p:txBody>
          <a:bodyPr vert="horz" lIns="0" tIns="107972" rIns="0" bIns="107972" rtlCol="0" anchor="t">
            <a:noAutofit/>
          </a:bodyPr>
          <a:lstStyle>
            <a:defPPr>
              <a:defRPr lang="nl-NL"/>
            </a:defPPr>
            <a:lvl1pPr defTabSz="914400">
              <a:lnSpc>
                <a:spcPct val="90000"/>
              </a:lnSpc>
              <a:spcBef>
                <a:spcPct val="0"/>
              </a:spcBef>
              <a:buNone/>
              <a:defRPr sz="1000">
                <a:solidFill>
                  <a:schemeClr val="bg1"/>
                </a:solidFill>
                <a:latin typeface="+mj-lt"/>
                <a:ea typeface="+mj-ea"/>
                <a:cs typeface="+mj-cs"/>
              </a:defRPr>
            </a:lvl1pPr>
          </a:lstStyle>
          <a:p>
            <a:pPr defTabSz="914377"/>
            <a:r>
              <a:rPr lang="en" cap="all" dirty="0">
                <a:solidFill>
                  <a:prstClr val="white"/>
                </a:solidFill>
                <a:latin typeface="+mn-lt"/>
              </a:rPr>
              <a:t>Forest</a:t>
            </a:r>
            <a:r>
              <a:rPr lang="nl-NL" cap="all" dirty="0">
                <a:solidFill>
                  <a:prstClr val="white"/>
                </a:solidFill>
                <a:latin typeface="+mn-lt"/>
              </a:rPr>
              <a:t> PRODUCTS</a:t>
            </a:r>
          </a:p>
        </p:txBody>
      </p:sp>
      <p:sp>
        <p:nvSpPr>
          <p:cNvPr id="113" name="Titel 24"/>
          <p:cNvSpPr txBox="1">
            <a:spLocks/>
          </p:cNvSpPr>
          <p:nvPr/>
        </p:nvSpPr>
        <p:spPr>
          <a:xfrm>
            <a:off x="8149776" y="2473015"/>
            <a:ext cx="1848896" cy="359907"/>
          </a:xfrm>
          <a:prstGeom prst="rect">
            <a:avLst/>
          </a:prstGeom>
        </p:spPr>
        <p:txBody>
          <a:bodyPr vert="horz" lIns="0" tIns="107972" rIns="0" bIns="107972" rtlCol="0" anchor="t">
            <a:noAutofit/>
          </a:bodyPr>
          <a:lstStyle>
            <a:defPPr>
              <a:defRPr lang="nl-NL"/>
            </a:defPPr>
            <a:lvl1pPr defTabSz="914400">
              <a:lnSpc>
                <a:spcPct val="90000"/>
              </a:lnSpc>
              <a:spcBef>
                <a:spcPct val="0"/>
              </a:spcBef>
              <a:buNone/>
              <a:defRPr sz="1000">
                <a:solidFill>
                  <a:schemeClr val="bg1"/>
                </a:solidFill>
                <a:latin typeface="+mj-lt"/>
                <a:ea typeface="+mj-ea"/>
                <a:cs typeface="+mj-cs"/>
              </a:defRPr>
            </a:lvl1pPr>
          </a:lstStyle>
          <a:p>
            <a:pPr defTabSz="914377"/>
            <a:r>
              <a:rPr lang="en-US" cap="all" dirty="0">
                <a:solidFill>
                  <a:prstClr val="white"/>
                </a:solidFill>
                <a:latin typeface="+mn-lt"/>
              </a:rPr>
              <a:t>Shortsea CONTAINERS</a:t>
            </a:r>
            <a:endParaRPr lang="nl-NL" cap="all" dirty="0">
              <a:solidFill>
                <a:prstClr val="white"/>
              </a:solidFill>
              <a:latin typeface="+mn-lt"/>
            </a:endParaRPr>
          </a:p>
        </p:txBody>
      </p:sp>
      <p:grpSp>
        <p:nvGrpSpPr>
          <p:cNvPr id="114" name="Groep 113"/>
          <p:cNvGrpSpPr/>
          <p:nvPr/>
        </p:nvGrpSpPr>
        <p:grpSpPr>
          <a:xfrm>
            <a:off x="9071086" y="3241831"/>
            <a:ext cx="1056968" cy="553132"/>
            <a:chOff x="2590237" y="946297"/>
            <a:chExt cx="1057243" cy="553276"/>
          </a:xfrm>
        </p:grpSpPr>
        <p:sp>
          <p:nvSpPr>
            <p:cNvPr id="115" name="Vrije vorm 19"/>
            <p:cNvSpPr/>
            <p:nvPr/>
          </p:nvSpPr>
          <p:spPr>
            <a:xfrm flipV="1">
              <a:off x="2590237" y="1042355"/>
              <a:ext cx="221315" cy="457218"/>
            </a:xfrm>
            <a:custGeom>
              <a:avLst/>
              <a:gdLst>
                <a:gd name="connsiteX0" fmla="*/ 0 w 560070"/>
                <a:gd name="connsiteY0" fmla="*/ 251460 h 640080"/>
                <a:gd name="connsiteX1" fmla="*/ 560070 w 560070"/>
                <a:gd name="connsiteY1" fmla="*/ 0 h 640080"/>
                <a:gd name="connsiteX2" fmla="*/ 560070 w 560070"/>
                <a:gd name="connsiteY2" fmla="*/ 411480 h 640080"/>
                <a:gd name="connsiteX3" fmla="*/ 11430 w 560070"/>
                <a:gd name="connsiteY3" fmla="*/ 640080 h 640080"/>
                <a:gd name="connsiteX4" fmla="*/ 0 w 560070"/>
                <a:gd name="connsiteY4" fmla="*/ 617220 h 640080"/>
                <a:gd name="connsiteX0" fmla="*/ 0 w 560070"/>
                <a:gd name="connsiteY0" fmla="*/ 251460 h 617220"/>
                <a:gd name="connsiteX1" fmla="*/ 560070 w 560070"/>
                <a:gd name="connsiteY1" fmla="*/ 0 h 617220"/>
                <a:gd name="connsiteX2" fmla="*/ 560070 w 560070"/>
                <a:gd name="connsiteY2" fmla="*/ 411480 h 617220"/>
                <a:gd name="connsiteX3" fmla="*/ 33666 w 560070"/>
                <a:gd name="connsiteY3" fmla="*/ 503907 h 617220"/>
                <a:gd name="connsiteX4" fmla="*/ 0 w 560070"/>
                <a:gd name="connsiteY4" fmla="*/ 617220 h 617220"/>
                <a:gd name="connsiteX0" fmla="*/ 0 w 560070"/>
                <a:gd name="connsiteY0" fmla="*/ 251460 h 506984"/>
                <a:gd name="connsiteX1" fmla="*/ 560070 w 560070"/>
                <a:gd name="connsiteY1" fmla="*/ 0 h 506984"/>
                <a:gd name="connsiteX2" fmla="*/ 560070 w 560070"/>
                <a:gd name="connsiteY2" fmla="*/ 411480 h 506984"/>
                <a:gd name="connsiteX3" fmla="*/ 33666 w 560070"/>
                <a:gd name="connsiteY3" fmla="*/ 503907 h 506984"/>
                <a:gd name="connsiteX4" fmla="*/ 144544 w 560070"/>
                <a:gd name="connsiteY4" fmla="*/ 506984 h 506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070" h="506984">
                  <a:moveTo>
                    <a:pt x="0" y="251460"/>
                  </a:moveTo>
                  <a:lnTo>
                    <a:pt x="560070" y="0"/>
                  </a:lnTo>
                  <a:lnTo>
                    <a:pt x="560070" y="411480"/>
                  </a:lnTo>
                  <a:lnTo>
                    <a:pt x="33666" y="503907"/>
                  </a:lnTo>
                  <a:lnTo>
                    <a:pt x="144544" y="506984"/>
                  </a:lnTo>
                </a:path>
              </a:pathLst>
            </a:cu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999">
                <a:solidFill>
                  <a:prstClr val="white"/>
                </a:solidFill>
                <a:latin typeface="Calibri" panose="020F0502020204030204"/>
              </a:endParaRPr>
            </a:p>
          </p:txBody>
        </p:sp>
        <p:sp>
          <p:nvSpPr>
            <p:cNvPr id="116" name="Rechthoek 115"/>
            <p:cNvSpPr/>
            <p:nvPr/>
          </p:nvSpPr>
          <p:spPr>
            <a:xfrm>
              <a:off x="2590237" y="946297"/>
              <a:ext cx="1057243" cy="324000"/>
            </a:xfrm>
            <a:prstGeom prst="rect">
              <a:avLst/>
            </a:prstGeom>
            <a:solidFill>
              <a:schemeClr val="tx2"/>
            </a:solidFill>
          </p:spPr>
          <p:txBody>
            <a:bodyPr vert="horz" lIns="71981" tIns="179953" rIns="71981" bIns="143963" rtlCol="0" anchor="ctr">
              <a:noAutofit/>
            </a:bodyPr>
            <a:lstStyle/>
            <a:p>
              <a:pPr algn="ctr" defTabSz="914104">
                <a:lnSpc>
                  <a:spcPct val="80000"/>
                </a:lnSpc>
                <a:spcBef>
                  <a:spcPct val="0"/>
                </a:spcBef>
              </a:pPr>
              <a:r>
                <a:rPr lang="en-US" sz="1100" dirty="0">
                  <a:solidFill>
                    <a:prstClr val="white"/>
                  </a:solidFill>
                </a:rPr>
                <a:t>SHORTSEA</a:t>
              </a:r>
            </a:p>
          </p:txBody>
        </p:sp>
      </p:grpSp>
      <p:grpSp>
        <p:nvGrpSpPr>
          <p:cNvPr id="117" name="Groep 116"/>
          <p:cNvGrpSpPr/>
          <p:nvPr/>
        </p:nvGrpSpPr>
        <p:grpSpPr>
          <a:xfrm>
            <a:off x="5876227" y="3046371"/>
            <a:ext cx="969725" cy="553132"/>
            <a:chOff x="2677502" y="946297"/>
            <a:chExt cx="969978" cy="553276"/>
          </a:xfrm>
        </p:grpSpPr>
        <p:sp>
          <p:nvSpPr>
            <p:cNvPr id="118" name="Vrije vorm 19"/>
            <p:cNvSpPr/>
            <p:nvPr/>
          </p:nvSpPr>
          <p:spPr>
            <a:xfrm flipV="1">
              <a:off x="2734187" y="1042355"/>
              <a:ext cx="221315" cy="457218"/>
            </a:xfrm>
            <a:custGeom>
              <a:avLst/>
              <a:gdLst>
                <a:gd name="connsiteX0" fmla="*/ 0 w 560070"/>
                <a:gd name="connsiteY0" fmla="*/ 251460 h 640080"/>
                <a:gd name="connsiteX1" fmla="*/ 560070 w 560070"/>
                <a:gd name="connsiteY1" fmla="*/ 0 h 640080"/>
                <a:gd name="connsiteX2" fmla="*/ 560070 w 560070"/>
                <a:gd name="connsiteY2" fmla="*/ 411480 h 640080"/>
                <a:gd name="connsiteX3" fmla="*/ 11430 w 560070"/>
                <a:gd name="connsiteY3" fmla="*/ 640080 h 640080"/>
                <a:gd name="connsiteX4" fmla="*/ 0 w 560070"/>
                <a:gd name="connsiteY4" fmla="*/ 617220 h 640080"/>
                <a:gd name="connsiteX0" fmla="*/ 0 w 560070"/>
                <a:gd name="connsiteY0" fmla="*/ 251460 h 617220"/>
                <a:gd name="connsiteX1" fmla="*/ 560070 w 560070"/>
                <a:gd name="connsiteY1" fmla="*/ 0 h 617220"/>
                <a:gd name="connsiteX2" fmla="*/ 560070 w 560070"/>
                <a:gd name="connsiteY2" fmla="*/ 411480 h 617220"/>
                <a:gd name="connsiteX3" fmla="*/ 33666 w 560070"/>
                <a:gd name="connsiteY3" fmla="*/ 503907 h 617220"/>
                <a:gd name="connsiteX4" fmla="*/ 0 w 560070"/>
                <a:gd name="connsiteY4" fmla="*/ 617220 h 617220"/>
                <a:gd name="connsiteX0" fmla="*/ 0 w 560070"/>
                <a:gd name="connsiteY0" fmla="*/ 251460 h 506984"/>
                <a:gd name="connsiteX1" fmla="*/ 560070 w 560070"/>
                <a:gd name="connsiteY1" fmla="*/ 0 h 506984"/>
                <a:gd name="connsiteX2" fmla="*/ 560070 w 560070"/>
                <a:gd name="connsiteY2" fmla="*/ 411480 h 506984"/>
                <a:gd name="connsiteX3" fmla="*/ 33666 w 560070"/>
                <a:gd name="connsiteY3" fmla="*/ 503907 h 506984"/>
                <a:gd name="connsiteX4" fmla="*/ 144544 w 560070"/>
                <a:gd name="connsiteY4" fmla="*/ 506984 h 506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070" h="506984">
                  <a:moveTo>
                    <a:pt x="0" y="251460"/>
                  </a:moveTo>
                  <a:lnTo>
                    <a:pt x="560070" y="0"/>
                  </a:lnTo>
                  <a:lnTo>
                    <a:pt x="560070" y="411480"/>
                  </a:lnTo>
                  <a:lnTo>
                    <a:pt x="33666" y="503907"/>
                  </a:lnTo>
                  <a:lnTo>
                    <a:pt x="144544" y="506984"/>
                  </a:lnTo>
                </a:path>
              </a:pathLst>
            </a:cu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999">
                <a:solidFill>
                  <a:prstClr val="white"/>
                </a:solidFill>
                <a:latin typeface="Calibri" panose="020F0502020204030204"/>
              </a:endParaRPr>
            </a:p>
          </p:txBody>
        </p:sp>
        <p:sp>
          <p:nvSpPr>
            <p:cNvPr id="119" name="Rechthoek 118"/>
            <p:cNvSpPr/>
            <p:nvPr/>
          </p:nvSpPr>
          <p:spPr>
            <a:xfrm>
              <a:off x="2677502" y="946297"/>
              <a:ext cx="969978" cy="324000"/>
            </a:xfrm>
            <a:prstGeom prst="rect">
              <a:avLst/>
            </a:prstGeom>
            <a:solidFill>
              <a:schemeClr val="tx2"/>
            </a:solidFill>
          </p:spPr>
          <p:txBody>
            <a:bodyPr vert="horz" lIns="71981" tIns="179953" rIns="71981" bIns="143963" rtlCol="0" anchor="ctr">
              <a:noAutofit/>
            </a:bodyPr>
            <a:lstStyle/>
            <a:p>
              <a:pPr algn="ctr" defTabSz="914104">
                <a:lnSpc>
                  <a:spcPct val="80000"/>
                </a:lnSpc>
                <a:spcBef>
                  <a:spcPct val="0"/>
                </a:spcBef>
              </a:pPr>
              <a:r>
                <a:rPr lang="en-US" sz="1100" dirty="0">
                  <a:solidFill>
                    <a:prstClr val="white"/>
                  </a:solidFill>
                </a:rPr>
                <a:t>SHORTSEA</a:t>
              </a:r>
            </a:p>
          </p:txBody>
        </p:sp>
      </p:grpSp>
      <p:grpSp>
        <p:nvGrpSpPr>
          <p:cNvPr id="120" name="Groep 119"/>
          <p:cNvGrpSpPr/>
          <p:nvPr/>
        </p:nvGrpSpPr>
        <p:grpSpPr>
          <a:xfrm>
            <a:off x="2835731" y="2049187"/>
            <a:ext cx="1303169" cy="553132"/>
            <a:chOff x="2343972" y="946297"/>
            <a:chExt cx="1303508" cy="553276"/>
          </a:xfrm>
        </p:grpSpPr>
        <p:sp>
          <p:nvSpPr>
            <p:cNvPr id="121" name="Vrije vorm 19"/>
            <p:cNvSpPr/>
            <p:nvPr/>
          </p:nvSpPr>
          <p:spPr>
            <a:xfrm flipV="1">
              <a:off x="2351216" y="1042355"/>
              <a:ext cx="221315" cy="457218"/>
            </a:xfrm>
            <a:custGeom>
              <a:avLst/>
              <a:gdLst>
                <a:gd name="connsiteX0" fmla="*/ 0 w 560070"/>
                <a:gd name="connsiteY0" fmla="*/ 251460 h 640080"/>
                <a:gd name="connsiteX1" fmla="*/ 560070 w 560070"/>
                <a:gd name="connsiteY1" fmla="*/ 0 h 640080"/>
                <a:gd name="connsiteX2" fmla="*/ 560070 w 560070"/>
                <a:gd name="connsiteY2" fmla="*/ 411480 h 640080"/>
                <a:gd name="connsiteX3" fmla="*/ 11430 w 560070"/>
                <a:gd name="connsiteY3" fmla="*/ 640080 h 640080"/>
                <a:gd name="connsiteX4" fmla="*/ 0 w 560070"/>
                <a:gd name="connsiteY4" fmla="*/ 617220 h 640080"/>
                <a:gd name="connsiteX0" fmla="*/ 0 w 560070"/>
                <a:gd name="connsiteY0" fmla="*/ 251460 h 617220"/>
                <a:gd name="connsiteX1" fmla="*/ 560070 w 560070"/>
                <a:gd name="connsiteY1" fmla="*/ 0 h 617220"/>
                <a:gd name="connsiteX2" fmla="*/ 560070 w 560070"/>
                <a:gd name="connsiteY2" fmla="*/ 411480 h 617220"/>
                <a:gd name="connsiteX3" fmla="*/ 33666 w 560070"/>
                <a:gd name="connsiteY3" fmla="*/ 503907 h 617220"/>
                <a:gd name="connsiteX4" fmla="*/ 0 w 560070"/>
                <a:gd name="connsiteY4" fmla="*/ 617220 h 617220"/>
                <a:gd name="connsiteX0" fmla="*/ 0 w 560070"/>
                <a:gd name="connsiteY0" fmla="*/ 251460 h 506984"/>
                <a:gd name="connsiteX1" fmla="*/ 560070 w 560070"/>
                <a:gd name="connsiteY1" fmla="*/ 0 h 506984"/>
                <a:gd name="connsiteX2" fmla="*/ 560070 w 560070"/>
                <a:gd name="connsiteY2" fmla="*/ 411480 h 506984"/>
                <a:gd name="connsiteX3" fmla="*/ 33666 w 560070"/>
                <a:gd name="connsiteY3" fmla="*/ 503907 h 506984"/>
                <a:gd name="connsiteX4" fmla="*/ 144544 w 560070"/>
                <a:gd name="connsiteY4" fmla="*/ 506984 h 506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070" h="506984">
                  <a:moveTo>
                    <a:pt x="0" y="251460"/>
                  </a:moveTo>
                  <a:lnTo>
                    <a:pt x="560070" y="0"/>
                  </a:lnTo>
                  <a:lnTo>
                    <a:pt x="560070" y="411480"/>
                  </a:lnTo>
                  <a:lnTo>
                    <a:pt x="33666" y="503907"/>
                  </a:lnTo>
                  <a:lnTo>
                    <a:pt x="144544" y="506984"/>
                  </a:lnTo>
                </a:path>
              </a:pathLst>
            </a:cu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999">
                <a:solidFill>
                  <a:prstClr val="white"/>
                </a:solidFill>
                <a:latin typeface="Calibri" panose="020F0502020204030204"/>
              </a:endParaRPr>
            </a:p>
          </p:txBody>
        </p:sp>
        <p:sp>
          <p:nvSpPr>
            <p:cNvPr id="125" name="Rechthoek 124"/>
            <p:cNvSpPr/>
            <p:nvPr/>
          </p:nvSpPr>
          <p:spPr>
            <a:xfrm>
              <a:off x="2343972" y="946297"/>
              <a:ext cx="1303508" cy="324000"/>
            </a:xfrm>
            <a:prstGeom prst="rect">
              <a:avLst/>
            </a:prstGeom>
            <a:solidFill>
              <a:schemeClr val="tx2"/>
            </a:solidFill>
          </p:spPr>
          <p:txBody>
            <a:bodyPr vert="horz" lIns="71981" tIns="179953" rIns="71981" bIns="143963" rtlCol="0" anchor="ctr">
              <a:noAutofit/>
            </a:bodyPr>
            <a:lstStyle/>
            <a:p>
              <a:pPr algn="ctr" defTabSz="914104">
                <a:lnSpc>
                  <a:spcPct val="80000"/>
                </a:lnSpc>
                <a:spcBef>
                  <a:spcPct val="0"/>
                </a:spcBef>
              </a:pPr>
              <a:r>
                <a:rPr lang="en-US" sz="1100" dirty="0">
                  <a:solidFill>
                    <a:prstClr val="white"/>
                  </a:solidFill>
                </a:rPr>
                <a:t>SHORTSEA</a:t>
              </a:r>
            </a:p>
          </p:txBody>
        </p:sp>
      </p:grpSp>
      <p:sp>
        <p:nvSpPr>
          <p:cNvPr id="126" name="Vrije vorm 41"/>
          <p:cNvSpPr/>
          <p:nvPr/>
        </p:nvSpPr>
        <p:spPr>
          <a:xfrm>
            <a:off x="7946590" y="4979152"/>
            <a:ext cx="1675224" cy="1237317"/>
          </a:xfrm>
          <a:custGeom>
            <a:avLst/>
            <a:gdLst>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1017917 w 1834551"/>
              <a:gd name="connsiteY9" fmla="*/ 454325 h 1161691"/>
              <a:gd name="connsiteX10" fmla="*/ 1104181 w 1834551"/>
              <a:gd name="connsiteY10" fmla="*/ 437072 h 1161691"/>
              <a:gd name="connsiteX11" fmla="*/ 1178944 w 1834551"/>
              <a:gd name="connsiteY11" fmla="*/ 517585 h 1161691"/>
              <a:gd name="connsiteX12" fmla="*/ 1190446 w 1834551"/>
              <a:gd name="connsiteY12" fmla="*/ 615351 h 1161691"/>
              <a:gd name="connsiteX13" fmla="*/ 1242204 w 1834551"/>
              <a:gd name="connsiteY13" fmla="*/ 661359 h 1161691"/>
              <a:gd name="connsiteX14" fmla="*/ 1115683 w 1834551"/>
              <a:gd name="connsiteY14" fmla="*/ 718868 h 1161691"/>
              <a:gd name="connsiteX15" fmla="*/ 994914 w 1834551"/>
              <a:gd name="connsiteY15" fmla="*/ 586596 h 1161691"/>
              <a:gd name="connsiteX16" fmla="*/ 885646 w 1834551"/>
              <a:gd name="connsiteY16" fmla="*/ 621102 h 1161691"/>
              <a:gd name="connsiteX17" fmla="*/ 506083 w 1834551"/>
              <a:gd name="connsiteY17" fmla="*/ 276045 h 1161691"/>
              <a:gd name="connsiteX18" fmla="*/ 488831 w 1834551"/>
              <a:gd name="connsiteY18" fmla="*/ 276045 h 1161691"/>
              <a:gd name="connsiteX19" fmla="*/ 408317 w 1834551"/>
              <a:gd name="connsiteY19" fmla="*/ 207034 h 1161691"/>
              <a:gd name="connsiteX20" fmla="*/ 310551 w 1834551"/>
              <a:gd name="connsiteY20" fmla="*/ 46008 h 1161691"/>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1017917 w 1834551"/>
              <a:gd name="connsiteY9" fmla="*/ 454325 h 1161691"/>
              <a:gd name="connsiteX10" fmla="*/ 1104181 w 1834551"/>
              <a:gd name="connsiteY10" fmla="*/ 437072 h 1161691"/>
              <a:gd name="connsiteX11" fmla="*/ 1178944 w 1834551"/>
              <a:gd name="connsiteY11" fmla="*/ 517585 h 1161691"/>
              <a:gd name="connsiteX12" fmla="*/ 1190446 w 1834551"/>
              <a:gd name="connsiteY12" fmla="*/ 615351 h 1161691"/>
              <a:gd name="connsiteX13" fmla="*/ 1115683 w 1834551"/>
              <a:gd name="connsiteY13" fmla="*/ 718868 h 1161691"/>
              <a:gd name="connsiteX14" fmla="*/ 994914 w 1834551"/>
              <a:gd name="connsiteY14" fmla="*/ 586596 h 1161691"/>
              <a:gd name="connsiteX15" fmla="*/ 885646 w 1834551"/>
              <a:gd name="connsiteY15" fmla="*/ 621102 h 1161691"/>
              <a:gd name="connsiteX16" fmla="*/ 506083 w 1834551"/>
              <a:gd name="connsiteY16" fmla="*/ 276045 h 1161691"/>
              <a:gd name="connsiteX17" fmla="*/ 488831 w 1834551"/>
              <a:gd name="connsiteY17" fmla="*/ 276045 h 1161691"/>
              <a:gd name="connsiteX18" fmla="*/ 408317 w 1834551"/>
              <a:gd name="connsiteY18" fmla="*/ 207034 h 1161691"/>
              <a:gd name="connsiteX19" fmla="*/ 310551 w 1834551"/>
              <a:gd name="connsiteY19" fmla="*/ 46008 h 1161691"/>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1017917 w 1834551"/>
              <a:gd name="connsiteY9" fmla="*/ 454325 h 1161691"/>
              <a:gd name="connsiteX10" fmla="*/ 1104181 w 1834551"/>
              <a:gd name="connsiteY10" fmla="*/ 437072 h 1161691"/>
              <a:gd name="connsiteX11" fmla="*/ 1178944 w 1834551"/>
              <a:gd name="connsiteY11" fmla="*/ 517585 h 1161691"/>
              <a:gd name="connsiteX12" fmla="*/ 1115683 w 1834551"/>
              <a:gd name="connsiteY12" fmla="*/ 718868 h 1161691"/>
              <a:gd name="connsiteX13" fmla="*/ 994914 w 1834551"/>
              <a:gd name="connsiteY13" fmla="*/ 586596 h 1161691"/>
              <a:gd name="connsiteX14" fmla="*/ 885646 w 1834551"/>
              <a:gd name="connsiteY14" fmla="*/ 621102 h 1161691"/>
              <a:gd name="connsiteX15" fmla="*/ 506083 w 1834551"/>
              <a:gd name="connsiteY15" fmla="*/ 276045 h 1161691"/>
              <a:gd name="connsiteX16" fmla="*/ 488831 w 1834551"/>
              <a:gd name="connsiteY16" fmla="*/ 276045 h 1161691"/>
              <a:gd name="connsiteX17" fmla="*/ 408317 w 1834551"/>
              <a:gd name="connsiteY17" fmla="*/ 207034 h 1161691"/>
              <a:gd name="connsiteX18" fmla="*/ 310551 w 1834551"/>
              <a:gd name="connsiteY18" fmla="*/ 46008 h 1161691"/>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1017917 w 1834551"/>
              <a:gd name="connsiteY9" fmla="*/ 454325 h 1161691"/>
              <a:gd name="connsiteX10" fmla="*/ 1104181 w 1834551"/>
              <a:gd name="connsiteY10" fmla="*/ 437072 h 1161691"/>
              <a:gd name="connsiteX11" fmla="*/ 1115683 w 1834551"/>
              <a:gd name="connsiteY11" fmla="*/ 718868 h 1161691"/>
              <a:gd name="connsiteX12" fmla="*/ 994914 w 1834551"/>
              <a:gd name="connsiteY12" fmla="*/ 586596 h 1161691"/>
              <a:gd name="connsiteX13" fmla="*/ 885646 w 1834551"/>
              <a:gd name="connsiteY13" fmla="*/ 621102 h 1161691"/>
              <a:gd name="connsiteX14" fmla="*/ 506083 w 1834551"/>
              <a:gd name="connsiteY14" fmla="*/ 276045 h 1161691"/>
              <a:gd name="connsiteX15" fmla="*/ 488831 w 1834551"/>
              <a:gd name="connsiteY15" fmla="*/ 276045 h 1161691"/>
              <a:gd name="connsiteX16" fmla="*/ 408317 w 1834551"/>
              <a:gd name="connsiteY16" fmla="*/ 207034 h 1161691"/>
              <a:gd name="connsiteX17" fmla="*/ 310551 w 1834551"/>
              <a:gd name="connsiteY17" fmla="*/ 46008 h 1161691"/>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1017917 w 1834551"/>
              <a:gd name="connsiteY9" fmla="*/ 454325 h 1161691"/>
              <a:gd name="connsiteX10" fmla="*/ 1115683 w 1834551"/>
              <a:gd name="connsiteY10" fmla="*/ 718868 h 1161691"/>
              <a:gd name="connsiteX11" fmla="*/ 994914 w 1834551"/>
              <a:gd name="connsiteY11" fmla="*/ 586596 h 1161691"/>
              <a:gd name="connsiteX12" fmla="*/ 885646 w 1834551"/>
              <a:gd name="connsiteY12" fmla="*/ 621102 h 1161691"/>
              <a:gd name="connsiteX13" fmla="*/ 506083 w 1834551"/>
              <a:gd name="connsiteY13" fmla="*/ 276045 h 1161691"/>
              <a:gd name="connsiteX14" fmla="*/ 488831 w 1834551"/>
              <a:gd name="connsiteY14" fmla="*/ 276045 h 1161691"/>
              <a:gd name="connsiteX15" fmla="*/ 408317 w 1834551"/>
              <a:gd name="connsiteY15" fmla="*/ 207034 h 1161691"/>
              <a:gd name="connsiteX16" fmla="*/ 310551 w 1834551"/>
              <a:gd name="connsiteY16" fmla="*/ 46008 h 1161691"/>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1115683 w 1834551"/>
              <a:gd name="connsiteY9" fmla="*/ 718868 h 1161691"/>
              <a:gd name="connsiteX10" fmla="*/ 994914 w 1834551"/>
              <a:gd name="connsiteY10" fmla="*/ 586596 h 1161691"/>
              <a:gd name="connsiteX11" fmla="*/ 885646 w 1834551"/>
              <a:gd name="connsiteY11" fmla="*/ 621102 h 1161691"/>
              <a:gd name="connsiteX12" fmla="*/ 506083 w 1834551"/>
              <a:gd name="connsiteY12" fmla="*/ 276045 h 1161691"/>
              <a:gd name="connsiteX13" fmla="*/ 488831 w 1834551"/>
              <a:gd name="connsiteY13" fmla="*/ 276045 h 1161691"/>
              <a:gd name="connsiteX14" fmla="*/ 408317 w 1834551"/>
              <a:gd name="connsiteY14" fmla="*/ 207034 h 1161691"/>
              <a:gd name="connsiteX15" fmla="*/ 310551 w 1834551"/>
              <a:gd name="connsiteY15" fmla="*/ 46008 h 1161691"/>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1115683 w 1834551"/>
              <a:gd name="connsiteY9" fmla="*/ 718868 h 1161691"/>
              <a:gd name="connsiteX10" fmla="*/ 885646 w 1834551"/>
              <a:gd name="connsiteY10" fmla="*/ 621102 h 1161691"/>
              <a:gd name="connsiteX11" fmla="*/ 506083 w 1834551"/>
              <a:gd name="connsiteY11" fmla="*/ 276045 h 1161691"/>
              <a:gd name="connsiteX12" fmla="*/ 488831 w 1834551"/>
              <a:gd name="connsiteY12" fmla="*/ 276045 h 1161691"/>
              <a:gd name="connsiteX13" fmla="*/ 408317 w 1834551"/>
              <a:gd name="connsiteY13" fmla="*/ 207034 h 1161691"/>
              <a:gd name="connsiteX14" fmla="*/ 310551 w 1834551"/>
              <a:gd name="connsiteY14" fmla="*/ 46008 h 1161691"/>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885646 w 1834551"/>
              <a:gd name="connsiteY9" fmla="*/ 621102 h 1161691"/>
              <a:gd name="connsiteX10" fmla="*/ 506083 w 1834551"/>
              <a:gd name="connsiteY10" fmla="*/ 276045 h 1161691"/>
              <a:gd name="connsiteX11" fmla="*/ 488831 w 1834551"/>
              <a:gd name="connsiteY11" fmla="*/ 276045 h 1161691"/>
              <a:gd name="connsiteX12" fmla="*/ 408317 w 1834551"/>
              <a:gd name="connsiteY12" fmla="*/ 207034 h 1161691"/>
              <a:gd name="connsiteX13" fmla="*/ 310551 w 1834551"/>
              <a:gd name="connsiteY13" fmla="*/ 46008 h 1161691"/>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506083 w 1834551"/>
              <a:gd name="connsiteY9" fmla="*/ 276045 h 1161691"/>
              <a:gd name="connsiteX10" fmla="*/ 488831 w 1834551"/>
              <a:gd name="connsiteY10" fmla="*/ 276045 h 1161691"/>
              <a:gd name="connsiteX11" fmla="*/ 408317 w 1834551"/>
              <a:gd name="connsiteY11" fmla="*/ 207034 h 1161691"/>
              <a:gd name="connsiteX12" fmla="*/ 310551 w 1834551"/>
              <a:gd name="connsiteY12" fmla="*/ 46008 h 1161691"/>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506083 w 1834551"/>
              <a:gd name="connsiteY9" fmla="*/ 276045 h 1161691"/>
              <a:gd name="connsiteX10" fmla="*/ 408317 w 1834551"/>
              <a:gd name="connsiteY10" fmla="*/ 207034 h 1161691"/>
              <a:gd name="connsiteX11" fmla="*/ 310551 w 1834551"/>
              <a:gd name="connsiteY11" fmla="*/ 46008 h 1161691"/>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408317 w 1834551"/>
              <a:gd name="connsiteY9" fmla="*/ 207034 h 1161691"/>
              <a:gd name="connsiteX10" fmla="*/ 310551 w 1834551"/>
              <a:gd name="connsiteY10" fmla="*/ 46008 h 1161691"/>
              <a:gd name="connsiteX0" fmla="*/ 310551 w 1834551"/>
              <a:gd name="connsiteY0" fmla="*/ 46008 h 1161691"/>
              <a:gd name="connsiteX1" fmla="*/ 0 w 1834551"/>
              <a:gd name="connsiteY1" fmla="*/ 28755 h 1161691"/>
              <a:gd name="connsiteX2" fmla="*/ 914400 w 1834551"/>
              <a:gd name="connsiteY2" fmla="*/ 925902 h 1161691"/>
              <a:gd name="connsiteX3" fmla="*/ 1006415 w 1834551"/>
              <a:gd name="connsiteY3" fmla="*/ 902898 h 1161691"/>
              <a:gd name="connsiteX4" fmla="*/ 1242204 w 1834551"/>
              <a:gd name="connsiteY4" fmla="*/ 1127185 h 1161691"/>
              <a:gd name="connsiteX5" fmla="*/ 1259457 w 1834551"/>
              <a:gd name="connsiteY5" fmla="*/ 1161691 h 1161691"/>
              <a:gd name="connsiteX6" fmla="*/ 1834551 w 1834551"/>
              <a:gd name="connsiteY6" fmla="*/ 1023668 h 1161691"/>
              <a:gd name="connsiteX7" fmla="*/ 736121 w 1834551"/>
              <a:gd name="connsiteY7" fmla="*/ 0 h 1161691"/>
              <a:gd name="connsiteX8" fmla="*/ 563593 w 1834551"/>
              <a:gd name="connsiteY8" fmla="*/ 5751 h 1161691"/>
              <a:gd name="connsiteX9" fmla="*/ 310551 w 1834551"/>
              <a:gd name="connsiteY9" fmla="*/ 46008 h 1161691"/>
              <a:gd name="connsiteX0" fmla="*/ 310551 w 1727714"/>
              <a:gd name="connsiteY0" fmla="*/ 46008 h 1161691"/>
              <a:gd name="connsiteX1" fmla="*/ 0 w 1727714"/>
              <a:gd name="connsiteY1" fmla="*/ 28755 h 1161691"/>
              <a:gd name="connsiteX2" fmla="*/ 914400 w 1727714"/>
              <a:gd name="connsiteY2" fmla="*/ 925902 h 1161691"/>
              <a:gd name="connsiteX3" fmla="*/ 1006415 w 1727714"/>
              <a:gd name="connsiteY3" fmla="*/ 902898 h 1161691"/>
              <a:gd name="connsiteX4" fmla="*/ 1242204 w 1727714"/>
              <a:gd name="connsiteY4" fmla="*/ 1127185 h 1161691"/>
              <a:gd name="connsiteX5" fmla="*/ 1259457 w 1727714"/>
              <a:gd name="connsiteY5" fmla="*/ 1161691 h 1161691"/>
              <a:gd name="connsiteX6" fmla="*/ 1727714 w 1727714"/>
              <a:gd name="connsiteY6" fmla="*/ 1111652 h 1161691"/>
              <a:gd name="connsiteX7" fmla="*/ 736121 w 1727714"/>
              <a:gd name="connsiteY7" fmla="*/ 0 h 1161691"/>
              <a:gd name="connsiteX8" fmla="*/ 563593 w 1727714"/>
              <a:gd name="connsiteY8" fmla="*/ 5751 h 1161691"/>
              <a:gd name="connsiteX9" fmla="*/ 310551 w 1727714"/>
              <a:gd name="connsiteY9" fmla="*/ 46008 h 1161691"/>
              <a:gd name="connsiteX0" fmla="*/ 310551 w 1727714"/>
              <a:gd name="connsiteY0" fmla="*/ 46008 h 1265386"/>
              <a:gd name="connsiteX1" fmla="*/ 0 w 1727714"/>
              <a:gd name="connsiteY1" fmla="*/ 28755 h 1265386"/>
              <a:gd name="connsiteX2" fmla="*/ 914400 w 1727714"/>
              <a:gd name="connsiteY2" fmla="*/ 925902 h 1265386"/>
              <a:gd name="connsiteX3" fmla="*/ 1006415 w 1727714"/>
              <a:gd name="connsiteY3" fmla="*/ 902898 h 1265386"/>
              <a:gd name="connsiteX4" fmla="*/ 1242204 w 1727714"/>
              <a:gd name="connsiteY4" fmla="*/ 1127185 h 1265386"/>
              <a:gd name="connsiteX5" fmla="*/ 1212323 w 1727714"/>
              <a:gd name="connsiteY5" fmla="*/ 1265386 h 1265386"/>
              <a:gd name="connsiteX6" fmla="*/ 1727714 w 1727714"/>
              <a:gd name="connsiteY6" fmla="*/ 1111652 h 1265386"/>
              <a:gd name="connsiteX7" fmla="*/ 736121 w 1727714"/>
              <a:gd name="connsiteY7" fmla="*/ 0 h 1265386"/>
              <a:gd name="connsiteX8" fmla="*/ 563593 w 1727714"/>
              <a:gd name="connsiteY8" fmla="*/ 5751 h 1265386"/>
              <a:gd name="connsiteX9" fmla="*/ 310551 w 1727714"/>
              <a:gd name="connsiteY9" fmla="*/ 46008 h 1265386"/>
              <a:gd name="connsiteX0" fmla="*/ 310551 w 1727714"/>
              <a:gd name="connsiteY0" fmla="*/ 46008 h 1265386"/>
              <a:gd name="connsiteX1" fmla="*/ 0 w 1727714"/>
              <a:gd name="connsiteY1" fmla="*/ 28755 h 1265386"/>
              <a:gd name="connsiteX2" fmla="*/ 914400 w 1727714"/>
              <a:gd name="connsiteY2" fmla="*/ 925902 h 1265386"/>
              <a:gd name="connsiteX3" fmla="*/ 1006415 w 1727714"/>
              <a:gd name="connsiteY3" fmla="*/ 902898 h 1265386"/>
              <a:gd name="connsiteX4" fmla="*/ 1212323 w 1727714"/>
              <a:gd name="connsiteY4" fmla="*/ 1265386 h 1265386"/>
              <a:gd name="connsiteX5" fmla="*/ 1727714 w 1727714"/>
              <a:gd name="connsiteY5" fmla="*/ 1111652 h 1265386"/>
              <a:gd name="connsiteX6" fmla="*/ 736121 w 1727714"/>
              <a:gd name="connsiteY6" fmla="*/ 0 h 1265386"/>
              <a:gd name="connsiteX7" fmla="*/ 563593 w 1727714"/>
              <a:gd name="connsiteY7" fmla="*/ 5751 h 1265386"/>
              <a:gd name="connsiteX8" fmla="*/ 310551 w 1727714"/>
              <a:gd name="connsiteY8" fmla="*/ 46008 h 1265386"/>
              <a:gd name="connsiteX0" fmla="*/ 310551 w 1727714"/>
              <a:gd name="connsiteY0" fmla="*/ 46008 h 1265386"/>
              <a:gd name="connsiteX1" fmla="*/ 0 w 1727714"/>
              <a:gd name="connsiteY1" fmla="*/ 28755 h 1265386"/>
              <a:gd name="connsiteX2" fmla="*/ 914400 w 1727714"/>
              <a:gd name="connsiteY2" fmla="*/ 925902 h 1265386"/>
              <a:gd name="connsiteX3" fmla="*/ 1212323 w 1727714"/>
              <a:gd name="connsiteY3" fmla="*/ 1265386 h 1265386"/>
              <a:gd name="connsiteX4" fmla="*/ 1727714 w 1727714"/>
              <a:gd name="connsiteY4" fmla="*/ 1111652 h 1265386"/>
              <a:gd name="connsiteX5" fmla="*/ 736121 w 1727714"/>
              <a:gd name="connsiteY5" fmla="*/ 0 h 1265386"/>
              <a:gd name="connsiteX6" fmla="*/ 563593 w 1727714"/>
              <a:gd name="connsiteY6" fmla="*/ 5751 h 1265386"/>
              <a:gd name="connsiteX7" fmla="*/ 310551 w 1727714"/>
              <a:gd name="connsiteY7" fmla="*/ 46008 h 1265386"/>
              <a:gd name="connsiteX0" fmla="*/ 310551 w 1727714"/>
              <a:gd name="connsiteY0" fmla="*/ 46008 h 1265386"/>
              <a:gd name="connsiteX1" fmla="*/ 0 w 1727714"/>
              <a:gd name="connsiteY1" fmla="*/ 28755 h 1265386"/>
              <a:gd name="connsiteX2" fmla="*/ 1212323 w 1727714"/>
              <a:gd name="connsiteY2" fmla="*/ 1265386 h 1265386"/>
              <a:gd name="connsiteX3" fmla="*/ 1727714 w 1727714"/>
              <a:gd name="connsiteY3" fmla="*/ 1111652 h 1265386"/>
              <a:gd name="connsiteX4" fmla="*/ 736121 w 1727714"/>
              <a:gd name="connsiteY4" fmla="*/ 0 h 1265386"/>
              <a:gd name="connsiteX5" fmla="*/ 563593 w 1727714"/>
              <a:gd name="connsiteY5" fmla="*/ 5751 h 1265386"/>
              <a:gd name="connsiteX6" fmla="*/ 310551 w 1727714"/>
              <a:gd name="connsiteY6" fmla="*/ 46008 h 1265386"/>
              <a:gd name="connsiteX0" fmla="*/ 219426 w 1636589"/>
              <a:gd name="connsiteY0" fmla="*/ 46008 h 1265386"/>
              <a:gd name="connsiteX1" fmla="*/ 0 w 1636589"/>
              <a:gd name="connsiteY1" fmla="*/ 233003 h 1265386"/>
              <a:gd name="connsiteX2" fmla="*/ 1121198 w 1636589"/>
              <a:gd name="connsiteY2" fmla="*/ 1265386 h 1265386"/>
              <a:gd name="connsiteX3" fmla="*/ 1636589 w 1636589"/>
              <a:gd name="connsiteY3" fmla="*/ 1111652 h 1265386"/>
              <a:gd name="connsiteX4" fmla="*/ 644996 w 1636589"/>
              <a:gd name="connsiteY4" fmla="*/ 0 h 1265386"/>
              <a:gd name="connsiteX5" fmla="*/ 472468 w 1636589"/>
              <a:gd name="connsiteY5" fmla="*/ 5751 h 1265386"/>
              <a:gd name="connsiteX6" fmla="*/ 219426 w 1636589"/>
              <a:gd name="connsiteY6" fmla="*/ 46008 h 1265386"/>
              <a:gd name="connsiteX0" fmla="*/ 194288 w 1611451"/>
              <a:gd name="connsiteY0" fmla="*/ 46008 h 1265386"/>
              <a:gd name="connsiteX1" fmla="*/ 0 w 1611451"/>
              <a:gd name="connsiteY1" fmla="*/ 229861 h 1265386"/>
              <a:gd name="connsiteX2" fmla="*/ 1096060 w 1611451"/>
              <a:gd name="connsiteY2" fmla="*/ 1265386 h 1265386"/>
              <a:gd name="connsiteX3" fmla="*/ 1611451 w 1611451"/>
              <a:gd name="connsiteY3" fmla="*/ 1111652 h 1265386"/>
              <a:gd name="connsiteX4" fmla="*/ 619858 w 1611451"/>
              <a:gd name="connsiteY4" fmla="*/ 0 h 1265386"/>
              <a:gd name="connsiteX5" fmla="*/ 447330 w 1611451"/>
              <a:gd name="connsiteY5" fmla="*/ 5751 h 1265386"/>
              <a:gd name="connsiteX6" fmla="*/ 194288 w 1611451"/>
              <a:gd name="connsiteY6" fmla="*/ 46008 h 1265386"/>
              <a:gd name="connsiteX0" fmla="*/ 194288 w 1611451"/>
              <a:gd name="connsiteY0" fmla="*/ 46008 h 1255959"/>
              <a:gd name="connsiteX1" fmla="*/ 0 w 1611451"/>
              <a:gd name="connsiteY1" fmla="*/ 229861 h 1255959"/>
              <a:gd name="connsiteX2" fmla="*/ 1102344 w 1611451"/>
              <a:gd name="connsiteY2" fmla="*/ 1255959 h 1255959"/>
              <a:gd name="connsiteX3" fmla="*/ 1611451 w 1611451"/>
              <a:gd name="connsiteY3" fmla="*/ 1111652 h 1255959"/>
              <a:gd name="connsiteX4" fmla="*/ 619858 w 1611451"/>
              <a:gd name="connsiteY4" fmla="*/ 0 h 1255959"/>
              <a:gd name="connsiteX5" fmla="*/ 447330 w 1611451"/>
              <a:gd name="connsiteY5" fmla="*/ 5751 h 1255959"/>
              <a:gd name="connsiteX6" fmla="*/ 194288 w 1611451"/>
              <a:gd name="connsiteY6" fmla="*/ 46008 h 1255959"/>
              <a:gd name="connsiteX0" fmla="*/ 194288 w 1675660"/>
              <a:gd name="connsiteY0" fmla="*/ 40257 h 1250208"/>
              <a:gd name="connsiteX1" fmla="*/ 0 w 1675660"/>
              <a:gd name="connsiteY1" fmla="*/ 224110 h 1250208"/>
              <a:gd name="connsiteX2" fmla="*/ 1102344 w 1675660"/>
              <a:gd name="connsiteY2" fmla="*/ 1250208 h 1250208"/>
              <a:gd name="connsiteX3" fmla="*/ 1611451 w 1675660"/>
              <a:gd name="connsiteY3" fmla="*/ 1105901 h 1250208"/>
              <a:gd name="connsiteX4" fmla="*/ 1675660 w 1675660"/>
              <a:gd name="connsiteY4" fmla="*/ 779816 h 1250208"/>
              <a:gd name="connsiteX5" fmla="*/ 447330 w 1675660"/>
              <a:gd name="connsiteY5" fmla="*/ 0 h 1250208"/>
              <a:gd name="connsiteX6" fmla="*/ 194288 w 1675660"/>
              <a:gd name="connsiteY6" fmla="*/ 40257 h 1250208"/>
              <a:gd name="connsiteX0" fmla="*/ 194288 w 1675660"/>
              <a:gd name="connsiteY0" fmla="*/ 40257 h 1250208"/>
              <a:gd name="connsiteX1" fmla="*/ 0 w 1675660"/>
              <a:gd name="connsiteY1" fmla="*/ 224110 h 1250208"/>
              <a:gd name="connsiteX2" fmla="*/ 1102344 w 1675660"/>
              <a:gd name="connsiteY2" fmla="*/ 1250208 h 1250208"/>
              <a:gd name="connsiteX3" fmla="*/ 1611451 w 1675660"/>
              <a:gd name="connsiteY3" fmla="*/ 1105901 h 1250208"/>
              <a:gd name="connsiteX4" fmla="*/ 1675660 w 1675660"/>
              <a:gd name="connsiteY4" fmla="*/ 779816 h 1250208"/>
              <a:gd name="connsiteX5" fmla="*/ 447330 w 1675660"/>
              <a:gd name="connsiteY5" fmla="*/ 0 h 1250208"/>
              <a:gd name="connsiteX6" fmla="*/ 194288 w 1675660"/>
              <a:gd name="connsiteY6" fmla="*/ 40257 h 1250208"/>
              <a:gd name="connsiteX0" fmla="*/ 194288 w 1675660"/>
              <a:gd name="connsiteY0" fmla="*/ 40257 h 1250208"/>
              <a:gd name="connsiteX1" fmla="*/ 0 w 1675660"/>
              <a:gd name="connsiteY1" fmla="*/ 224110 h 1250208"/>
              <a:gd name="connsiteX2" fmla="*/ 1102344 w 1675660"/>
              <a:gd name="connsiteY2" fmla="*/ 1250208 h 1250208"/>
              <a:gd name="connsiteX3" fmla="*/ 1611451 w 1675660"/>
              <a:gd name="connsiteY3" fmla="*/ 1105901 h 1250208"/>
              <a:gd name="connsiteX4" fmla="*/ 1675660 w 1675660"/>
              <a:gd name="connsiteY4" fmla="*/ 779816 h 1250208"/>
              <a:gd name="connsiteX5" fmla="*/ 447330 w 1675660"/>
              <a:gd name="connsiteY5" fmla="*/ 0 h 1250208"/>
              <a:gd name="connsiteX6" fmla="*/ 194288 w 1675660"/>
              <a:gd name="connsiteY6" fmla="*/ 40257 h 1250208"/>
              <a:gd name="connsiteX0" fmla="*/ 194288 w 1675660"/>
              <a:gd name="connsiteY0" fmla="*/ 40257 h 1250208"/>
              <a:gd name="connsiteX1" fmla="*/ 0 w 1675660"/>
              <a:gd name="connsiteY1" fmla="*/ 224110 h 1250208"/>
              <a:gd name="connsiteX2" fmla="*/ 1102344 w 1675660"/>
              <a:gd name="connsiteY2" fmla="*/ 1250208 h 1250208"/>
              <a:gd name="connsiteX3" fmla="*/ 1611451 w 1675660"/>
              <a:gd name="connsiteY3" fmla="*/ 1105901 h 1250208"/>
              <a:gd name="connsiteX4" fmla="*/ 1675660 w 1675660"/>
              <a:gd name="connsiteY4" fmla="*/ 779816 h 1250208"/>
              <a:gd name="connsiteX5" fmla="*/ 447330 w 1675660"/>
              <a:gd name="connsiteY5" fmla="*/ 0 h 1250208"/>
              <a:gd name="connsiteX6" fmla="*/ 194288 w 1675660"/>
              <a:gd name="connsiteY6" fmla="*/ 40257 h 1250208"/>
              <a:gd name="connsiteX0" fmla="*/ 194288 w 1675660"/>
              <a:gd name="connsiteY0" fmla="*/ 40257 h 1250208"/>
              <a:gd name="connsiteX1" fmla="*/ 0 w 1675660"/>
              <a:gd name="connsiteY1" fmla="*/ 224110 h 1250208"/>
              <a:gd name="connsiteX2" fmla="*/ 1102344 w 1675660"/>
              <a:gd name="connsiteY2" fmla="*/ 1250208 h 1250208"/>
              <a:gd name="connsiteX3" fmla="*/ 1611451 w 1675660"/>
              <a:gd name="connsiteY3" fmla="*/ 1105901 h 1250208"/>
              <a:gd name="connsiteX4" fmla="*/ 1675660 w 1675660"/>
              <a:gd name="connsiteY4" fmla="*/ 779816 h 1250208"/>
              <a:gd name="connsiteX5" fmla="*/ 447330 w 1675660"/>
              <a:gd name="connsiteY5" fmla="*/ 0 h 1250208"/>
              <a:gd name="connsiteX6" fmla="*/ 194288 w 1675660"/>
              <a:gd name="connsiteY6" fmla="*/ 40257 h 1250208"/>
              <a:gd name="connsiteX0" fmla="*/ 194288 w 1675660"/>
              <a:gd name="connsiteY0" fmla="*/ 40257 h 1250208"/>
              <a:gd name="connsiteX1" fmla="*/ 0 w 1675660"/>
              <a:gd name="connsiteY1" fmla="*/ 224110 h 1250208"/>
              <a:gd name="connsiteX2" fmla="*/ 1102344 w 1675660"/>
              <a:gd name="connsiteY2" fmla="*/ 1250208 h 1250208"/>
              <a:gd name="connsiteX3" fmla="*/ 1611451 w 1675660"/>
              <a:gd name="connsiteY3" fmla="*/ 1105901 h 1250208"/>
              <a:gd name="connsiteX4" fmla="*/ 1675660 w 1675660"/>
              <a:gd name="connsiteY4" fmla="*/ 779816 h 1250208"/>
              <a:gd name="connsiteX5" fmla="*/ 447330 w 1675660"/>
              <a:gd name="connsiteY5" fmla="*/ 0 h 1250208"/>
              <a:gd name="connsiteX6" fmla="*/ 194288 w 1675660"/>
              <a:gd name="connsiteY6" fmla="*/ 40257 h 1250208"/>
              <a:gd name="connsiteX0" fmla="*/ 194288 w 1675660"/>
              <a:gd name="connsiteY0" fmla="*/ 27688 h 1237639"/>
              <a:gd name="connsiteX1" fmla="*/ 0 w 1675660"/>
              <a:gd name="connsiteY1" fmla="*/ 211541 h 1237639"/>
              <a:gd name="connsiteX2" fmla="*/ 1102344 w 1675660"/>
              <a:gd name="connsiteY2" fmla="*/ 1237639 h 1237639"/>
              <a:gd name="connsiteX3" fmla="*/ 1611451 w 1675660"/>
              <a:gd name="connsiteY3" fmla="*/ 1093332 h 1237639"/>
              <a:gd name="connsiteX4" fmla="*/ 1675660 w 1675660"/>
              <a:gd name="connsiteY4" fmla="*/ 767247 h 1237639"/>
              <a:gd name="connsiteX5" fmla="*/ 802406 w 1675660"/>
              <a:gd name="connsiteY5" fmla="*/ 0 h 1237639"/>
              <a:gd name="connsiteX6" fmla="*/ 194288 w 1675660"/>
              <a:gd name="connsiteY6" fmla="*/ 27688 h 1237639"/>
              <a:gd name="connsiteX0" fmla="*/ 802406 w 1675660"/>
              <a:gd name="connsiteY0" fmla="*/ 0 h 1237639"/>
              <a:gd name="connsiteX1" fmla="*/ 0 w 1675660"/>
              <a:gd name="connsiteY1" fmla="*/ 211541 h 1237639"/>
              <a:gd name="connsiteX2" fmla="*/ 1102344 w 1675660"/>
              <a:gd name="connsiteY2" fmla="*/ 1237639 h 1237639"/>
              <a:gd name="connsiteX3" fmla="*/ 1611451 w 1675660"/>
              <a:gd name="connsiteY3" fmla="*/ 1093332 h 1237639"/>
              <a:gd name="connsiteX4" fmla="*/ 1675660 w 1675660"/>
              <a:gd name="connsiteY4" fmla="*/ 767247 h 1237639"/>
              <a:gd name="connsiteX5" fmla="*/ 802406 w 1675660"/>
              <a:gd name="connsiteY5" fmla="*/ 0 h 1237639"/>
              <a:gd name="connsiteX0" fmla="*/ 802406 w 1675660"/>
              <a:gd name="connsiteY0" fmla="*/ 0 h 1237639"/>
              <a:gd name="connsiteX1" fmla="*/ 298240 w 1675660"/>
              <a:gd name="connsiteY1" fmla="*/ 132916 h 1237639"/>
              <a:gd name="connsiteX2" fmla="*/ 0 w 1675660"/>
              <a:gd name="connsiteY2" fmla="*/ 211541 h 1237639"/>
              <a:gd name="connsiteX3" fmla="*/ 1102344 w 1675660"/>
              <a:gd name="connsiteY3" fmla="*/ 1237639 h 1237639"/>
              <a:gd name="connsiteX4" fmla="*/ 1611451 w 1675660"/>
              <a:gd name="connsiteY4" fmla="*/ 1093332 h 1237639"/>
              <a:gd name="connsiteX5" fmla="*/ 1675660 w 1675660"/>
              <a:gd name="connsiteY5" fmla="*/ 767247 h 1237639"/>
              <a:gd name="connsiteX6" fmla="*/ 802406 w 1675660"/>
              <a:gd name="connsiteY6" fmla="*/ 0 h 1237639"/>
              <a:gd name="connsiteX0" fmla="*/ 802406 w 1675660"/>
              <a:gd name="connsiteY0" fmla="*/ 0 h 1237639"/>
              <a:gd name="connsiteX1" fmla="*/ 298240 w 1675660"/>
              <a:gd name="connsiteY1" fmla="*/ 132916 h 1237639"/>
              <a:gd name="connsiteX2" fmla="*/ 103420 w 1675660"/>
              <a:gd name="connsiteY2" fmla="*/ 183192 h 1237639"/>
              <a:gd name="connsiteX3" fmla="*/ 0 w 1675660"/>
              <a:gd name="connsiteY3" fmla="*/ 211541 h 1237639"/>
              <a:gd name="connsiteX4" fmla="*/ 1102344 w 1675660"/>
              <a:gd name="connsiteY4" fmla="*/ 1237639 h 1237639"/>
              <a:gd name="connsiteX5" fmla="*/ 1611451 w 1675660"/>
              <a:gd name="connsiteY5" fmla="*/ 1093332 h 1237639"/>
              <a:gd name="connsiteX6" fmla="*/ 1675660 w 1675660"/>
              <a:gd name="connsiteY6" fmla="*/ 767247 h 1237639"/>
              <a:gd name="connsiteX7" fmla="*/ 802406 w 1675660"/>
              <a:gd name="connsiteY7" fmla="*/ 0 h 1237639"/>
              <a:gd name="connsiteX0" fmla="*/ 802406 w 1675660"/>
              <a:gd name="connsiteY0" fmla="*/ 0 h 1237639"/>
              <a:gd name="connsiteX1" fmla="*/ 298240 w 1675660"/>
              <a:gd name="connsiteY1" fmla="*/ 132916 h 1237639"/>
              <a:gd name="connsiteX2" fmla="*/ 219684 w 1675660"/>
              <a:gd name="connsiteY2" fmla="*/ 151770 h 1237639"/>
              <a:gd name="connsiteX3" fmla="*/ 103420 w 1675660"/>
              <a:gd name="connsiteY3" fmla="*/ 183192 h 1237639"/>
              <a:gd name="connsiteX4" fmla="*/ 0 w 1675660"/>
              <a:gd name="connsiteY4" fmla="*/ 211541 h 1237639"/>
              <a:gd name="connsiteX5" fmla="*/ 1102344 w 1675660"/>
              <a:gd name="connsiteY5" fmla="*/ 1237639 h 1237639"/>
              <a:gd name="connsiteX6" fmla="*/ 1611451 w 1675660"/>
              <a:gd name="connsiteY6" fmla="*/ 1093332 h 1237639"/>
              <a:gd name="connsiteX7" fmla="*/ 1675660 w 1675660"/>
              <a:gd name="connsiteY7" fmla="*/ 767247 h 1237639"/>
              <a:gd name="connsiteX8" fmla="*/ 802406 w 1675660"/>
              <a:gd name="connsiteY8" fmla="*/ 0 h 1237639"/>
              <a:gd name="connsiteX0" fmla="*/ 802406 w 1675660"/>
              <a:gd name="connsiteY0" fmla="*/ 0 h 1237639"/>
              <a:gd name="connsiteX1" fmla="*/ 298240 w 1675660"/>
              <a:gd name="connsiteY1" fmla="*/ 132916 h 1237639"/>
              <a:gd name="connsiteX2" fmla="*/ 266818 w 1675660"/>
              <a:gd name="connsiteY2" fmla="*/ 98352 h 1237639"/>
              <a:gd name="connsiteX3" fmla="*/ 103420 w 1675660"/>
              <a:gd name="connsiteY3" fmla="*/ 183192 h 1237639"/>
              <a:gd name="connsiteX4" fmla="*/ 0 w 1675660"/>
              <a:gd name="connsiteY4" fmla="*/ 211541 h 1237639"/>
              <a:gd name="connsiteX5" fmla="*/ 1102344 w 1675660"/>
              <a:gd name="connsiteY5" fmla="*/ 1237639 h 1237639"/>
              <a:gd name="connsiteX6" fmla="*/ 1611451 w 1675660"/>
              <a:gd name="connsiteY6" fmla="*/ 1093332 h 1237639"/>
              <a:gd name="connsiteX7" fmla="*/ 1675660 w 1675660"/>
              <a:gd name="connsiteY7" fmla="*/ 767247 h 1237639"/>
              <a:gd name="connsiteX8" fmla="*/ 802406 w 1675660"/>
              <a:gd name="connsiteY8" fmla="*/ 0 h 1237639"/>
              <a:gd name="connsiteX0" fmla="*/ 802406 w 1675660"/>
              <a:gd name="connsiteY0" fmla="*/ 0 h 1237639"/>
              <a:gd name="connsiteX1" fmla="*/ 298240 w 1675660"/>
              <a:gd name="connsiteY1" fmla="*/ 132916 h 1237639"/>
              <a:gd name="connsiteX2" fmla="*/ 266818 w 1675660"/>
              <a:gd name="connsiteY2" fmla="*/ 98352 h 1237639"/>
              <a:gd name="connsiteX3" fmla="*/ 156838 w 1675660"/>
              <a:gd name="connsiteY3" fmla="*/ 151770 h 1237639"/>
              <a:gd name="connsiteX4" fmla="*/ 103420 w 1675660"/>
              <a:gd name="connsiteY4" fmla="*/ 183192 h 1237639"/>
              <a:gd name="connsiteX5" fmla="*/ 0 w 1675660"/>
              <a:gd name="connsiteY5" fmla="*/ 211541 h 1237639"/>
              <a:gd name="connsiteX6" fmla="*/ 1102344 w 1675660"/>
              <a:gd name="connsiteY6" fmla="*/ 1237639 h 1237639"/>
              <a:gd name="connsiteX7" fmla="*/ 1611451 w 1675660"/>
              <a:gd name="connsiteY7" fmla="*/ 1093332 h 1237639"/>
              <a:gd name="connsiteX8" fmla="*/ 1675660 w 1675660"/>
              <a:gd name="connsiteY8" fmla="*/ 767247 h 1237639"/>
              <a:gd name="connsiteX9" fmla="*/ 802406 w 1675660"/>
              <a:gd name="connsiteY9" fmla="*/ 0 h 1237639"/>
              <a:gd name="connsiteX0" fmla="*/ 802406 w 1675660"/>
              <a:gd name="connsiteY0" fmla="*/ 0 h 1237639"/>
              <a:gd name="connsiteX1" fmla="*/ 298240 w 1675660"/>
              <a:gd name="connsiteY1" fmla="*/ 132916 h 1237639"/>
              <a:gd name="connsiteX2" fmla="*/ 266818 w 1675660"/>
              <a:gd name="connsiteY2" fmla="*/ 98352 h 1237639"/>
              <a:gd name="connsiteX3" fmla="*/ 93992 w 1675660"/>
              <a:gd name="connsiteY3" fmla="*/ 139201 h 1237639"/>
              <a:gd name="connsiteX4" fmla="*/ 103420 w 1675660"/>
              <a:gd name="connsiteY4" fmla="*/ 183192 h 1237639"/>
              <a:gd name="connsiteX5" fmla="*/ 0 w 1675660"/>
              <a:gd name="connsiteY5" fmla="*/ 211541 h 1237639"/>
              <a:gd name="connsiteX6" fmla="*/ 1102344 w 1675660"/>
              <a:gd name="connsiteY6" fmla="*/ 1237639 h 1237639"/>
              <a:gd name="connsiteX7" fmla="*/ 1611451 w 1675660"/>
              <a:gd name="connsiteY7" fmla="*/ 1093332 h 1237639"/>
              <a:gd name="connsiteX8" fmla="*/ 1675660 w 1675660"/>
              <a:gd name="connsiteY8" fmla="*/ 767247 h 1237639"/>
              <a:gd name="connsiteX9" fmla="*/ 802406 w 1675660"/>
              <a:gd name="connsiteY9" fmla="*/ 0 h 1237639"/>
              <a:gd name="connsiteX0" fmla="*/ 802406 w 1675660"/>
              <a:gd name="connsiteY0" fmla="*/ 0 h 1237639"/>
              <a:gd name="connsiteX1" fmla="*/ 298240 w 1675660"/>
              <a:gd name="connsiteY1" fmla="*/ 132916 h 1237639"/>
              <a:gd name="connsiteX2" fmla="*/ 266818 w 1675660"/>
              <a:gd name="connsiteY2" fmla="*/ 98352 h 1237639"/>
              <a:gd name="connsiteX3" fmla="*/ 93992 w 1675660"/>
              <a:gd name="connsiteY3" fmla="*/ 139201 h 1237639"/>
              <a:gd name="connsiteX4" fmla="*/ 87709 w 1675660"/>
              <a:gd name="connsiteY4" fmla="*/ 180050 h 1237639"/>
              <a:gd name="connsiteX5" fmla="*/ 0 w 1675660"/>
              <a:gd name="connsiteY5" fmla="*/ 211541 h 1237639"/>
              <a:gd name="connsiteX6" fmla="*/ 1102344 w 1675660"/>
              <a:gd name="connsiteY6" fmla="*/ 1237639 h 1237639"/>
              <a:gd name="connsiteX7" fmla="*/ 1611451 w 1675660"/>
              <a:gd name="connsiteY7" fmla="*/ 1093332 h 1237639"/>
              <a:gd name="connsiteX8" fmla="*/ 1675660 w 1675660"/>
              <a:gd name="connsiteY8" fmla="*/ 767247 h 1237639"/>
              <a:gd name="connsiteX9" fmla="*/ 802406 w 1675660"/>
              <a:gd name="connsiteY9" fmla="*/ 0 h 123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5660" h="1237639">
                <a:moveTo>
                  <a:pt x="802406" y="0"/>
                </a:moveTo>
                <a:lnTo>
                  <a:pt x="298240" y="132916"/>
                </a:lnTo>
                <a:lnTo>
                  <a:pt x="266818" y="98352"/>
                </a:lnTo>
                <a:lnTo>
                  <a:pt x="93992" y="139201"/>
                </a:lnTo>
                <a:lnTo>
                  <a:pt x="87709" y="180050"/>
                </a:lnTo>
                <a:lnTo>
                  <a:pt x="0" y="211541"/>
                </a:lnTo>
                <a:lnTo>
                  <a:pt x="1102344" y="1237639"/>
                </a:lnTo>
                <a:lnTo>
                  <a:pt x="1611451" y="1093332"/>
                </a:lnTo>
                <a:cubicBezTo>
                  <a:pt x="1554297" y="1041198"/>
                  <a:pt x="1424873" y="863372"/>
                  <a:pt x="1675660" y="767247"/>
                </a:cubicBezTo>
                <a:lnTo>
                  <a:pt x="802406" y="0"/>
                </a:lnTo>
                <a:close/>
              </a:path>
            </a:pathLst>
          </a:custGeom>
          <a:solidFill>
            <a:schemeClr val="bg1">
              <a:alpha val="50196"/>
            </a:schemeClr>
          </a:solidFill>
          <a:ln w="12700">
            <a:solidFill>
              <a:schemeClr val="bg1"/>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799">
              <a:solidFill>
                <a:prstClr val="white"/>
              </a:solidFill>
              <a:latin typeface="Calibri" panose="020F0502020204030204"/>
            </a:endParaRPr>
          </a:p>
        </p:txBody>
      </p:sp>
      <p:grpSp>
        <p:nvGrpSpPr>
          <p:cNvPr id="89" name="Groep 88"/>
          <p:cNvGrpSpPr/>
          <p:nvPr/>
        </p:nvGrpSpPr>
        <p:grpSpPr>
          <a:xfrm>
            <a:off x="4154649" y="3806879"/>
            <a:ext cx="624781" cy="553132"/>
            <a:chOff x="2648518" y="946297"/>
            <a:chExt cx="624944" cy="553276"/>
          </a:xfrm>
        </p:grpSpPr>
        <p:sp>
          <p:nvSpPr>
            <p:cNvPr id="90" name="Vrije vorm 19"/>
            <p:cNvSpPr/>
            <p:nvPr/>
          </p:nvSpPr>
          <p:spPr>
            <a:xfrm flipV="1">
              <a:off x="2650835" y="1042355"/>
              <a:ext cx="221315" cy="457218"/>
            </a:xfrm>
            <a:custGeom>
              <a:avLst/>
              <a:gdLst>
                <a:gd name="connsiteX0" fmla="*/ 0 w 560070"/>
                <a:gd name="connsiteY0" fmla="*/ 251460 h 640080"/>
                <a:gd name="connsiteX1" fmla="*/ 560070 w 560070"/>
                <a:gd name="connsiteY1" fmla="*/ 0 h 640080"/>
                <a:gd name="connsiteX2" fmla="*/ 560070 w 560070"/>
                <a:gd name="connsiteY2" fmla="*/ 411480 h 640080"/>
                <a:gd name="connsiteX3" fmla="*/ 11430 w 560070"/>
                <a:gd name="connsiteY3" fmla="*/ 640080 h 640080"/>
                <a:gd name="connsiteX4" fmla="*/ 0 w 560070"/>
                <a:gd name="connsiteY4" fmla="*/ 617220 h 640080"/>
                <a:gd name="connsiteX0" fmla="*/ 0 w 560070"/>
                <a:gd name="connsiteY0" fmla="*/ 251460 h 617220"/>
                <a:gd name="connsiteX1" fmla="*/ 560070 w 560070"/>
                <a:gd name="connsiteY1" fmla="*/ 0 h 617220"/>
                <a:gd name="connsiteX2" fmla="*/ 560070 w 560070"/>
                <a:gd name="connsiteY2" fmla="*/ 411480 h 617220"/>
                <a:gd name="connsiteX3" fmla="*/ 33666 w 560070"/>
                <a:gd name="connsiteY3" fmla="*/ 503907 h 617220"/>
                <a:gd name="connsiteX4" fmla="*/ 0 w 560070"/>
                <a:gd name="connsiteY4" fmla="*/ 617220 h 617220"/>
                <a:gd name="connsiteX0" fmla="*/ 0 w 560070"/>
                <a:gd name="connsiteY0" fmla="*/ 251460 h 506984"/>
                <a:gd name="connsiteX1" fmla="*/ 560070 w 560070"/>
                <a:gd name="connsiteY1" fmla="*/ 0 h 506984"/>
                <a:gd name="connsiteX2" fmla="*/ 560070 w 560070"/>
                <a:gd name="connsiteY2" fmla="*/ 411480 h 506984"/>
                <a:gd name="connsiteX3" fmla="*/ 33666 w 560070"/>
                <a:gd name="connsiteY3" fmla="*/ 503907 h 506984"/>
                <a:gd name="connsiteX4" fmla="*/ 144544 w 560070"/>
                <a:gd name="connsiteY4" fmla="*/ 506984 h 506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070" h="506984">
                  <a:moveTo>
                    <a:pt x="0" y="251460"/>
                  </a:moveTo>
                  <a:lnTo>
                    <a:pt x="560070" y="0"/>
                  </a:lnTo>
                  <a:lnTo>
                    <a:pt x="560070" y="411480"/>
                  </a:lnTo>
                  <a:lnTo>
                    <a:pt x="33666" y="503907"/>
                  </a:lnTo>
                  <a:lnTo>
                    <a:pt x="144544" y="506984"/>
                  </a:lnTo>
                </a:path>
              </a:pathLst>
            </a:cu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999">
                <a:solidFill>
                  <a:prstClr val="white"/>
                </a:solidFill>
                <a:latin typeface="Calibri" panose="020F0502020204030204"/>
              </a:endParaRPr>
            </a:p>
          </p:txBody>
        </p:sp>
        <p:sp>
          <p:nvSpPr>
            <p:cNvPr id="91" name="Rechthoek 90"/>
            <p:cNvSpPr/>
            <p:nvPr/>
          </p:nvSpPr>
          <p:spPr>
            <a:xfrm>
              <a:off x="2648518" y="946297"/>
              <a:ext cx="624944" cy="324000"/>
            </a:xfrm>
            <a:prstGeom prst="rect">
              <a:avLst/>
            </a:prstGeom>
            <a:solidFill>
              <a:schemeClr val="tx2"/>
            </a:solidFill>
          </p:spPr>
          <p:txBody>
            <a:bodyPr vert="horz" lIns="71981" tIns="179953" rIns="71981" bIns="143963" rtlCol="0" anchor="ctr">
              <a:noAutofit/>
            </a:bodyPr>
            <a:lstStyle/>
            <a:p>
              <a:pPr algn="ctr" defTabSz="914104">
                <a:lnSpc>
                  <a:spcPct val="80000"/>
                </a:lnSpc>
                <a:spcBef>
                  <a:spcPct val="0"/>
                </a:spcBef>
              </a:pPr>
              <a:r>
                <a:rPr lang="en-US" sz="1100" dirty="0">
                  <a:solidFill>
                    <a:prstClr val="white"/>
                  </a:solidFill>
                </a:rPr>
                <a:t>RAIL</a:t>
              </a:r>
            </a:p>
          </p:txBody>
        </p:sp>
      </p:grpSp>
      <p:cxnSp>
        <p:nvCxnSpPr>
          <p:cNvPr id="93" name="Verbindingslijn: gebogen 72"/>
          <p:cNvCxnSpPr>
            <a:endCxn id="88" idx="2"/>
          </p:cNvCxnSpPr>
          <p:nvPr/>
        </p:nvCxnSpPr>
        <p:spPr>
          <a:xfrm rot="10800000">
            <a:off x="7557064" y="3488035"/>
            <a:ext cx="1453907" cy="198184"/>
          </a:xfrm>
          <a:prstGeom prst="bentConnector2">
            <a:avLst/>
          </a:prstGeom>
          <a:ln w="19050">
            <a:solidFill>
              <a:schemeClr val="bg1"/>
            </a:solidFill>
            <a:miter lim="800000"/>
          </a:ln>
        </p:spPr>
      </p:cxnSp>
      <p:sp>
        <p:nvSpPr>
          <p:cNvPr id="94" name="Ovaal 93"/>
          <p:cNvSpPr/>
          <p:nvPr/>
        </p:nvSpPr>
        <p:spPr>
          <a:xfrm rot="16200000">
            <a:off x="9010970" y="3645253"/>
            <a:ext cx="81935" cy="81935"/>
          </a:xfrm>
          <a:prstGeom prst="ellipse">
            <a:avLst/>
          </a:prstGeom>
          <a:ln w="19050">
            <a:solidFill>
              <a:schemeClr val="bg1"/>
            </a:solidFill>
          </a:ln>
        </p:spPr>
        <p:txBody>
          <a:bodyPr vert="horz" lIns="0" tIns="107972" rIns="0" bIns="107972" rtlCol="0" anchor="t">
            <a:noAutofit/>
          </a:bodyPr>
          <a:lstStyle/>
          <a:p>
            <a:pPr defTabSz="914104">
              <a:lnSpc>
                <a:spcPct val="90000"/>
              </a:lnSpc>
              <a:spcBef>
                <a:spcPct val="0"/>
              </a:spcBef>
            </a:pPr>
            <a:endParaRPr lang="nl-NL" sz="1000">
              <a:solidFill>
                <a:prstClr val="white"/>
              </a:solidFill>
              <a:latin typeface="Calibri Light" panose="020F0302020204030204"/>
            </a:endParaRPr>
          </a:p>
        </p:txBody>
      </p:sp>
      <p:sp>
        <p:nvSpPr>
          <p:cNvPr id="77" name="Vrije vorm 76"/>
          <p:cNvSpPr/>
          <p:nvPr/>
        </p:nvSpPr>
        <p:spPr>
          <a:xfrm>
            <a:off x="887645" y="1278794"/>
            <a:ext cx="9531783" cy="5482880"/>
          </a:xfrm>
          <a:custGeom>
            <a:avLst/>
            <a:gdLst>
              <a:gd name="connsiteX0" fmla="*/ 6521380 w 9475596"/>
              <a:gd name="connsiteY0" fmla="*/ 5496448 h 5496448"/>
              <a:gd name="connsiteX1" fmla="*/ 7817618 w 9475596"/>
              <a:gd name="connsiteY1" fmla="*/ 5144756 h 5496448"/>
              <a:gd name="connsiteX2" fmla="*/ 6863024 w 9475596"/>
              <a:gd name="connsiteY2" fmla="*/ 4019341 h 5496448"/>
              <a:gd name="connsiteX3" fmla="*/ 9475596 w 9475596"/>
              <a:gd name="connsiteY3" fmla="*/ 3496826 h 5496448"/>
              <a:gd name="connsiteX4" fmla="*/ 9385161 w 9475596"/>
              <a:gd name="connsiteY4" fmla="*/ 3396343 h 5496448"/>
              <a:gd name="connsiteX5" fmla="*/ 6722347 w 9475596"/>
              <a:gd name="connsiteY5" fmla="*/ 3928905 h 5496448"/>
              <a:gd name="connsiteX6" fmla="*/ 4762919 w 9475596"/>
              <a:gd name="connsiteY6" fmla="*/ 2210637 h 5496448"/>
              <a:gd name="connsiteX7" fmla="*/ 3737987 w 9475596"/>
              <a:gd name="connsiteY7" fmla="*/ 2481943 h 5496448"/>
              <a:gd name="connsiteX8" fmla="*/ 2924070 w 9475596"/>
              <a:gd name="connsiteY8" fmla="*/ 1678075 h 5496448"/>
              <a:gd name="connsiteX9" fmla="*/ 2280976 w 9475596"/>
              <a:gd name="connsiteY9" fmla="*/ 1758461 h 5496448"/>
              <a:gd name="connsiteX10" fmla="*/ 1155561 w 9475596"/>
              <a:gd name="connsiteY10" fmla="*/ 622998 h 5496448"/>
              <a:gd name="connsiteX11" fmla="*/ 361741 w 9475596"/>
              <a:gd name="connsiteY11" fmla="*/ 381837 h 5496448"/>
              <a:gd name="connsiteX12" fmla="*/ 522514 w 9475596"/>
              <a:gd name="connsiteY12" fmla="*/ 301450 h 5496448"/>
              <a:gd name="connsiteX13" fmla="*/ 874207 w 9475596"/>
              <a:gd name="connsiteY13" fmla="*/ 411982 h 5496448"/>
              <a:gd name="connsiteX14" fmla="*/ 1758462 w 9475596"/>
              <a:gd name="connsiteY14" fmla="*/ 80387 h 5496448"/>
              <a:gd name="connsiteX15" fmla="*/ 2893925 w 9475596"/>
              <a:gd name="connsiteY15" fmla="*/ 120580 h 5496448"/>
              <a:gd name="connsiteX16" fmla="*/ 2813539 w 9475596"/>
              <a:gd name="connsiteY16" fmla="*/ 190919 h 5496448"/>
              <a:gd name="connsiteX17" fmla="*/ 3466681 w 9475596"/>
              <a:gd name="connsiteY17" fmla="*/ 321547 h 5496448"/>
              <a:gd name="connsiteX18" fmla="*/ 3938954 w 9475596"/>
              <a:gd name="connsiteY18" fmla="*/ 70338 h 5496448"/>
              <a:gd name="connsiteX19" fmla="*/ 3516923 w 9475596"/>
              <a:gd name="connsiteY19" fmla="*/ 10048 h 5496448"/>
              <a:gd name="connsiteX20" fmla="*/ 1738365 w 9475596"/>
              <a:gd name="connsiteY20" fmla="*/ 0 h 5496448"/>
              <a:gd name="connsiteX21" fmla="*/ 0 w 9475596"/>
              <a:gd name="connsiteY21" fmla="*/ 361741 h 5496448"/>
              <a:gd name="connsiteX22" fmla="*/ 1115367 w 9475596"/>
              <a:gd name="connsiteY22" fmla="*/ 773723 h 5496448"/>
              <a:gd name="connsiteX23" fmla="*/ 2260879 w 9475596"/>
              <a:gd name="connsiteY23" fmla="*/ 1919235 h 5496448"/>
              <a:gd name="connsiteX24" fmla="*/ 2934119 w 9475596"/>
              <a:gd name="connsiteY24" fmla="*/ 1808703 h 5496448"/>
              <a:gd name="connsiteX25" fmla="*/ 3737987 w 9475596"/>
              <a:gd name="connsiteY25" fmla="*/ 2703006 h 5496448"/>
              <a:gd name="connsiteX26" fmla="*/ 4772967 w 9475596"/>
              <a:gd name="connsiteY26" fmla="*/ 2411604 h 5496448"/>
              <a:gd name="connsiteX27" fmla="*/ 7526216 w 9475596"/>
              <a:gd name="connsiteY27" fmla="*/ 5064369 h 5496448"/>
              <a:gd name="connsiteX28" fmla="*/ 6370655 w 9475596"/>
              <a:gd name="connsiteY28" fmla="*/ 5375868 h 5496448"/>
              <a:gd name="connsiteX29" fmla="*/ 6521380 w 9475596"/>
              <a:gd name="connsiteY29" fmla="*/ 5496448 h 5496448"/>
              <a:gd name="connsiteX0" fmla="*/ 6521380 w 9475596"/>
              <a:gd name="connsiteY0" fmla="*/ 5496448 h 5496448"/>
              <a:gd name="connsiteX1" fmla="*/ 7756146 w 9475596"/>
              <a:gd name="connsiteY1" fmla="*/ 5106336 h 5496448"/>
              <a:gd name="connsiteX2" fmla="*/ 6863024 w 9475596"/>
              <a:gd name="connsiteY2" fmla="*/ 4019341 h 5496448"/>
              <a:gd name="connsiteX3" fmla="*/ 9475596 w 9475596"/>
              <a:gd name="connsiteY3" fmla="*/ 3496826 h 5496448"/>
              <a:gd name="connsiteX4" fmla="*/ 9385161 w 9475596"/>
              <a:gd name="connsiteY4" fmla="*/ 3396343 h 5496448"/>
              <a:gd name="connsiteX5" fmla="*/ 6722347 w 9475596"/>
              <a:gd name="connsiteY5" fmla="*/ 3928905 h 5496448"/>
              <a:gd name="connsiteX6" fmla="*/ 4762919 w 9475596"/>
              <a:gd name="connsiteY6" fmla="*/ 2210637 h 5496448"/>
              <a:gd name="connsiteX7" fmla="*/ 3737987 w 9475596"/>
              <a:gd name="connsiteY7" fmla="*/ 2481943 h 5496448"/>
              <a:gd name="connsiteX8" fmla="*/ 2924070 w 9475596"/>
              <a:gd name="connsiteY8" fmla="*/ 1678075 h 5496448"/>
              <a:gd name="connsiteX9" fmla="*/ 2280976 w 9475596"/>
              <a:gd name="connsiteY9" fmla="*/ 1758461 h 5496448"/>
              <a:gd name="connsiteX10" fmla="*/ 1155561 w 9475596"/>
              <a:gd name="connsiteY10" fmla="*/ 622998 h 5496448"/>
              <a:gd name="connsiteX11" fmla="*/ 361741 w 9475596"/>
              <a:gd name="connsiteY11" fmla="*/ 381837 h 5496448"/>
              <a:gd name="connsiteX12" fmla="*/ 522514 w 9475596"/>
              <a:gd name="connsiteY12" fmla="*/ 301450 h 5496448"/>
              <a:gd name="connsiteX13" fmla="*/ 874207 w 9475596"/>
              <a:gd name="connsiteY13" fmla="*/ 411982 h 5496448"/>
              <a:gd name="connsiteX14" fmla="*/ 1758462 w 9475596"/>
              <a:gd name="connsiteY14" fmla="*/ 80387 h 5496448"/>
              <a:gd name="connsiteX15" fmla="*/ 2893925 w 9475596"/>
              <a:gd name="connsiteY15" fmla="*/ 120580 h 5496448"/>
              <a:gd name="connsiteX16" fmla="*/ 2813539 w 9475596"/>
              <a:gd name="connsiteY16" fmla="*/ 190919 h 5496448"/>
              <a:gd name="connsiteX17" fmla="*/ 3466681 w 9475596"/>
              <a:gd name="connsiteY17" fmla="*/ 321547 h 5496448"/>
              <a:gd name="connsiteX18" fmla="*/ 3938954 w 9475596"/>
              <a:gd name="connsiteY18" fmla="*/ 70338 h 5496448"/>
              <a:gd name="connsiteX19" fmla="*/ 3516923 w 9475596"/>
              <a:gd name="connsiteY19" fmla="*/ 10048 h 5496448"/>
              <a:gd name="connsiteX20" fmla="*/ 1738365 w 9475596"/>
              <a:gd name="connsiteY20" fmla="*/ 0 h 5496448"/>
              <a:gd name="connsiteX21" fmla="*/ 0 w 9475596"/>
              <a:gd name="connsiteY21" fmla="*/ 361741 h 5496448"/>
              <a:gd name="connsiteX22" fmla="*/ 1115367 w 9475596"/>
              <a:gd name="connsiteY22" fmla="*/ 773723 h 5496448"/>
              <a:gd name="connsiteX23" fmla="*/ 2260879 w 9475596"/>
              <a:gd name="connsiteY23" fmla="*/ 1919235 h 5496448"/>
              <a:gd name="connsiteX24" fmla="*/ 2934119 w 9475596"/>
              <a:gd name="connsiteY24" fmla="*/ 1808703 h 5496448"/>
              <a:gd name="connsiteX25" fmla="*/ 3737987 w 9475596"/>
              <a:gd name="connsiteY25" fmla="*/ 2703006 h 5496448"/>
              <a:gd name="connsiteX26" fmla="*/ 4772967 w 9475596"/>
              <a:gd name="connsiteY26" fmla="*/ 2411604 h 5496448"/>
              <a:gd name="connsiteX27" fmla="*/ 7526216 w 9475596"/>
              <a:gd name="connsiteY27" fmla="*/ 5064369 h 5496448"/>
              <a:gd name="connsiteX28" fmla="*/ 6370655 w 9475596"/>
              <a:gd name="connsiteY28" fmla="*/ 5375868 h 5496448"/>
              <a:gd name="connsiteX29" fmla="*/ 6521380 w 9475596"/>
              <a:gd name="connsiteY29" fmla="*/ 5496448 h 5496448"/>
              <a:gd name="connsiteX0" fmla="*/ 6482960 w 9475596"/>
              <a:gd name="connsiteY0" fmla="*/ 5465712 h 5465712"/>
              <a:gd name="connsiteX1" fmla="*/ 7756146 w 9475596"/>
              <a:gd name="connsiteY1" fmla="*/ 5106336 h 5465712"/>
              <a:gd name="connsiteX2" fmla="*/ 6863024 w 9475596"/>
              <a:gd name="connsiteY2" fmla="*/ 4019341 h 5465712"/>
              <a:gd name="connsiteX3" fmla="*/ 9475596 w 9475596"/>
              <a:gd name="connsiteY3" fmla="*/ 3496826 h 5465712"/>
              <a:gd name="connsiteX4" fmla="*/ 9385161 w 9475596"/>
              <a:gd name="connsiteY4" fmla="*/ 3396343 h 5465712"/>
              <a:gd name="connsiteX5" fmla="*/ 6722347 w 9475596"/>
              <a:gd name="connsiteY5" fmla="*/ 3928905 h 5465712"/>
              <a:gd name="connsiteX6" fmla="*/ 4762919 w 9475596"/>
              <a:gd name="connsiteY6" fmla="*/ 2210637 h 5465712"/>
              <a:gd name="connsiteX7" fmla="*/ 3737987 w 9475596"/>
              <a:gd name="connsiteY7" fmla="*/ 2481943 h 5465712"/>
              <a:gd name="connsiteX8" fmla="*/ 2924070 w 9475596"/>
              <a:gd name="connsiteY8" fmla="*/ 1678075 h 5465712"/>
              <a:gd name="connsiteX9" fmla="*/ 2280976 w 9475596"/>
              <a:gd name="connsiteY9" fmla="*/ 1758461 h 5465712"/>
              <a:gd name="connsiteX10" fmla="*/ 1155561 w 9475596"/>
              <a:gd name="connsiteY10" fmla="*/ 62299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15367 w 9475596"/>
              <a:gd name="connsiteY22" fmla="*/ 773723 h 5465712"/>
              <a:gd name="connsiteX23" fmla="*/ 2260879 w 9475596"/>
              <a:gd name="connsiteY23" fmla="*/ 1919235 h 5465712"/>
              <a:gd name="connsiteX24" fmla="*/ 2934119 w 9475596"/>
              <a:gd name="connsiteY24" fmla="*/ 1808703 h 5465712"/>
              <a:gd name="connsiteX25" fmla="*/ 3737987 w 9475596"/>
              <a:gd name="connsiteY25" fmla="*/ 2703006 h 5465712"/>
              <a:gd name="connsiteX26" fmla="*/ 4772967 w 9475596"/>
              <a:gd name="connsiteY26" fmla="*/ 2411604 h 5465712"/>
              <a:gd name="connsiteX27" fmla="*/ 7526216 w 9475596"/>
              <a:gd name="connsiteY27" fmla="*/ 5064369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722347 w 9475596"/>
              <a:gd name="connsiteY5" fmla="*/ 3928905 h 5465712"/>
              <a:gd name="connsiteX6" fmla="*/ 4762919 w 9475596"/>
              <a:gd name="connsiteY6" fmla="*/ 2210637 h 5465712"/>
              <a:gd name="connsiteX7" fmla="*/ 3737987 w 9475596"/>
              <a:gd name="connsiteY7" fmla="*/ 2481943 h 5465712"/>
              <a:gd name="connsiteX8" fmla="*/ 2924070 w 9475596"/>
              <a:gd name="connsiteY8" fmla="*/ 1678075 h 5465712"/>
              <a:gd name="connsiteX9" fmla="*/ 2280976 w 9475596"/>
              <a:gd name="connsiteY9" fmla="*/ 1758461 h 5465712"/>
              <a:gd name="connsiteX10" fmla="*/ 1155561 w 9475596"/>
              <a:gd name="connsiteY10" fmla="*/ 62299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15367 w 9475596"/>
              <a:gd name="connsiteY22" fmla="*/ 773723 h 5465712"/>
              <a:gd name="connsiteX23" fmla="*/ 2260879 w 9475596"/>
              <a:gd name="connsiteY23" fmla="*/ 1919235 h 5465712"/>
              <a:gd name="connsiteX24" fmla="*/ 2934119 w 9475596"/>
              <a:gd name="connsiteY24" fmla="*/ 1808703 h 5465712"/>
              <a:gd name="connsiteX25" fmla="*/ 3737987 w 9475596"/>
              <a:gd name="connsiteY25" fmla="*/ 2703006 h 5465712"/>
              <a:gd name="connsiteX26" fmla="*/ 4772967 w 9475596"/>
              <a:gd name="connsiteY26" fmla="*/ 2411604 h 5465712"/>
              <a:gd name="connsiteX27" fmla="*/ 7526216 w 9475596"/>
              <a:gd name="connsiteY27" fmla="*/ 5064369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637823 w 9475596"/>
              <a:gd name="connsiteY5" fmla="*/ 3928905 h 5465712"/>
              <a:gd name="connsiteX6" fmla="*/ 4762919 w 9475596"/>
              <a:gd name="connsiteY6" fmla="*/ 2210637 h 5465712"/>
              <a:gd name="connsiteX7" fmla="*/ 3737987 w 9475596"/>
              <a:gd name="connsiteY7" fmla="*/ 2481943 h 5465712"/>
              <a:gd name="connsiteX8" fmla="*/ 2924070 w 9475596"/>
              <a:gd name="connsiteY8" fmla="*/ 1678075 h 5465712"/>
              <a:gd name="connsiteX9" fmla="*/ 2280976 w 9475596"/>
              <a:gd name="connsiteY9" fmla="*/ 1758461 h 5465712"/>
              <a:gd name="connsiteX10" fmla="*/ 1155561 w 9475596"/>
              <a:gd name="connsiteY10" fmla="*/ 62299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15367 w 9475596"/>
              <a:gd name="connsiteY22" fmla="*/ 773723 h 5465712"/>
              <a:gd name="connsiteX23" fmla="*/ 2260879 w 9475596"/>
              <a:gd name="connsiteY23" fmla="*/ 1919235 h 5465712"/>
              <a:gd name="connsiteX24" fmla="*/ 2934119 w 9475596"/>
              <a:gd name="connsiteY24" fmla="*/ 1808703 h 5465712"/>
              <a:gd name="connsiteX25" fmla="*/ 3737987 w 9475596"/>
              <a:gd name="connsiteY25" fmla="*/ 2703006 h 5465712"/>
              <a:gd name="connsiteX26" fmla="*/ 4772967 w 9475596"/>
              <a:gd name="connsiteY26" fmla="*/ 2411604 h 5465712"/>
              <a:gd name="connsiteX27" fmla="*/ 7526216 w 9475596"/>
              <a:gd name="connsiteY27" fmla="*/ 5064369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637823 w 9475596"/>
              <a:gd name="connsiteY5" fmla="*/ 3928905 h 5465712"/>
              <a:gd name="connsiteX6" fmla="*/ 4762919 w 9475596"/>
              <a:gd name="connsiteY6" fmla="*/ 2210637 h 5465712"/>
              <a:gd name="connsiteX7" fmla="*/ 3737987 w 9475596"/>
              <a:gd name="connsiteY7" fmla="*/ 2481943 h 5465712"/>
              <a:gd name="connsiteX8" fmla="*/ 2924070 w 9475596"/>
              <a:gd name="connsiteY8" fmla="*/ 1678075 h 5465712"/>
              <a:gd name="connsiteX9" fmla="*/ 2280976 w 9475596"/>
              <a:gd name="connsiteY9" fmla="*/ 1758461 h 5465712"/>
              <a:gd name="connsiteX10" fmla="*/ 1155561 w 9475596"/>
              <a:gd name="connsiteY10" fmla="*/ 62299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15367 w 9475596"/>
              <a:gd name="connsiteY22" fmla="*/ 773723 h 5465712"/>
              <a:gd name="connsiteX23" fmla="*/ 2260879 w 9475596"/>
              <a:gd name="connsiteY23" fmla="*/ 1919235 h 5465712"/>
              <a:gd name="connsiteX24" fmla="*/ 2934119 w 9475596"/>
              <a:gd name="connsiteY24" fmla="*/ 1808703 h 5465712"/>
              <a:gd name="connsiteX25" fmla="*/ 3737987 w 9475596"/>
              <a:gd name="connsiteY25" fmla="*/ 2703006 h 5465712"/>
              <a:gd name="connsiteX26" fmla="*/ 4772967 w 9475596"/>
              <a:gd name="connsiteY26" fmla="*/ 2411604 h 5465712"/>
              <a:gd name="connsiteX27" fmla="*/ 7556952 w 9475596"/>
              <a:gd name="connsiteY27" fmla="*/ 5025948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637823 w 9475596"/>
              <a:gd name="connsiteY5" fmla="*/ 3928905 h 5465712"/>
              <a:gd name="connsiteX6" fmla="*/ 4762919 w 9475596"/>
              <a:gd name="connsiteY6" fmla="*/ 2210637 h 5465712"/>
              <a:gd name="connsiteX7" fmla="*/ 3737987 w 9475596"/>
              <a:gd name="connsiteY7" fmla="*/ 2481943 h 5465712"/>
              <a:gd name="connsiteX8" fmla="*/ 2924070 w 9475596"/>
              <a:gd name="connsiteY8" fmla="*/ 1678075 h 5465712"/>
              <a:gd name="connsiteX9" fmla="*/ 2280976 w 9475596"/>
              <a:gd name="connsiteY9" fmla="*/ 1758461 h 5465712"/>
              <a:gd name="connsiteX10" fmla="*/ 1155561 w 9475596"/>
              <a:gd name="connsiteY10" fmla="*/ 62299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15367 w 9475596"/>
              <a:gd name="connsiteY22" fmla="*/ 773723 h 5465712"/>
              <a:gd name="connsiteX23" fmla="*/ 2260879 w 9475596"/>
              <a:gd name="connsiteY23" fmla="*/ 1919235 h 5465712"/>
              <a:gd name="connsiteX24" fmla="*/ 2934119 w 9475596"/>
              <a:gd name="connsiteY24" fmla="*/ 1808703 h 5465712"/>
              <a:gd name="connsiteX25" fmla="*/ 3737987 w 9475596"/>
              <a:gd name="connsiteY25" fmla="*/ 2703006 h 5465712"/>
              <a:gd name="connsiteX26" fmla="*/ 4772967 w 9475596"/>
              <a:gd name="connsiteY26" fmla="*/ 2411604 h 5465712"/>
              <a:gd name="connsiteX27" fmla="*/ 7518532 w 9475596"/>
              <a:gd name="connsiteY27" fmla="*/ 5041317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37987 w 9475596"/>
              <a:gd name="connsiteY7" fmla="*/ 2481943 h 5465712"/>
              <a:gd name="connsiteX8" fmla="*/ 2924070 w 9475596"/>
              <a:gd name="connsiteY8" fmla="*/ 1678075 h 5465712"/>
              <a:gd name="connsiteX9" fmla="*/ 2280976 w 9475596"/>
              <a:gd name="connsiteY9" fmla="*/ 1758461 h 5465712"/>
              <a:gd name="connsiteX10" fmla="*/ 1155561 w 9475596"/>
              <a:gd name="connsiteY10" fmla="*/ 62299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15367 w 9475596"/>
              <a:gd name="connsiteY22" fmla="*/ 773723 h 5465712"/>
              <a:gd name="connsiteX23" fmla="*/ 2260879 w 9475596"/>
              <a:gd name="connsiteY23" fmla="*/ 1919235 h 5465712"/>
              <a:gd name="connsiteX24" fmla="*/ 2934119 w 9475596"/>
              <a:gd name="connsiteY24" fmla="*/ 1808703 h 5465712"/>
              <a:gd name="connsiteX25" fmla="*/ 3737987 w 9475596"/>
              <a:gd name="connsiteY25" fmla="*/ 2703006 h 5465712"/>
              <a:gd name="connsiteX26" fmla="*/ 4772967 w 9475596"/>
              <a:gd name="connsiteY26" fmla="*/ 2411604 h 5465712"/>
              <a:gd name="connsiteX27" fmla="*/ 7518532 w 9475596"/>
              <a:gd name="connsiteY27" fmla="*/ 5041317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37987 w 9475596"/>
              <a:gd name="connsiteY7" fmla="*/ 2481943 h 5465712"/>
              <a:gd name="connsiteX8" fmla="*/ 2924070 w 9475596"/>
              <a:gd name="connsiteY8" fmla="*/ 1678075 h 5465712"/>
              <a:gd name="connsiteX9" fmla="*/ 2280976 w 9475596"/>
              <a:gd name="connsiteY9" fmla="*/ 1758461 h 5465712"/>
              <a:gd name="connsiteX10" fmla="*/ 1155561 w 9475596"/>
              <a:gd name="connsiteY10" fmla="*/ 62299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15367 w 9475596"/>
              <a:gd name="connsiteY22" fmla="*/ 773723 h 5465712"/>
              <a:gd name="connsiteX23" fmla="*/ 2260879 w 9475596"/>
              <a:gd name="connsiteY23" fmla="*/ 1919235 h 5465712"/>
              <a:gd name="connsiteX24" fmla="*/ 2934119 w 9475596"/>
              <a:gd name="connsiteY24" fmla="*/ 1808703 h 5465712"/>
              <a:gd name="connsiteX25" fmla="*/ 3737987 w 9475596"/>
              <a:gd name="connsiteY25" fmla="*/ 2703006 h 5465712"/>
              <a:gd name="connsiteX26" fmla="*/ 4757598 w 9475596"/>
              <a:gd name="connsiteY26" fmla="*/ 2357816 h 5465712"/>
              <a:gd name="connsiteX27" fmla="*/ 7518532 w 9475596"/>
              <a:gd name="connsiteY27" fmla="*/ 5041317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37987 w 9475596"/>
              <a:gd name="connsiteY7" fmla="*/ 2481943 h 5465712"/>
              <a:gd name="connsiteX8" fmla="*/ 2924070 w 9475596"/>
              <a:gd name="connsiteY8" fmla="*/ 1678075 h 5465712"/>
              <a:gd name="connsiteX9" fmla="*/ 2280976 w 9475596"/>
              <a:gd name="connsiteY9" fmla="*/ 1758461 h 5465712"/>
              <a:gd name="connsiteX10" fmla="*/ 1155561 w 9475596"/>
              <a:gd name="connsiteY10" fmla="*/ 62299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15367 w 9475596"/>
              <a:gd name="connsiteY22" fmla="*/ 773723 h 5465712"/>
              <a:gd name="connsiteX23" fmla="*/ 2260879 w 9475596"/>
              <a:gd name="connsiteY23" fmla="*/ 1919235 h 5465712"/>
              <a:gd name="connsiteX24" fmla="*/ 2934119 w 9475596"/>
              <a:gd name="connsiteY24" fmla="*/ 1808703 h 5465712"/>
              <a:gd name="connsiteX25" fmla="*/ 3814827 w 9475596"/>
              <a:gd name="connsiteY25" fmla="*/ 2626166 h 5465712"/>
              <a:gd name="connsiteX26" fmla="*/ 4757598 w 9475596"/>
              <a:gd name="connsiteY26" fmla="*/ 2357816 h 5465712"/>
              <a:gd name="connsiteX27" fmla="*/ 7518532 w 9475596"/>
              <a:gd name="connsiteY27" fmla="*/ 5041317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2924070 w 9475596"/>
              <a:gd name="connsiteY8" fmla="*/ 1678075 h 5465712"/>
              <a:gd name="connsiteX9" fmla="*/ 2280976 w 9475596"/>
              <a:gd name="connsiteY9" fmla="*/ 1758461 h 5465712"/>
              <a:gd name="connsiteX10" fmla="*/ 1155561 w 9475596"/>
              <a:gd name="connsiteY10" fmla="*/ 62299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15367 w 9475596"/>
              <a:gd name="connsiteY22" fmla="*/ 773723 h 5465712"/>
              <a:gd name="connsiteX23" fmla="*/ 2260879 w 9475596"/>
              <a:gd name="connsiteY23" fmla="*/ 1919235 h 5465712"/>
              <a:gd name="connsiteX24" fmla="*/ 2934119 w 9475596"/>
              <a:gd name="connsiteY24" fmla="*/ 1808703 h 5465712"/>
              <a:gd name="connsiteX25" fmla="*/ 3814827 w 9475596"/>
              <a:gd name="connsiteY25" fmla="*/ 2626166 h 5465712"/>
              <a:gd name="connsiteX26" fmla="*/ 4757598 w 9475596"/>
              <a:gd name="connsiteY26" fmla="*/ 2357816 h 5465712"/>
              <a:gd name="connsiteX27" fmla="*/ 7518532 w 9475596"/>
              <a:gd name="connsiteY27" fmla="*/ 5041317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00910 w 9475596"/>
              <a:gd name="connsiteY8" fmla="*/ 1724179 h 5465712"/>
              <a:gd name="connsiteX9" fmla="*/ 2280976 w 9475596"/>
              <a:gd name="connsiteY9" fmla="*/ 1758461 h 5465712"/>
              <a:gd name="connsiteX10" fmla="*/ 1155561 w 9475596"/>
              <a:gd name="connsiteY10" fmla="*/ 62299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15367 w 9475596"/>
              <a:gd name="connsiteY22" fmla="*/ 773723 h 5465712"/>
              <a:gd name="connsiteX23" fmla="*/ 2260879 w 9475596"/>
              <a:gd name="connsiteY23" fmla="*/ 1919235 h 5465712"/>
              <a:gd name="connsiteX24" fmla="*/ 2934119 w 9475596"/>
              <a:gd name="connsiteY24" fmla="*/ 1808703 h 5465712"/>
              <a:gd name="connsiteX25" fmla="*/ 3814827 w 9475596"/>
              <a:gd name="connsiteY25" fmla="*/ 2626166 h 5465712"/>
              <a:gd name="connsiteX26" fmla="*/ 4757598 w 9475596"/>
              <a:gd name="connsiteY26" fmla="*/ 2357816 h 5465712"/>
              <a:gd name="connsiteX27" fmla="*/ 7518532 w 9475596"/>
              <a:gd name="connsiteY27" fmla="*/ 5041317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00910 w 9475596"/>
              <a:gd name="connsiteY8" fmla="*/ 1724179 h 5465712"/>
              <a:gd name="connsiteX9" fmla="*/ 2280976 w 9475596"/>
              <a:gd name="connsiteY9" fmla="*/ 1758461 h 5465712"/>
              <a:gd name="connsiteX10" fmla="*/ 1155561 w 9475596"/>
              <a:gd name="connsiteY10" fmla="*/ 62299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15367 w 9475596"/>
              <a:gd name="connsiteY22" fmla="*/ 773723 h 5465712"/>
              <a:gd name="connsiteX23" fmla="*/ 2391507 w 9475596"/>
              <a:gd name="connsiteY23" fmla="*/ 1996075 h 5465712"/>
              <a:gd name="connsiteX24" fmla="*/ 2934119 w 9475596"/>
              <a:gd name="connsiteY24" fmla="*/ 1808703 h 5465712"/>
              <a:gd name="connsiteX25" fmla="*/ 3814827 w 9475596"/>
              <a:gd name="connsiteY25" fmla="*/ 2626166 h 5465712"/>
              <a:gd name="connsiteX26" fmla="*/ 4757598 w 9475596"/>
              <a:gd name="connsiteY26" fmla="*/ 2357816 h 5465712"/>
              <a:gd name="connsiteX27" fmla="*/ 7518532 w 9475596"/>
              <a:gd name="connsiteY27" fmla="*/ 5041317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00910 w 9475596"/>
              <a:gd name="connsiteY8" fmla="*/ 1724179 h 5465712"/>
              <a:gd name="connsiteX9" fmla="*/ 2388552 w 9475596"/>
              <a:gd name="connsiteY9" fmla="*/ 1866038 h 5465712"/>
              <a:gd name="connsiteX10" fmla="*/ 1155561 w 9475596"/>
              <a:gd name="connsiteY10" fmla="*/ 62299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15367 w 9475596"/>
              <a:gd name="connsiteY22" fmla="*/ 773723 h 5465712"/>
              <a:gd name="connsiteX23" fmla="*/ 2391507 w 9475596"/>
              <a:gd name="connsiteY23" fmla="*/ 1996075 h 5465712"/>
              <a:gd name="connsiteX24" fmla="*/ 2934119 w 9475596"/>
              <a:gd name="connsiteY24" fmla="*/ 1808703 h 5465712"/>
              <a:gd name="connsiteX25" fmla="*/ 3814827 w 9475596"/>
              <a:gd name="connsiteY25" fmla="*/ 2626166 h 5465712"/>
              <a:gd name="connsiteX26" fmla="*/ 4757598 w 9475596"/>
              <a:gd name="connsiteY26" fmla="*/ 2357816 h 5465712"/>
              <a:gd name="connsiteX27" fmla="*/ 7518532 w 9475596"/>
              <a:gd name="connsiteY27" fmla="*/ 5041317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00910 w 9475596"/>
              <a:gd name="connsiteY8" fmla="*/ 1724179 h 5465712"/>
              <a:gd name="connsiteX9" fmla="*/ 2388552 w 9475596"/>
              <a:gd name="connsiteY9" fmla="*/ 1866038 h 5465712"/>
              <a:gd name="connsiteX10" fmla="*/ 1155561 w 9475596"/>
              <a:gd name="connsiteY10" fmla="*/ 62299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15367 w 9475596"/>
              <a:gd name="connsiteY22" fmla="*/ 773723 h 5465712"/>
              <a:gd name="connsiteX23" fmla="*/ 2391507 w 9475596"/>
              <a:gd name="connsiteY23" fmla="*/ 1996075 h 5465712"/>
              <a:gd name="connsiteX24" fmla="*/ 3003275 w 9475596"/>
              <a:gd name="connsiteY24" fmla="*/ 1862492 h 5465712"/>
              <a:gd name="connsiteX25" fmla="*/ 3814827 w 9475596"/>
              <a:gd name="connsiteY25" fmla="*/ 2626166 h 5465712"/>
              <a:gd name="connsiteX26" fmla="*/ 4757598 w 9475596"/>
              <a:gd name="connsiteY26" fmla="*/ 2357816 h 5465712"/>
              <a:gd name="connsiteX27" fmla="*/ 7518532 w 9475596"/>
              <a:gd name="connsiteY27" fmla="*/ 5041317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155561 w 9475596"/>
              <a:gd name="connsiteY10" fmla="*/ 62299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15367 w 9475596"/>
              <a:gd name="connsiteY22" fmla="*/ 773723 h 5465712"/>
              <a:gd name="connsiteX23" fmla="*/ 2391507 w 9475596"/>
              <a:gd name="connsiteY23" fmla="*/ 1996075 h 5465712"/>
              <a:gd name="connsiteX24" fmla="*/ 3003275 w 9475596"/>
              <a:gd name="connsiteY24" fmla="*/ 1862492 h 5465712"/>
              <a:gd name="connsiteX25" fmla="*/ 3814827 w 9475596"/>
              <a:gd name="connsiteY25" fmla="*/ 2626166 h 5465712"/>
              <a:gd name="connsiteX26" fmla="*/ 4757598 w 9475596"/>
              <a:gd name="connsiteY26" fmla="*/ 2357816 h 5465712"/>
              <a:gd name="connsiteX27" fmla="*/ 7518532 w 9475596"/>
              <a:gd name="connsiteY27" fmla="*/ 5041317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155561 w 9475596"/>
              <a:gd name="connsiteY10" fmla="*/ 62299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15367 w 9475596"/>
              <a:gd name="connsiteY22" fmla="*/ 773723 h 5465712"/>
              <a:gd name="connsiteX23" fmla="*/ 2391507 w 9475596"/>
              <a:gd name="connsiteY23" fmla="*/ 1996075 h 5465712"/>
              <a:gd name="connsiteX24" fmla="*/ 3003275 w 9475596"/>
              <a:gd name="connsiteY24" fmla="*/ 1862492 h 5465712"/>
              <a:gd name="connsiteX25" fmla="*/ 3791774 w 9475596"/>
              <a:gd name="connsiteY25" fmla="*/ 2595430 h 5465712"/>
              <a:gd name="connsiteX26" fmla="*/ 4757598 w 9475596"/>
              <a:gd name="connsiteY26" fmla="*/ 2357816 h 5465712"/>
              <a:gd name="connsiteX27" fmla="*/ 7518532 w 9475596"/>
              <a:gd name="connsiteY27" fmla="*/ 5041317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155561 w 9475596"/>
              <a:gd name="connsiteY10" fmla="*/ 62299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15367 w 9475596"/>
              <a:gd name="connsiteY22" fmla="*/ 773723 h 5465712"/>
              <a:gd name="connsiteX23" fmla="*/ 2391507 w 9475596"/>
              <a:gd name="connsiteY23" fmla="*/ 1996075 h 5465712"/>
              <a:gd name="connsiteX24" fmla="*/ 3003275 w 9475596"/>
              <a:gd name="connsiteY24" fmla="*/ 1862492 h 5465712"/>
              <a:gd name="connsiteX25" fmla="*/ 3791774 w 9475596"/>
              <a:gd name="connsiteY25" fmla="*/ 2580062 h 5465712"/>
              <a:gd name="connsiteX26" fmla="*/ 4757598 w 9475596"/>
              <a:gd name="connsiteY26" fmla="*/ 2357816 h 5465712"/>
              <a:gd name="connsiteX27" fmla="*/ 7518532 w 9475596"/>
              <a:gd name="connsiteY27" fmla="*/ 5041317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155561 w 9475596"/>
              <a:gd name="connsiteY10" fmla="*/ 62299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15367 w 9475596"/>
              <a:gd name="connsiteY22" fmla="*/ 773723 h 5465712"/>
              <a:gd name="connsiteX23" fmla="*/ 2391507 w 9475596"/>
              <a:gd name="connsiteY23" fmla="*/ 1996075 h 5465712"/>
              <a:gd name="connsiteX24" fmla="*/ 3003275 w 9475596"/>
              <a:gd name="connsiteY24" fmla="*/ 1862492 h 5465712"/>
              <a:gd name="connsiteX25" fmla="*/ 3799458 w 9475596"/>
              <a:gd name="connsiteY25" fmla="*/ 2595430 h 5465712"/>
              <a:gd name="connsiteX26" fmla="*/ 4757598 w 9475596"/>
              <a:gd name="connsiteY26" fmla="*/ 2357816 h 5465712"/>
              <a:gd name="connsiteX27" fmla="*/ 7518532 w 9475596"/>
              <a:gd name="connsiteY27" fmla="*/ 5041317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155561 w 9475596"/>
              <a:gd name="connsiteY10" fmla="*/ 62299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15367 w 9475596"/>
              <a:gd name="connsiteY22" fmla="*/ 773723 h 5465712"/>
              <a:gd name="connsiteX23" fmla="*/ 2391507 w 9475596"/>
              <a:gd name="connsiteY23" fmla="*/ 1996075 h 5465712"/>
              <a:gd name="connsiteX24" fmla="*/ 3003275 w 9475596"/>
              <a:gd name="connsiteY24" fmla="*/ 1862492 h 5465712"/>
              <a:gd name="connsiteX25" fmla="*/ 3799458 w 9475596"/>
              <a:gd name="connsiteY25" fmla="*/ 2595430 h 5465712"/>
              <a:gd name="connsiteX26" fmla="*/ 4757598 w 9475596"/>
              <a:gd name="connsiteY26" fmla="*/ 2357816 h 5465712"/>
              <a:gd name="connsiteX27" fmla="*/ 7518532 w 9475596"/>
              <a:gd name="connsiteY27" fmla="*/ 5041317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155561 w 9475596"/>
              <a:gd name="connsiteY10" fmla="*/ 62299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15367 w 9475596"/>
              <a:gd name="connsiteY22" fmla="*/ 773723 h 5465712"/>
              <a:gd name="connsiteX23" fmla="*/ 2391507 w 9475596"/>
              <a:gd name="connsiteY23" fmla="*/ 1996075 h 5465712"/>
              <a:gd name="connsiteX24" fmla="*/ 3003275 w 9475596"/>
              <a:gd name="connsiteY24" fmla="*/ 1862492 h 5465712"/>
              <a:gd name="connsiteX25" fmla="*/ 3799458 w 9475596"/>
              <a:gd name="connsiteY25" fmla="*/ 2595430 h 5465712"/>
              <a:gd name="connsiteX26" fmla="*/ 4757598 w 9475596"/>
              <a:gd name="connsiteY26" fmla="*/ 2357816 h 5465712"/>
              <a:gd name="connsiteX27" fmla="*/ 7518532 w 9475596"/>
              <a:gd name="connsiteY27" fmla="*/ 5041317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15367 w 9475596"/>
              <a:gd name="connsiteY22" fmla="*/ 773723 h 5465712"/>
              <a:gd name="connsiteX23" fmla="*/ 2391507 w 9475596"/>
              <a:gd name="connsiteY23" fmla="*/ 1996075 h 5465712"/>
              <a:gd name="connsiteX24" fmla="*/ 3003275 w 9475596"/>
              <a:gd name="connsiteY24" fmla="*/ 1862492 h 5465712"/>
              <a:gd name="connsiteX25" fmla="*/ 3799458 w 9475596"/>
              <a:gd name="connsiteY25" fmla="*/ 2595430 h 5465712"/>
              <a:gd name="connsiteX26" fmla="*/ 4757598 w 9475596"/>
              <a:gd name="connsiteY26" fmla="*/ 2357816 h 5465712"/>
              <a:gd name="connsiteX27" fmla="*/ 7518532 w 9475596"/>
              <a:gd name="connsiteY27" fmla="*/ 5041317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15367 w 9475596"/>
              <a:gd name="connsiteY22" fmla="*/ 773723 h 5465712"/>
              <a:gd name="connsiteX23" fmla="*/ 2391507 w 9475596"/>
              <a:gd name="connsiteY23" fmla="*/ 1996075 h 5465712"/>
              <a:gd name="connsiteX24" fmla="*/ 3003275 w 9475596"/>
              <a:gd name="connsiteY24" fmla="*/ 1862492 h 5465712"/>
              <a:gd name="connsiteX25" fmla="*/ 3799458 w 9475596"/>
              <a:gd name="connsiteY25" fmla="*/ 2595430 h 5465712"/>
              <a:gd name="connsiteX26" fmla="*/ 4757598 w 9475596"/>
              <a:gd name="connsiteY26" fmla="*/ 2357816 h 5465712"/>
              <a:gd name="connsiteX27" fmla="*/ 7518532 w 9475596"/>
              <a:gd name="connsiteY27" fmla="*/ 5041317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15367 w 9475596"/>
              <a:gd name="connsiteY22" fmla="*/ 773723 h 5465712"/>
              <a:gd name="connsiteX23" fmla="*/ 2391507 w 9475596"/>
              <a:gd name="connsiteY23" fmla="*/ 1996075 h 5465712"/>
              <a:gd name="connsiteX24" fmla="*/ 3003275 w 9475596"/>
              <a:gd name="connsiteY24" fmla="*/ 1862492 h 5465712"/>
              <a:gd name="connsiteX25" fmla="*/ 3799458 w 9475596"/>
              <a:gd name="connsiteY25" fmla="*/ 2595430 h 5465712"/>
              <a:gd name="connsiteX26" fmla="*/ 4757598 w 9475596"/>
              <a:gd name="connsiteY26" fmla="*/ 2357816 h 5465712"/>
              <a:gd name="connsiteX27" fmla="*/ 7518532 w 9475596"/>
              <a:gd name="connsiteY27" fmla="*/ 5041317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53787 w 9475596"/>
              <a:gd name="connsiteY22" fmla="*/ 781407 h 5465712"/>
              <a:gd name="connsiteX23" fmla="*/ 2391507 w 9475596"/>
              <a:gd name="connsiteY23" fmla="*/ 1996075 h 5465712"/>
              <a:gd name="connsiteX24" fmla="*/ 3003275 w 9475596"/>
              <a:gd name="connsiteY24" fmla="*/ 1862492 h 5465712"/>
              <a:gd name="connsiteX25" fmla="*/ 3799458 w 9475596"/>
              <a:gd name="connsiteY25" fmla="*/ 2595430 h 5465712"/>
              <a:gd name="connsiteX26" fmla="*/ 4757598 w 9475596"/>
              <a:gd name="connsiteY26" fmla="*/ 2357816 h 5465712"/>
              <a:gd name="connsiteX27" fmla="*/ 7518532 w 9475596"/>
              <a:gd name="connsiteY27" fmla="*/ 5041317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53787 w 9475596"/>
              <a:gd name="connsiteY22" fmla="*/ 781407 h 5465712"/>
              <a:gd name="connsiteX23" fmla="*/ 2391507 w 9475596"/>
              <a:gd name="connsiteY23" fmla="*/ 1996075 h 5465712"/>
              <a:gd name="connsiteX24" fmla="*/ 3003275 w 9475596"/>
              <a:gd name="connsiteY24" fmla="*/ 1862492 h 5465712"/>
              <a:gd name="connsiteX25" fmla="*/ 3799458 w 9475596"/>
              <a:gd name="connsiteY25" fmla="*/ 2595430 h 5465712"/>
              <a:gd name="connsiteX26" fmla="*/ 4757598 w 9475596"/>
              <a:gd name="connsiteY26" fmla="*/ 2357816 h 5465712"/>
              <a:gd name="connsiteX27" fmla="*/ 7518532 w 9475596"/>
              <a:gd name="connsiteY27" fmla="*/ 5041317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61741 w 9475596"/>
              <a:gd name="connsiteY11" fmla="*/ 381837 h 5465712"/>
              <a:gd name="connsiteX12" fmla="*/ 522514 w 9475596"/>
              <a:gd name="connsiteY12" fmla="*/ 301450 h 5465712"/>
              <a:gd name="connsiteX13" fmla="*/ 874207 w 9475596"/>
              <a:gd name="connsiteY13" fmla="*/ 41198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53787 w 9475596"/>
              <a:gd name="connsiteY22" fmla="*/ 781407 h 5465712"/>
              <a:gd name="connsiteX23" fmla="*/ 2376139 w 9475596"/>
              <a:gd name="connsiteY23" fmla="*/ 2003759 h 5465712"/>
              <a:gd name="connsiteX24" fmla="*/ 3003275 w 9475596"/>
              <a:gd name="connsiteY24" fmla="*/ 1862492 h 5465712"/>
              <a:gd name="connsiteX25" fmla="*/ 3799458 w 9475596"/>
              <a:gd name="connsiteY25" fmla="*/ 2595430 h 5465712"/>
              <a:gd name="connsiteX26" fmla="*/ 4757598 w 9475596"/>
              <a:gd name="connsiteY26" fmla="*/ 2357816 h 5465712"/>
              <a:gd name="connsiteX27" fmla="*/ 7518532 w 9475596"/>
              <a:gd name="connsiteY27" fmla="*/ 5041317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61741 w 9475596"/>
              <a:gd name="connsiteY11" fmla="*/ 381837 h 5465712"/>
              <a:gd name="connsiteX12" fmla="*/ 522514 w 9475596"/>
              <a:gd name="connsiteY12" fmla="*/ 301450 h 5465712"/>
              <a:gd name="connsiteX13" fmla="*/ 981783 w 9475596"/>
              <a:gd name="connsiteY13" fmla="*/ 373562 h 5465712"/>
              <a:gd name="connsiteX14" fmla="*/ 1758462 w 9475596"/>
              <a:gd name="connsiteY14" fmla="*/ 80387 h 5465712"/>
              <a:gd name="connsiteX15" fmla="*/ 2893925 w 9475596"/>
              <a:gd name="connsiteY15" fmla="*/ 120580 h 5465712"/>
              <a:gd name="connsiteX16" fmla="*/ 2813539 w 9475596"/>
              <a:gd name="connsiteY16" fmla="*/ 190919 h 5465712"/>
              <a:gd name="connsiteX17" fmla="*/ 3466681 w 9475596"/>
              <a:gd name="connsiteY17" fmla="*/ 321547 h 5465712"/>
              <a:gd name="connsiteX18" fmla="*/ 3938954 w 9475596"/>
              <a:gd name="connsiteY18" fmla="*/ 70338 h 5465712"/>
              <a:gd name="connsiteX19" fmla="*/ 3516923 w 9475596"/>
              <a:gd name="connsiteY19" fmla="*/ 10048 h 5465712"/>
              <a:gd name="connsiteX20" fmla="*/ 1738365 w 9475596"/>
              <a:gd name="connsiteY20" fmla="*/ 0 h 5465712"/>
              <a:gd name="connsiteX21" fmla="*/ 0 w 9475596"/>
              <a:gd name="connsiteY21" fmla="*/ 361741 h 5465712"/>
              <a:gd name="connsiteX22" fmla="*/ 1153787 w 9475596"/>
              <a:gd name="connsiteY22" fmla="*/ 781407 h 5465712"/>
              <a:gd name="connsiteX23" fmla="*/ 2376139 w 9475596"/>
              <a:gd name="connsiteY23" fmla="*/ 2003759 h 5465712"/>
              <a:gd name="connsiteX24" fmla="*/ 3003275 w 9475596"/>
              <a:gd name="connsiteY24" fmla="*/ 1862492 h 5465712"/>
              <a:gd name="connsiteX25" fmla="*/ 3799458 w 9475596"/>
              <a:gd name="connsiteY25" fmla="*/ 2595430 h 5465712"/>
              <a:gd name="connsiteX26" fmla="*/ 4757598 w 9475596"/>
              <a:gd name="connsiteY26" fmla="*/ 2357816 h 5465712"/>
              <a:gd name="connsiteX27" fmla="*/ 7518532 w 9475596"/>
              <a:gd name="connsiteY27" fmla="*/ 5041317 h 5465712"/>
              <a:gd name="connsiteX28" fmla="*/ 6370655 w 9475596"/>
              <a:gd name="connsiteY28" fmla="*/ 5375868 h 5465712"/>
              <a:gd name="connsiteX29" fmla="*/ 6482960 w 9475596"/>
              <a:gd name="connsiteY29"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61741 w 9475596"/>
              <a:gd name="connsiteY11" fmla="*/ 381837 h 5465712"/>
              <a:gd name="connsiteX12" fmla="*/ 522514 w 9475596"/>
              <a:gd name="connsiteY12" fmla="*/ 301450 h 5465712"/>
              <a:gd name="connsiteX13" fmla="*/ 981783 w 9475596"/>
              <a:gd name="connsiteY13" fmla="*/ 373562 h 5465712"/>
              <a:gd name="connsiteX14" fmla="*/ 1444599 w 9475596"/>
              <a:gd name="connsiteY14" fmla="*/ 96051 h 5465712"/>
              <a:gd name="connsiteX15" fmla="*/ 1758462 w 9475596"/>
              <a:gd name="connsiteY15" fmla="*/ 80387 h 5465712"/>
              <a:gd name="connsiteX16" fmla="*/ 2893925 w 9475596"/>
              <a:gd name="connsiteY16" fmla="*/ 120580 h 5465712"/>
              <a:gd name="connsiteX17" fmla="*/ 2813539 w 9475596"/>
              <a:gd name="connsiteY17" fmla="*/ 190919 h 5465712"/>
              <a:gd name="connsiteX18" fmla="*/ 3466681 w 9475596"/>
              <a:gd name="connsiteY18" fmla="*/ 321547 h 5465712"/>
              <a:gd name="connsiteX19" fmla="*/ 3938954 w 9475596"/>
              <a:gd name="connsiteY19" fmla="*/ 70338 h 5465712"/>
              <a:gd name="connsiteX20" fmla="*/ 3516923 w 9475596"/>
              <a:gd name="connsiteY20" fmla="*/ 10048 h 5465712"/>
              <a:gd name="connsiteX21" fmla="*/ 1738365 w 9475596"/>
              <a:gd name="connsiteY21" fmla="*/ 0 h 5465712"/>
              <a:gd name="connsiteX22" fmla="*/ 0 w 9475596"/>
              <a:gd name="connsiteY22" fmla="*/ 361741 h 5465712"/>
              <a:gd name="connsiteX23" fmla="*/ 1153787 w 9475596"/>
              <a:gd name="connsiteY23" fmla="*/ 781407 h 5465712"/>
              <a:gd name="connsiteX24" fmla="*/ 2376139 w 9475596"/>
              <a:gd name="connsiteY24" fmla="*/ 2003759 h 5465712"/>
              <a:gd name="connsiteX25" fmla="*/ 3003275 w 9475596"/>
              <a:gd name="connsiteY25" fmla="*/ 1862492 h 5465712"/>
              <a:gd name="connsiteX26" fmla="*/ 3799458 w 9475596"/>
              <a:gd name="connsiteY26" fmla="*/ 2595430 h 5465712"/>
              <a:gd name="connsiteX27" fmla="*/ 4757598 w 9475596"/>
              <a:gd name="connsiteY27" fmla="*/ 2357816 h 5465712"/>
              <a:gd name="connsiteX28" fmla="*/ 7518532 w 9475596"/>
              <a:gd name="connsiteY28" fmla="*/ 5041317 h 5465712"/>
              <a:gd name="connsiteX29" fmla="*/ 6370655 w 9475596"/>
              <a:gd name="connsiteY29" fmla="*/ 5375868 h 5465712"/>
              <a:gd name="connsiteX30" fmla="*/ 6482960 w 9475596"/>
              <a:gd name="connsiteY30"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61741 w 9475596"/>
              <a:gd name="connsiteY11" fmla="*/ 381837 h 5465712"/>
              <a:gd name="connsiteX12" fmla="*/ 522514 w 9475596"/>
              <a:gd name="connsiteY12" fmla="*/ 301450 h 5465712"/>
              <a:gd name="connsiteX13" fmla="*/ 981783 w 9475596"/>
              <a:gd name="connsiteY13" fmla="*/ 373562 h 5465712"/>
              <a:gd name="connsiteX14" fmla="*/ 1444599 w 9475596"/>
              <a:gd name="connsiteY14" fmla="*/ 96051 h 5465712"/>
              <a:gd name="connsiteX15" fmla="*/ 1758462 w 9475596"/>
              <a:gd name="connsiteY15" fmla="*/ 65019 h 5465712"/>
              <a:gd name="connsiteX16" fmla="*/ 2893925 w 9475596"/>
              <a:gd name="connsiteY16" fmla="*/ 120580 h 5465712"/>
              <a:gd name="connsiteX17" fmla="*/ 2813539 w 9475596"/>
              <a:gd name="connsiteY17" fmla="*/ 190919 h 5465712"/>
              <a:gd name="connsiteX18" fmla="*/ 3466681 w 9475596"/>
              <a:gd name="connsiteY18" fmla="*/ 321547 h 5465712"/>
              <a:gd name="connsiteX19" fmla="*/ 3938954 w 9475596"/>
              <a:gd name="connsiteY19" fmla="*/ 70338 h 5465712"/>
              <a:gd name="connsiteX20" fmla="*/ 3516923 w 9475596"/>
              <a:gd name="connsiteY20" fmla="*/ 10048 h 5465712"/>
              <a:gd name="connsiteX21" fmla="*/ 1738365 w 9475596"/>
              <a:gd name="connsiteY21" fmla="*/ 0 h 5465712"/>
              <a:gd name="connsiteX22" fmla="*/ 0 w 9475596"/>
              <a:gd name="connsiteY22" fmla="*/ 361741 h 5465712"/>
              <a:gd name="connsiteX23" fmla="*/ 1153787 w 9475596"/>
              <a:gd name="connsiteY23" fmla="*/ 781407 h 5465712"/>
              <a:gd name="connsiteX24" fmla="*/ 2376139 w 9475596"/>
              <a:gd name="connsiteY24" fmla="*/ 2003759 h 5465712"/>
              <a:gd name="connsiteX25" fmla="*/ 3003275 w 9475596"/>
              <a:gd name="connsiteY25" fmla="*/ 1862492 h 5465712"/>
              <a:gd name="connsiteX26" fmla="*/ 3799458 w 9475596"/>
              <a:gd name="connsiteY26" fmla="*/ 2595430 h 5465712"/>
              <a:gd name="connsiteX27" fmla="*/ 4757598 w 9475596"/>
              <a:gd name="connsiteY27" fmla="*/ 2357816 h 5465712"/>
              <a:gd name="connsiteX28" fmla="*/ 7518532 w 9475596"/>
              <a:gd name="connsiteY28" fmla="*/ 5041317 h 5465712"/>
              <a:gd name="connsiteX29" fmla="*/ 6370655 w 9475596"/>
              <a:gd name="connsiteY29" fmla="*/ 5375868 h 5465712"/>
              <a:gd name="connsiteX30" fmla="*/ 6482960 w 9475596"/>
              <a:gd name="connsiteY30"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61741 w 9475596"/>
              <a:gd name="connsiteY11" fmla="*/ 381837 h 5465712"/>
              <a:gd name="connsiteX12" fmla="*/ 522514 w 9475596"/>
              <a:gd name="connsiteY12" fmla="*/ 301450 h 5465712"/>
              <a:gd name="connsiteX13" fmla="*/ 981783 w 9475596"/>
              <a:gd name="connsiteY13" fmla="*/ 373562 h 5465712"/>
              <a:gd name="connsiteX14" fmla="*/ 1475335 w 9475596"/>
              <a:gd name="connsiteY14" fmla="*/ 134471 h 5465712"/>
              <a:gd name="connsiteX15" fmla="*/ 1758462 w 9475596"/>
              <a:gd name="connsiteY15" fmla="*/ 65019 h 5465712"/>
              <a:gd name="connsiteX16" fmla="*/ 2893925 w 9475596"/>
              <a:gd name="connsiteY16" fmla="*/ 120580 h 5465712"/>
              <a:gd name="connsiteX17" fmla="*/ 2813539 w 9475596"/>
              <a:gd name="connsiteY17" fmla="*/ 190919 h 5465712"/>
              <a:gd name="connsiteX18" fmla="*/ 3466681 w 9475596"/>
              <a:gd name="connsiteY18" fmla="*/ 321547 h 5465712"/>
              <a:gd name="connsiteX19" fmla="*/ 3938954 w 9475596"/>
              <a:gd name="connsiteY19" fmla="*/ 70338 h 5465712"/>
              <a:gd name="connsiteX20" fmla="*/ 3516923 w 9475596"/>
              <a:gd name="connsiteY20" fmla="*/ 10048 h 5465712"/>
              <a:gd name="connsiteX21" fmla="*/ 1738365 w 9475596"/>
              <a:gd name="connsiteY21" fmla="*/ 0 h 5465712"/>
              <a:gd name="connsiteX22" fmla="*/ 0 w 9475596"/>
              <a:gd name="connsiteY22" fmla="*/ 361741 h 5465712"/>
              <a:gd name="connsiteX23" fmla="*/ 1153787 w 9475596"/>
              <a:gd name="connsiteY23" fmla="*/ 781407 h 5465712"/>
              <a:gd name="connsiteX24" fmla="*/ 2376139 w 9475596"/>
              <a:gd name="connsiteY24" fmla="*/ 2003759 h 5465712"/>
              <a:gd name="connsiteX25" fmla="*/ 3003275 w 9475596"/>
              <a:gd name="connsiteY25" fmla="*/ 1862492 h 5465712"/>
              <a:gd name="connsiteX26" fmla="*/ 3799458 w 9475596"/>
              <a:gd name="connsiteY26" fmla="*/ 2595430 h 5465712"/>
              <a:gd name="connsiteX27" fmla="*/ 4757598 w 9475596"/>
              <a:gd name="connsiteY27" fmla="*/ 2357816 h 5465712"/>
              <a:gd name="connsiteX28" fmla="*/ 7518532 w 9475596"/>
              <a:gd name="connsiteY28" fmla="*/ 5041317 h 5465712"/>
              <a:gd name="connsiteX29" fmla="*/ 6370655 w 9475596"/>
              <a:gd name="connsiteY29" fmla="*/ 5375868 h 5465712"/>
              <a:gd name="connsiteX30" fmla="*/ 6482960 w 9475596"/>
              <a:gd name="connsiteY30"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61741 w 9475596"/>
              <a:gd name="connsiteY11" fmla="*/ 381837 h 5465712"/>
              <a:gd name="connsiteX12" fmla="*/ 522514 w 9475596"/>
              <a:gd name="connsiteY12" fmla="*/ 301450 h 5465712"/>
              <a:gd name="connsiteX13" fmla="*/ 981783 w 9475596"/>
              <a:gd name="connsiteY13" fmla="*/ 373562 h 5465712"/>
              <a:gd name="connsiteX14" fmla="*/ 1475335 w 9475596"/>
              <a:gd name="connsiteY14" fmla="*/ 134471 h 5465712"/>
              <a:gd name="connsiteX15" fmla="*/ 1735410 w 9475596"/>
              <a:gd name="connsiteY15" fmla="*/ 88071 h 5465712"/>
              <a:gd name="connsiteX16" fmla="*/ 2893925 w 9475596"/>
              <a:gd name="connsiteY16" fmla="*/ 120580 h 5465712"/>
              <a:gd name="connsiteX17" fmla="*/ 2813539 w 9475596"/>
              <a:gd name="connsiteY17" fmla="*/ 190919 h 5465712"/>
              <a:gd name="connsiteX18" fmla="*/ 3466681 w 9475596"/>
              <a:gd name="connsiteY18" fmla="*/ 321547 h 5465712"/>
              <a:gd name="connsiteX19" fmla="*/ 3938954 w 9475596"/>
              <a:gd name="connsiteY19" fmla="*/ 70338 h 5465712"/>
              <a:gd name="connsiteX20" fmla="*/ 3516923 w 9475596"/>
              <a:gd name="connsiteY20" fmla="*/ 10048 h 5465712"/>
              <a:gd name="connsiteX21" fmla="*/ 1738365 w 9475596"/>
              <a:gd name="connsiteY21" fmla="*/ 0 h 5465712"/>
              <a:gd name="connsiteX22" fmla="*/ 0 w 9475596"/>
              <a:gd name="connsiteY22" fmla="*/ 361741 h 5465712"/>
              <a:gd name="connsiteX23" fmla="*/ 1153787 w 9475596"/>
              <a:gd name="connsiteY23" fmla="*/ 781407 h 5465712"/>
              <a:gd name="connsiteX24" fmla="*/ 2376139 w 9475596"/>
              <a:gd name="connsiteY24" fmla="*/ 2003759 h 5465712"/>
              <a:gd name="connsiteX25" fmla="*/ 3003275 w 9475596"/>
              <a:gd name="connsiteY25" fmla="*/ 1862492 h 5465712"/>
              <a:gd name="connsiteX26" fmla="*/ 3799458 w 9475596"/>
              <a:gd name="connsiteY26" fmla="*/ 2595430 h 5465712"/>
              <a:gd name="connsiteX27" fmla="*/ 4757598 w 9475596"/>
              <a:gd name="connsiteY27" fmla="*/ 2357816 h 5465712"/>
              <a:gd name="connsiteX28" fmla="*/ 7518532 w 9475596"/>
              <a:gd name="connsiteY28" fmla="*/ 5041317 h 5465712"/>
              <a:gd name="connsiteX29" fmla="*/ 6370655 w 9475596"/>
              <a:gd name="connsiteY29" fmla="*/ 5375868 h 5465712"/>
              <a:gd name="connsiteX30" fmla="*/ 6482960 w 9475596"/>
              <a:gd name="connsiteY30"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61741 w 9475596"/>
              <a:gd name="connsiteY11" fmla="*/ 381837 h 5465712"/>
              <a:gd name="connsiteX12" fmla="*/ 522514 w 9475596"/>
              <a:gd name="connsiteY12" fmla="*/ 301450 h 5465712"/>
              <a:gd name="connsiteX13" fmla="*/ 981783 w 9475596"/>
              <a:gd name="connsiteY13" fmla="*/ 373562 h 5465712"/>
              <a:gd name="connsiteX14" fmla="*/ 1475335 w 9475596"/>
              <a:gd name="connsiteY14" fmla="*/ 134471 h 5465712"/>
              <a:gd name="connsiteX15" fmla="*/ 1750778 w 9475596"/>
              <a:gd name="connsiteY15" fmla="*/ 72703 h 5465712"/>
              <a:gd name="connsiteX16" fmla="*/ 2893925 w 9475596"/>
              <a:gd name="connsiteY16" fmla="*/ 120580 h 5465712"/>
              <a:gd name="connsiteX17" fmla="*/ 2813539 w 9475596"/>
              <a:gd name="connsiteY17" fmla="*/ 190919 h 5465712"/>
              <a:gd name="connsiteX18" fmla="*/ 3466681 w 9475596"/>
              <a:gd name="connsiteY18" fmla="*/ 321547 h 5465712"/>
              <a:gd name="connsiteX19" fmla="*/ 3938954 w 9475596"/>
              <a:gd name="connsiteY19" fmla="*/ 70338 h 5465712"/>
              <a:gd name="connsiteX20" fmla="*/ 3516923 w 9475596"/>
              <a:gd name="connsiteY20" fmla="*/ 10048 h 5465712"/>
              <a:gd name="connsiteX21" fmla="*/ 1738365 w 9475596"/>
              <a:gd name="connsiteY21" fmla="*/ 0 h 5465712"/>
              <a:gd name="connsiteX22" fmla="*/ 0 w 9475596"/>
              <a:gd name="connsiteY22" fmla="*/ 361741 h 5465712"/>
              <a:gd name="connsiteX23" fmla="*/ 1153787 w 9475596"/>
              <a:gd name="connsiteY23" fmla="*/ 781407 h 5465712"/>
              <a:gd name="connsiteX24" fmla="*/ 2376139 w 9475596"/>
              <a:gd name="connsiteY24" fmla="*/ 2003759 h 5465712"/>
              <a:gd name="connsiteX25" fmla="*/ 3003275 w 9475596"/>
              <a:gd name="connsiteY25" fmla="*/ 1862492 h 5465712"/>
              <a:gd name="connsiteX26" fmla="*/ 3799458 w 9475596"/>
              <a:gd name="connsiteY26" fmla="*/ 2595430 h 5465712"/>
              <a:gd name="connsiteX27" fmla="*/ 4757598 w 9475596"/>
              <a:gd name="connsiteY27" fmla="*/ 2357816 h 5465712"/>
              <a:gd name="connsiteX28" fmla="*/ 7518532 w 9475596"/>
              <a:gd name="connsiteY28" fmla="*/ 5041317 h 5465712"/>
              <a:gd name="connsiteX29" fmla="*/ 6370655 w 9475596"/>
              <a:gd name="connsiteY29" fmla="*/ 5375868 h 5465712"/>
              <a:gd name="connsiteX30" fmla="*/ 6482960 w 9475596"/>
              <a:gd name="connsiteY30"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61741 w 9475596"/>
              <a:gd name="connsiteY11" fmla="*/ 381837 h 5465712"/>
              <a:gd name="connsiteX12" fmla="*/ 522514 w 9475596"/>
              <a:gd name="connsiteY12" fmla="*/ 301450 h 5465712"/>
              <a:gd name="connsiteX13" fmla="*/ 981783 w 9475596"/>
              <a:gd name="connsiteY13" fmla="*/ 373562 h 5465712"/>
              <a:gd name="connsiteX14" fmla="*/ 1475335 w 9475596"/>
              <a:gd name="connsiteY14" fmla="*/ 134471 h 5465712"/>
              <a:gd name="connsiteX15" fmla="*/ 1750778 w 9475596"/>
              <a:gd name="connsiteY15" fmla="*/ 72703 h 5465712"/>
              <a:gd name="connsiteX16" fmla="*/ 2963082 w 9475596"/>
              <a:gd name="connsiteY16" fmla="*/ 82160 h 5465712"/>
              <a:gd name="connsiteX17" fmla="*/ 2813539 w 9475596"/>
              <a:gd name="connsiteY17" fmla="*/ 190919 h 5465712"/>
              <a:gd name="connsiteX18" fmla="*/ 3466681 w 9475596"/>
              <a:gd name="connsiteY18" fmla="*/ 321547 h 5465712"/>
              <a:gd name="connsiteX19" fmla="*/ 3938954 w 9475596"/>
              <a:gd name="connsiteY19" fmla="*/ 70338 h 5465712"/>
              <a:gd name="connsiteX20" fmla="*/ 3516923 w 9475596"/>
              <a:gd name="connsiteY20" fmla="*/ 10048 h 5465712"/>
              <a:gd name="connsiteX21" fmla="*/ 1738365 w 9475596"/>
              <a:gd name="connsiteY21" fmla="*/ 0 h 5465712"/>
              <a:gd name="connsiteX22" fmla="*/ 0 w 9475596"/>
              <a:gd name="connsiteY22" fmla="*/ 361741 h 5465712"/>
              <a:gd name="connsiteX23" fmla="*/ 1153787 w 9475596"/>
              <a:gd name="connsiteY23" fmla="*/ 781407 h 5465712"/>
              <a:gd name="connsiteX24" fmla="*/ 2376139 w 9475596"/>
              <a:gd name="connsiteY24" fmla="*/ 2003759 h 5465712"/>
              <a:gd name="connsiteX25" fmla="*/ 3003275 w 9475596"/>
              <a:gd name="connsiteY25" fmla="*/ 1862492 h 5465712"/>
              <a:gd name="connsiteX26" fmla="*/ 3799458 w 9475596"/>
              <a:gd name="connsiteY26" fmla="*/ 2595430 h 5465712"/>
              <a:gd name="connsiteX27" fmla="*/ 4757598 w 9475596"/>
              <a:gd name="connsiteY27" fmla="*/ 2357816 h 5465712"/>
              <a:gd name="connsiteX28" fmla="*/ 7518532 w 9475596"/>
              <a:gd name="connsiteY28" fmla="*/ 5041317 h 5465712"/>
              <a:gd name="connsiteX29" fmla="*/ 6370655 w 9475596"/>
              <a:gd name="connsiteY29" fmla="*/ 5375868 h 5465712"/>
              <a:gd name="connsiteX30" fmla="*/ 6482960 w 9475596"/>
              <a:gd name="connsiteY30"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61741 w 9475596"/>
              <a:gd name="connsiteY11" fmla="*/ 381837 h 5465712"/>
              <a:gd name="connsiteX12" fmla="*/ 522514 w 9475596"/>
              <a:gd name="connsiteY12" fmla="*/ 301450 h 5465712"/>
              <a:gd name="connsiteX13" fmla="*/ 981783 w 9475596"/>
              <a:gd name="connsiteY13" fmla="*/ 373562 h 5465712"/>
              <a:gd name="connsiteX14" fmla="*/ 1475335 w 9475596"/>
              <a:gd name="connsiteY14" fmla="*/ 134471 h 5465712"/>
              <a:gd name="connsiteX15" fmla="*/ 1750778 w 9475596"/>
              <a:gd name="connsiteY15" fmla="*/ 72703 h 5465712"/>
              <a:gd name="connsiteX16" fmla="*/ 2963082 w 9475596"/>
              <a:gd name="connsiteY16" fmla="*/ 82160 h 5465712"/>
              <a:gd name="connsiteX17" fmla="*/ 2767435 w 9475596"/>
              <a:gd name="connsiteY17" fmla="*/ 190919 h 5465712"/>
              <a:gd name="connsiteX18" fmla="*/ 3466681 w 9475596"/>
              <a:gd name="connsiteY18" fmla="*/ 321547 h 5465712"/>
              <a:gd name="connsiteX19" fmla="*/ 3938954 w 9475596"/>
              <a:gd name="connsiteY19" fmla="*/ 70338 h 5465712"/>
              <a:gd name="connsiteX20" fmla="*/ 3516923 w 9475596"/>
              <a:gd name="connsiteY20" fmla="*/ 10048 h 5465712"/>
              <a:gd name="connsiteX21" fmla="*/ 1738365 w 9475596"/>
              <a:gd name="connsiteY21" fmla="*/ 0 h 5465712"/>
              <a:gd name="connsiteX22" fmla="*/ 0 w 9475596"/>
              <a:gd name="connsiteY22" fmla="*/ 361741 h 5465712"/>
              <a:gd name="connsiteX23" fmla="*/ 1153787 w 9475596"/>
              <a:gd name="connsiteY23" fmla="*/ 781407 h 5465712"/>
              <a:gd name="connsiteX24" fmla="*/ 2376139 w 9475596"/>
              <a:gd name="connsiteY24" fmla="*/ 2003759 h 5465712"/>
              <a:gd name="connsiteX25" fmla="*/ 3003275 w 9475596"/>
              <a:gd name="connsiteY25" fmla="*/ 1862492 h 5465712"/>
              <a:gd name="connsiteX26" fmla="*/ 3799458 w 9475596"/>
              <a:gd name="connsiteY26" fmla="*/ 2595430 h 5465712"/>
              <a:gd name="connsiteX27" fmla="*/ 4757598 w 9475596"/>
              <a:gd name="connsiteY27" fmla="*/ 2357816 h 5465712"/>
              <a:gd name="connsiteX28" fmla="*/ 7518532 w 9475596"/>
              <a:gd name="connsiteY28" fmla="*/ 5041317 h 5465712"/>
              <a:gd name="connsiteX29" fmla="*/ 6370655 w 9475596"/>
              <a:gd name="connsiteY29" fmla="*/ 5375868 h 5465712"/>
              <a:gd name="connsiteX30" fmla="*/ 6482960 w 9475596"/>
              <a:gd name="connsiteY30"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77109 w 9475596"/>
              <a:gd name="connsiteY11" fmla="*/ 397205 h 5465712"/>
              <a:gd name="connsiteX12" fmla="*/ 522514 w 9475596"/>
              <a:gd name="connsiteY12" fmla="*/ 301450 h 5465712"/>
              <a:gd name="connsiteX13" fmla="*/ 981783 w 9475596"/>
              <a:gd name="connsiteY13" fmla="*/ 373562 h 5465712"/>
              <a:gd name="connsiteX14" fmla="*/ 1475335 w 9475596"/>
              <a:gd name="connsiteY14" fmla="*/ 134471 h 5465712"/>
              <a:gd name="connsiteX15" fmla="*/ 1750778 w 9475596"/>
              <a:gd name="connsiteY15" fmla="*/ 72703 h 5465712"/>
              <a:gd name="connsiteX16" fmla="*/ 2963082 w 9475596"/>
              <a:gd name="connsiteY16" fmla="*/ 82160 h 5465712"/>
              <a:gd name="connsiteX17" fmla="*/ 2767435 w 9475596"/>
              <a:gd name="connsiteY17" fmla="*/ 190919 h 5465712"/>
              <a:gd name="connsiteX18" fmla="*/ 3466681 w 9475596"/>
              <a:gd name="connsiteY18" fmla="*/ 321547 h 5465712"/>
              <a:gd name="connsiteX19" fmla="*/ 3938954 w 9475596"/>
              <a:gd name="connsiteY19" fmla="*/ 70338 h 5465712"/>
              <a:gd name="connsiteX20" fmla="*/ 3516923 w 9475596"/>
              <a:gd name="connsiteY20" fmla="*/ 10048 h 5465712"/>
              <a:gd name="connsiteX21" fmla="*/ 1738365 w 9475596"/>
              <a:gd name="connsiteY21" fmla="*/ 0 h 5465712"/>
              <a:gd name="connsiteX22" fmla="*/ 0 w 9475596"/>
              <a:gd name="connsiteY22" fmla="*/ 361741 h 5465712"/>
              <a:gd name="connsiteX23" fmla="*/ 1153787 w 9475596"/>
              <a:gd name="connsiteY23" fmla="*/ 781407 h 5465712"/>
              <a:gd name="connsiteX24" fmla="*/ 2376139 w 9475596"/>
              <a:gd name="connsiteY24" fmla="*/ 2003759 h 5465712"/>
              <a:gd name="connsiteX25" fmla="*/ 3003275 w 9475596"/>
              <a:gd name="connsiteY25" fmla="*/ 1862492 h 5465712"/>
              <a:gd name="connsiteX26" fmla="*/ 3799458 w 9475596"/>
              <a:gd name="connsiteY26" fmla="*/ 2595430 h 5465712"/>
              <a:gd name="connsiteX27" fmla="*/ 4757598 w 9475596"/>
              <a:gd name="connsiteY27" fmla="*/ 2357816 h 5465712"/>
              <a:gd name="connsiteX28" fmla="*/ 7518532 w 9475596"/>
              <a:gd name="connsiteY28" fmla="*/ 5041317 h 5465712"/>
              <a:gd name="connsiteX29" fmla="*/ 6370655 w 9475596"/>
              <a:gd name="connsiteY29" fmla="*/ 5375868 h 5465712"/>
              <a:gd name="connsiteX30" fmla="*/ 6482960 w 9475596"/>
              <a:gd name="connsiteY30"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77109 w 9475596"/>
              <a:gd name="connsiteY11" fmla="*/ 397205 h 5465712"/>
              <a:gd name="connsiteX12" fmla="*/ 537882 w 9475596"/>
              <a:gd name="connsiteY12" fmla="*/ 316818 h 5465712"/>
              <a:gd name="connsiteX13" fmla="*/ 981783 w 9475596"/>
              <a:gd name="connsiteY13" fmla="*/ 373562 h 5465712"/>
              <a:gd name="connsiteX14" fmla="*/ 1475335 w 9475596"/>
              <a:gd name="connsiteY14" fmla="*/ 134471 h 5465712"/>
              <a:gd name="connsiteX15" fmla="*/ 1750778 w 9475596"/>
              <a:gd name="connsiteY15" fmla="*/ 72703 h 5465712"/>
              <a:gd name="connsiteX16" fmla="*/ 2963082 w 9475596"/>
              <a:gd name="connsiteY16" fmla="*/ 82160 h 5465712"/>
              <a:gd name="connsiteX17" fmla="*/ 2767435 w 9475596"/>
              <a:gd name="connsiteY17" fmla="*/ 190919 h 5465712"/>
              <a:gd name="connsiteX18" fmla="*/ 3466681 w 9475596"/>
              <a:gd name="connsiteY18" fmla="*/ 321547 h 5465712"/>
              <a:gd name="connsiteX19" fmla="*/ 3938954 w 9475596"/>
              <a:gd name="connsiteY19" fmla="*/ 70338 h 5465712"/>
              <a:gd name="connsiteX20" fmla="*/ 3516923 w 9475596"/>
              <a:gd name="connsiteY20" fmla="*/ 10048 h 5465712"/>
              <a:gd name="connsiteX21" fmla="*/ 1738365 w 9475596"/>
              <a:gd name="connsiteY21" fmla="*/ 0 h 5465712"/>
              <a:gd name="connsiteX22" fmla="*/ 0 w 9475596"/>
              <a:gd name="connsiteY22" fmla="*/ 361741 h 5465712"/>
              <a:gd name="connsiteX23" fmla="*/ 1153787 w 9475596"/>
              <a:gd name="connsiteY23" fmla="*/ 781407 h 5465712"/>
              <a:gd name="connsiteX24" fmla="*/ 2376139 w 9475596"/>
              <a:gd name="connsiteY24" fmla="*/ 2003759 h 5465712"/>
              <a:gd name="connsiteX25" fmla="*/ 3003275 w 9475596"/>
              <a:gd name="connsiteY25" fmla="*/ 1862492 h 5465712"/>
              <a:gd name="connsiteX26" fmla="*/ 3799458 w 9475596"/>
              <a:gd name="connsiteY26" fmla="*/ 2595430 h 5465712"/>
              <a:gd name="connsiteX27" fmla="*/ 4757598 w 9475596"/>
              <a:gd name="connsiteY27" fmla="*/ 2357816 h 5465712"/>
              <a:gd name="connsiteX28" fmla="*/ 7518532 w 9475596"/>
              <a:gd name="connsiteY28" fmla="*/ 5041317 h 5465712"/>
              <a:gd name="connsiteX29" fmla="*/ 6370655 w 9475596"/>
              <a:gd name="connsiteY29" fmla="*/ 5375868 h 5465712"/>
              <a:gd name="connsiteX30" fmla="*/ 6482960 w 9475596"/>
              <a:gd name="connsiteY30"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77109 w 9475596"/>
              <a:gd name="connsiteY11" fmla="*/ 397205 h 5465712"/>
              <a:gd name="connsiteX12" fmla="*/ 537882 w 9475596"/>
              <a:gd name="connsiteY12" fmla="*/ 316818 h 5465712"/>
              <a:gd name="connsiteX13" fmla="*/ 981783 w 9475596"/>
              <a:gd name="connsiteY13" fmla="*/ 373562 h 5465712"/>
              <a:gd name="connsiteX14" fmla="*/ 1475335 w 9475596"/>
              <a:gd name="connsiteY14" fmla="*/ 134471 h 5465712"/>
              <a:gd name="connsiteX15" fmla="*/ 1750778 w 9475596"/>
              <a:gd name="connsiteY15" fmla="*/ 72703 h 5465712"/>
              <a:gd name="connsiteX16" fmla="*/ 2963082 w 9475596"/>
              <a:gd name="connsiteY16" fmla="*/ 82160 h 5465712"/>
              <a:gd name="connsiteX17" fmla="*/ 2767435 w 9475596"/>
              <a:gd name="connsiteY17" fmla="*/ 190919 h 5465712"/>
              <a:gd name="connsiteX18" fmla="*/ 3466681 w 9475596"/>
              <a:gd name="connsiteY18" fmla="*/ 321547 h 5465712"/>
              <a:gd name="connsiteX19" fmla="*/ 3938954 w 9475596"/>
              <a:gd name="connsiteY19" fmla="*/ 70338 h 5465712"/>
              <a:gd name="connsiteX20" fmla="*/ 3516923 w 9475596"/>
              <a:gd name="connsiteY20" fmla="*/ 10048 h 5465712"/>
              <a:gd name="connsiteX21" fmla="*/ 1738365 w 9475596"/>
              <a:gd name="connsiteY21" fmla="*/ 0 h 5465712"/>
              <a:gd name="connsiteX22" fmla="*/ 0 w 9475596"/>
              <a:gd name="connsiteY22" fmla="*/ 361741 h 5465712"/>
              <a:gd name="connsiteX23" fmla="*/ 1153787 w 9475596"/>
              <a:gd name="connsiteY23" fmla="*/ 781407 h 5465712"/>
              <a:gd name="connsiteX24" fmla="*/ 2376139 w 9475596"/>
              <a:gd name="connsiteY24" fmla="*/ 2003759 h 5465712"/>
              <a:gd name="connsiteX25" fmla="*/ 3003275 w 9475596"/>
              <a:gd name="connsiteY25" fmla="*/ 1862492 h 5465712"/>
              <a:gd name="connsiteX26" fmla="*/ 3799458 w 9475596"/>
              <a:gd name="connsiteY26" fmla="*/ 2595430 h 5465712"/>
              <a:gd name="connsiteX27" fmla="*/ 4757598 w 9475596"/>
              <a:gd name="connsiteY27" fmla="*/ 2357816 h 5465712"/>
              <a:gd name="connsiteX28" fmla="*/ 7518532 w 9475596"/>
              <a:gd name="connsiteY28" fmla="*/ 5041317 h 5465712"/>
              <a:gd name="connsiteX29" fmla="*/ 6370655 w 9475596"/>
              <a:gd name="connsiteY29" fmla="*/ 5375868 h 5465712"/>
              <a:gd name="connsiteX30" fmla="*/ 6482960 w 9475596"/>
              <a:gd name="connsiteY30"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77109 w 9475596"/>
              <a:gd name="connsiteY11" fmla="*/ 397205 h 5465712"/>
              <a:gd name="connsiteX12" fmla="*/ 537882 w 9475596"/>
              <a:gd name="connsiteY12" fmla="*/ 316818 h 5465712"/>
              <a:gd name="connsiteX13" fmla="*/ 981783 w 9475596"/>
              <a:gd name="connsiteY13" fmla="*/ 373562 h 5465712"/>
              <a:gd name="connsiteX14" fmla="*/ 1475335 w 9475596"/>
              <a:gd name="connsiteY14" fmla="*/ 134471 h 5465712"/>
              <a:gd name="connsiteX15" fmla="*/ 1750778 w 9475596"/>
              <a:gd name="connsiteY15" fmla="*/ 72703 h 5465712"/>
              <a:gd name="connsiteX16" fmla="*/ 2963082 w 9475596"/>
              <a:gd name="connsiteY16" fmla="*/ 82160 h 5465712"/>
              <a:gd name="connsiteX17" fmla="*/ 2767435 w 9475596"/>
              <a:gd name="connsiteY17" fmla="*/ 190919 h 5465712"/>
              <a:gd name="connsiteX18" fmla="*/ 3466681 w 9475596"/>
              <a:gd name="connsiteY18" fmla="*/ 321547 h 5465712"/>
              <a:gd name="connsiteX19" fmla="*/ 3938954 w 9475596"/>
              <a:gd name="connsiteY19" fmla="*/ 70338 h 5465712"/>
              <a:gd name="connsiteX20" fmla="*/ 3516923 w 9475596"/>
              <a:gd name="connsiteY20" fmla="*/ 10048 h 5465712"/>
              <a:gd name="connsiteX21" fmla="*/ 1738365 w 9475596"/>
              <a:gd name="connsiteY21" fmla="*/ 0 h 5465712"/>
              <a:gd name="connsiteX22" fmla="*/ 0 w 9475596"/>
              <a:gd name="connsiteY22" fmla="*/ 361741 h 5465712"/>
              <a:gd name="connsiteX23" fmla="*/ 1153787 w 9475596"/>
              <a:gd name="connsiteY23" fmla="*/ 781407 h 5465712"/>
              <a:gd name="connsiteX24" fmla="*/ 2376139 w 9475596"/>
              <a:gd name="connsiteY24" fmla="*/ 2003759 h 5465712"/>
              <a:gd name="connsiteX25" fmla="*/ 3003275 w 9475596"/>
              <a:gd name="connsiteY25" fmla="*/ 1862492 h 5465712"/>
              <a:gd name="connsiteX26" fmla="*/ 3799458 w 9475596"/>
              <a:gd name="connsiteY26" fmla="*/ 2595430 h 5465712"/>
              <a:gd name="connsiteX27" fmla="*/ 4757598 w 9475596"/>
              <a:gd name="connsiteY27" fmla="*/ 2357816 h 5465712"/>
              <a:gd name="connsiteX28" fmla="*/ 7518532 w 9475596"/>
              <a:gd name="connsiteY28" fmla="*/ 5041317 h 5465712"/>
              <a:gd name="connsiteX29" fmla="*/ 6370655 w 9475596"/>
              <a:gd name="connsiteY29" fmla="*/ 5375868 h 5465712"/>
              <a:gd name="connsiteX30" fmla="*/ 6482960 w 9475596"/>
              <a:gd name="connsiteY30"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77109 w 9475596"/>
              <a:gd name="connsiteY11" fmla="*/ 397205 h 5465712"/>
              <a:gd name="connsiteX12" fmla="*/ 599354 w 9475596"/>
              <a:gd name="connsiteY12" fmla="*/ 309134 h 5465712"/>
              <a:gd name="connsiteX13" fmla="*/ 981783 w 9475596"/>
              <a:gd name="connsiteY13" fmla="*/ 373562 h 5465712"/>
              <a:gd name="connsiteX14" fmla="*/ 1475335 w 9475596"/>
              <a:gd name="connsiteY14" fmla="*/ 134471 h 5465712"/>
              <a:gd name="connsiteX15" fmla="*/ 1750778 w 9475596"/>
              <a:gd name="connsiteY15" fmla="*/ 72703 h 5465712"/>
              <a:gd name="connsiteX16" fmla="*/ 2963082 w 9475596"/>
              <a:gd name="connsiteY16" fmla="*/ 82160 h 5465712"/>
              <a:gd name="connsiteX17" fmla="*/ 2767435 w 9475596"/>
              <a:gd name="connsiteY17" fmla="*/ 190919 h 5465712"/>
              <a:gd name="connsiteX18" fmla="*/ 3466681 w 9475596"/>
              <a:gd name="connsiteY18" fmla="*/ 321547 h 5465712"/>
              <a:gd name="connsiteX19" fmla="*/ 3938954 w 9475596"/>
              <a:gd name="connsiteY19" fmla="*/ 70338 h 5465712"/>
              <a:gd name="connsiteX20" fmla="*/ 3516923 w 9475596"/>
              <a:gd name="connsiteY20" fmla="*/ 10048 h 5465712"/>
              <a:gd name="connsiteX21" fmla="*/ 1738365 w 9475596"/>
              <a:gd name="connsiteY21" fmla="*/ 0 h 5465712"/>
              <a:gd name="connsiteX22" fmla="*/ 0 w 9475596"/>
              <a:gd name="connsiteY22" fmla="*/ 361741 h 5465712"/>
              <a:gd name="connsiteX23" fmla="*/ 1153787 w 9475596"/>
              <a:gd name="connsiteY23" fmla="*/ 781407 h 5465712"/>
              <a:gd name="connsiteX24" fmla="*/ 2376139 w 9475596"/>
              <a:gd name="connsiteY24" fmla="*/ 2003759 h 5465712"/>
              <a:gd name="connsiteX25" fmla="*/ 3003275 w 9475596"/>
              <a:gd name="connsiteY25" fmla="*/ 1862492 h 5465712"/>
              <a:gd name="connsiteX26" fmla="*/ 3799458 w 9475596"/>
              <a:gd name="connsiteY26" fmla="*/ 2595430 h 5465712"/>
              <a:gd name="connsiteX27" fmla="*/ 4757598 w 9475596"/>
              <a:gd name="connsiteY27" fmla="*/ 2357816 h 5465712"/>
              <a:gd name="connsiteX28" fmla="*/ 7518532 w 9475596"/>
              <a:gd name="connsiteY28" fmla="*/ 5041317 h 5465712"/>
              <a:gd name="connsiteX29" fmla="*/ 6370655 w 9475596"/>
              <a:gd name="connsiteY29" fmla="*/ 5375868 h 5465712"/>
              <a:gd name="connsiteX30" fmla="*/ 6482960 w 9475596"/>
              <a:gd name="connsiteY30"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00268 w 9475596"/>
              <a:gd name="connsiteY11" fmla="*/ 374153 h 5465712"/>
              <a:gd name="connsiteX12" fmla="*/ 599354 w 9475596"/>
              <a:gd name="connsiteY12" fmla="*/ 309134 h 5465712"/>
              <a:gd name="connsiteX13" fmla="*/ 981783 w 9475596"/>
              <a:gd name="connsiteY13" fmla="*/ 373562 h 5465712"/>
              <a:gd name="connsiteX14" fmla="*/ 1475335 w 9475596"/>
              <a:gd name="connsiteY14" fmla="*/ 134471 h 5465712"/>
              <a:gd name="connsiteX15" fmla="*/ 1750778 w 9475596"/>
              <a:gd name="connsiteY15" fmla="*/ 72703 h 5465712"/>
              <a:gd name="connsiteX16" fmla="*/ 2963082 w 9475596"/>
              <a:gd name="connsiteY16" fmla="*/ 82160 h 5465712"/>
              <a:gd name="connsiteX17" fmla="*/ 2767435 w 9475596"/>
              <a:gd name="connsiteY17" fmla="*/ 190919 h 5465712"/>
              <a:gd name="connsiteX18" fmla="*/ 3466681 w 9475596"/>
              <a:gd name="connsiteY18" fmla="*/ 321547 h 5465712"/>
              <a:gd name="connsiteX19" fmla="*/ 3938954 w 9475596"/>
              <a:gd name="connsiteY19" fmla="*/ 70338 h 5465712"/>
              <a:gd name="connsiteX20" fmla="*/ 3516923 w 9475596"/>
              <a:gd name="connsiteY20" fmla="*/ 10048 h 5465712"/>
              <a:gd name="connsiteX21" fmla="*/ 1738365 w 9475596"/>
              <a:gd name="connsiteY21" fmla="*/ 0 h 5465712"/>
              <a:gd name="connsiteX22" fmla="*/ 0 w 9475596"/>
              <a:gd name="connsiteY22" fmla="*/ 361741 h 5465712"/>
              <a:gd name="connsiteX23" fmla="*/ 1153787 w 9475596"/>
              <a:gd name="connsiteY23" fmla="*/ 781407 h 5465712"/>
              <a:gd name="connsiteX24" fmla="*/ 2376139 w 9475596"/>
              <a:gd name="connsiteY24" fmla="*/ 2003759 h 5465712"/>
              <a:gd name="connsiteX25" fmla="*/ 3003275 w 9475596"/>
              <a:gd name="connsiteY25" fmla="*/ 1862492 h 5465712"/>
              <a:gd name="connsiteX26" fmla="*/ 3799458 w 9475596"/>
              <a:gd name="connsiteY26" fmla="*/ 2595430 h 5465712"/>
              <a:gd name="connsiteX27" fmla="*/ 4757598 w 9475596"/>
              <a:gd name="connsiteY27" fmla="*/ 2357816 h 5465712"/>
              <a:gd name="connsiteX28" fmla="*/ 7518532 w 9475596"/>
              <a:gd name="connsiteY28" fmla="*/ 5041317 h 5465712"/>
              <a:gd name="connsiteX29" fmla="*/ 6370655 w 9475596"/>
              <a:gd name="connsiteY29" fmla="*/ 5375868 h 5465712"/>
              <a:gd name="connsiteX30" fmla="*/ 6482960 w 9475596"/>
              <a:gd name="connsiteY30"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00268 w 9475596"/>
              <a:gd name="connsiteY11" fmla="*/ 374153 h 5465712"/>
              <a:gd name="connsiteX12" fmla="*/ 599354 w 9475596"/>
              <a:gd name="connsiteY12" fmla="*/ 309134 h 5465712"/>
              <a:gd name="connsiteX13" fmla="*/ 981783 w 9475596"/>
              <a:gd name="connsiteY13" fmla="*/ 373562 h 5465712"/>
              <a:gd name="connsiteX14" fmla="*/ 1475335 w 9475596"/>
              <a:gd name="connsiteY14" fmla="*/ 134471 h 5465712"/>
              <a:gd name="connsiteX15" fmla="*/ 1750778 w 9475596"/>
              <a:gd name="connsiteY15" fmla="*/ 72703 h 5465712"/>
              <a:gd name="connsiteX16" fmla="*/ 2963082 w 9475596"/>
              <a:gd name="connsiteY16" fmla="*/ 82160 h 5465712"/>
              <a:gd name="connsiteX17" fmla="*/ 2767435 w 9475596"/>
              <a:gd name="connsiteY17" fmla="*/ 190919 h 5465712"/>
              <a:gd name="connsiteX18" fmla="*/ 3466681 w 9475596"/>
              <a:gd name="connsiteY18" fmla="*/ 321547 h 5465712"/>
              <a:gd name="connsiteX19" fmla="*/ 3938954 w 9475596"/>
              <a:gd name="connsiteY19" fmla="*/ 70338 h 5465712"/>
              <a:gd name="connsiteX20" fmla="*/ 3516923 w 9475596"/>
              <a:gd name="connsiteY20" fmla="*/ 10048 h 5465712"/>
              <a:gd name="connsiteX21" fmla="*/ 1738365 w 9475596"/>
              <a:gd name="connsiteY21" fmla="*/ 0 h 5465712"/>
              <a:gd name="connsiteX22" fmla="*/ 0 w 9475596"/>
              <a:gd name="connsiteY22" fmla="*/ 361741 h 5465712"/>
              <a:gd name="connsiteX23" fmla="*/ 1153787 w 9475596"/>
              <a:gd name="connsiteY23" fmla="*/ 781407 h 5465712"/>
              <a:gd name="connsiteX24" fmla="*/ 2376139 w 9475596"/>
              <a:gd name="connsiteY24" fmla="*/ 2003759 h 5465712"/>
              <a:gd name="connsiteX25" fmla="*/ 3003275 w 9475596"/>
              <a:gd name="connsiteY25" fmla="*/ 1862492 h 5465712"/>
              <a:gd name="connsiteX26" fmla="*/ 3799458 w 9475596"/>
              <a:gd name="connsiteY26" fmla="*/ 2595430 h 5465712"/>
              <a:gd name="connsiteX27" fmla="*/ 4757598 w 9475596"/>
              <a:gd name="connsiteY27" fmla="*/ 2357816 h 5465712"/>
              <a:gd name="connsiteX28" fmla="*/ 7518532 w 9475596"/>
              <a:gd name="connsiteY28" fmla="*/ 5041317 h 5465712"/>
              <a:gd name="connsiteX29" fmla="*/ 6370655 w 9475596"/>
              <a:gd name="connsiteY29" fmla="*/ 5375868 h 5465712"/>
              <a:gd name="connsiteX30" fmla="*/ 6482960 w 9475596"/>
              <a:gd name="connsiteY30"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23320 w 9475596"/>
              <a:gd name="connsiteY11" fmla="*/ 381837 h 5465712"/>
              <a:gd name="connsiteX12" fmla="*/ 599354 w 9475596"/>
              <a:gd name="connsiteY12" fmla="*/ 309134 h 5465712"/>
              <a:gd name="connsiteX13" fmla="*/ 981783 w 9475596"/>
              <a:gd name="connsiteY13" fmla="*/ 373562 h 5465712"/>
              <a:gd name="connsiteX14" fmla="*/ 1475335 w 9475596"/>
              <a:gd name="connsiteY14" fmla="*/ 134471 h 5465712"/>
              <a:gd name="connsiteX15" fmla="*/ 1750778 w 9475596"/>
              <a:gd name="connsiteY15" fmla="*/ 72703 h 5465712"/>
              <a:gd name="connsiteX16" fmla="*/ 2963082 w 9475596"/>
              <a:gd name="connsiteY16" fmla="*/ 82160 h 5465712"/>
              <a:gd name="connsiteX17" fmla="*/ 2767435 w 9475596"/>
              <a:gd name="connsiteY17" fmla="*/ 190919 h 5465712"/>
              <a:gd name="connsiteX18" fmla="*/ 3466681 w 9475596"/>
              <a:gd name="connsiteY18" fmla="*/ 321547 h 5465712"/>
              <a:gd name="connsiteX19" fmla="*/ 3938954 w 9475596"/>
              <a:gd name="connsiteY19" fmla="*/ 70338 h 5465712"/>
              <a:gd name="connsiteX20" fmla="*/ 3516923 w 9475596"/>
              <a:gd name="connsiteY20" fmla="*/ 10048 h 5465712"/>
              <a:gd name="connsiteX21" fmla="*/ 1738365 w 9475596"/>
              <a:gd name="connsiteY21" fmla="*/ 0 h 5465712"/>
              <a:gd name="connsiteX22" fmla="*/ 0 w 9475596"/>
              <a:gd name="connsiteY22" fmla="*/ 361741 h 5465712"/>
              <a:gd name="connsiteX23" fmla="*/ 1153787 w 9475596"/>
              <a:gd name="connsiteY23" fmla="*/ 781407 h 5465712"/>
              <a:gd name="connsiteX24" fmla="*/ 2376139 w 9475596"/>
              <a:gd name="connsiteY24" fmla="*/ 2003759 h 5465712"/>
              <a:gd name="connsiteX25" fmla="*/ 3003275 w 9475596"/>
              <a:gd name="connsiteY25" fmla="*/ 1862492 h 5465712"/>
              <a:gd name="connsiteX26" fmla="*/ 3799458 w 9475596"/>
              <a:gd name="connsiteY26" fmla="*/ 2595430 h 5465712"/>
              <a:gd name="connsiteX27" fmla="*/ 4757598 w 9475596"/>
              <a:gd name="connsiteY27" fmla="*/ 2357816 h 5465712"/>
              <a:gd name="connsiteX28" fmla="*/ 7518532 w 9475596"/>
              <a:gd name="connsiteY28" fmla="*/ 5041317 h 5465712"/>
              <a:gd name="connsiteX29" fmla="*/ 6370655 w 9475596"/>
              <a:gd name="connsiteY29" fmla="*/ 5375868 h 5465712"/>
              <a:gd name="connsiteX30" fmla="*/ 6482960 w 9475596"/>
              <a:gd name="connsiteY30" fmla="*/ 5465712 h 5465712"/>
              <a:gd name="connsiteX0" fmla="*/ 6482960 w 9475596"/>
              <a:gd name="connsiteY0" fmla="*/ 5465712 h 5465712"/>
              <a:gd name="connsiteX1" fmla="*/ 7756146 w 9475596"/>
              <a:gd name="connsiteY1" fmla="*/ 5106336 h 5465712"/>
              <a:gd name="connsiteX2" fmla="*/ 6732395 w 9475596"/>
              <a:gd name="connsiteY2" fmla="*/ 4050077 h 5465712"/>
              <a:gd name="connsiteX3" fmla="*/ 9475596 w 9475596"/>
              <a:gd name="connsiteY3" fmla="*/ 3496826 h 5465712"/>
              <a:gd name="connsiteX4" fmla="*/ 9385161 w 9475596"/>
              <a:gd name="connsiteY4" fmla="*/ 3396343 h 5465712"/>
              <a:gd name="connsiteX5" fmla="*/ 6568667 w 9475596"/>
              <a:gd name="connsiteY5" fmla="*/ 3928905 h 5465712"/>
              <a:gd name="connsiteX6" fmla="*/ 4762919 w 9475596"/>
              <a:gd name="connsiteY6" fmla="*/ 2210637 h 5465712"/>
              <a:gd name="connsiteX7" fmla="*/ 3791775 w 9475596"/>
              <a:gd name="connsiteY7" fmla="*/ 2443523 h 5465712"/>
              <a:gd name="connsiteX8" fmla="*/ 3054698 w 9475596"/>
              <a:gd name="connsiteY8" fmla="*/ 1724179 h 5465712"/>
              <a:gd name="connsiteX9" fmla="*/ 2388552 w 9475596"/>
              <a:gd name="connsiteY9" fmla="*/ 1866038 h 5465712"/>
              <a:gd name="connsiteX10" fmla="*/ 1201665 w 9475596"/>
              <a:gd name="connsiteY10" fmla="*/ 661418 h 5465712"/>
              <a:gd name="connsiteX11" fmla="*/ 323320 w 9475596"/>
              <a:gd name="connsiteY11" fmla="*/ 381837 h 5465712"/>
              <a:gd name="connsiteX12" fmla="*/ 599354 w 9475596"/>
              <a:gd name="connsiteY12" fmla="*/ 309134 h 5465712"/>
              <a:gd name="connsiteX13" fmla="*/ 981783 w 9475596"/>
              <a:gd name="connsiteY13" fmla="*/ 373562 h 5465712"/>
              <a:gd name="connsiteX14" fmla="*/ 1475335 w 9475596"/>
              <a:gd name="connsiteY14" fmla="*/ 134471 h 5465712"/>
              <a:gd name="connsiteX15" fmla="*/ 1750778 w 9475596"/>
              <a:gd name="connsiteY15" fmla="*/ 72703 h 5465712"/>
              <a:gd name="connsiteX16" fmla="*/ 2963082 w 9475596"/>
              <a:gd name="connsiteY16" fmla="*/ 82160 h 5465712"/>
              <a:gd name="connsiteX17" fmla="*/ 2767435 w 9475596"/>
              <a:gd name="connsiteY17" fmla="*/ 190919 h 5465712"/>
              <a:gd name="connsiteX18" fmla="*/ 3466681 w 9475596"/>
              <a:gd name="connsiteY18" fmla="*/ 321547 h 5465712"/>
              <a:gd name="connsiteX19" fmla="*/ 3938954 w 9475596"/>
              <a:gd name="connsiteY19" fmla="*/ 70338 h 5465712"/>
              <a:gd name="connsiteX20" fmla="*/ 3516923 w 9475596"/>
              <a:gd name="connsiteY20" fmla="*/ 10048 h 5465712"/>
              <a:gd name="connsiteX21" fmla="*/ 1738365 w 9475596"/>
              <a:gd name="connsiteY21" fmla="*/ 0 h 5465712"/>
              <a:gd name="connsiteX22" fmla="*/ 0 w 9475596"/>
              <a:gd name="connsiteY22" fmla="*/ 361741 h 5465712"/>
              <a:gd name="connsiteX23" fmla="*/ 1153787 w 9475596"/>
              <a:gd name="connsiteY23" fmla="*/ 781407 h 5465712"/>
              <a:gd name="connsiteX24" fmla="*/ 2376139 w 9475596"/>
              <a:gd name="connsiteY24" fmla="*/ 2003759 h 5465712"/>
              <a:gd name="connsiteX25" fmla="*/ 3003275 w 9475596"/>
              <a:gd name="connsiteY25" fmla="*/ 1862492 h 5465712"/>
              <a:gd name="connsiteX26" fmla="*/ 3799458 w 9475596"/>
              <a:gd name="connsiteY26" fmla="*/ 2595430 h 5465712"/>
              <a:gd name="connsiteX27" fmla="*/ 4757598 w 9475596"/>
              <a:gd name="connsiteY27" fmla="*/ 2357816 h 5465712"/>
              <a:gd name="connsiteX28" fmla="*/ 7518532 w 9475596"/>
              <a:gd name="connsiteY28" fmla="*/ 5041317 h 5465712"/>
              <a:gd name="connsiteX29" fmla="*/ 6370655 w 9475596"/>
              <a:gd name="connsiteY29" fmla="*/ 5375868 h 5465712"/>
              <a:gd name="connsiteX30" fmla="*/ 6482960 w 9475596"/>
              <a:gd name="connsiteY30" fmla="*/ 5465712 h 5465712"/>
              <a:gd name="connsiteX0" fmla="*/ 6482960 w 9529384"/>
              <a:gd name="connsiteY0" fmla="*/ 5465712 h 5465712"/>
              <a:gd name="connsiteX1" fmla="*/ 7756146 w 9529384"/>
              <a:gd name="connsiteY1" fmla="*/ 5106336 h 5465712"/>
              <a:gd name="connsiteX2" fmla="*/ 6732395 w 9529384"/>
              <a:gd name="connsiteY2" fmla="*/ 4050077 h 5465712"/>
              <a:gd name="connsiteX3" fmla="*/ 9529384 w 9529384"/>
              <a:gd name="connsiteY3" fmla="*/ 3490849 h 5465712"/>
              <a:gd name="connsiteX4" fmla="*/ 9385161 w 9529384"/>
              <a:gd name="connsiteY4" fmla="*/ 3396343 h 5465712"/>
              <a:gd name="connsiteX5" fmla="*/ 6568667 w 9529384"/>
              <a:gd name="connsiteY5" fmla="*/ 3928905 h 5465712"/>
              <a:gd name="connsiteX6" fmla="*/ 4762919 w 9529384"/>
              <a:gd name="connsiteY6" fmla="*/ 2210637 h 5465712"/>
              <a:gd name="connsiteX7" fmla="*/ 3791775 w 9529384"/>
              <a:gd name="connsiteY7" fmla="*/ 2443523 h 5465712"/>
              <a:gd name="connsiteX8" fmla="*/ 3054698 w 9529384"/>
              <a:gd name="connsiteY8" fmla="*/ 1724179 h 5465712"/>
              <a:gd name="connsiteX9" fmla="*/ 2388552 w 9529384"/>
              <a:gd name="connsiteY9" fmla="*/ 1866038 h 5465712"/>
              <a:gd name="connsiteX10" fmla="*/ 1201665 w 9529384"/>
              <a:gd name="connsiteY10" fmla="*/ 661418 h 5465712"/>
              <a:gd name="connsiteX11" fmla="*/ 323320 w 9529384"/>
              <a:gd name="connsiteY11" fmla="*/ 381837 h 5465712"/>
              <a:gd name="connsiteX12" fmla="*/ 599354 w 9529384"/>
              <a:gd name="connsiteY12" fmla="*/ 309134 h 5465712"/>
              <a:gd name="connsiteX13" fmla="*/ 981783 w 9529384"/>
              <a:gd name="connsiteY13" fmla="*/ 373562 h 5465712"/>
              <a:gd name="connsiteX14" fmla="*/ 1475335 w 9529384"/>
              <a:gd name="connsiteY14" fmla="*/ 134471 h 5465712"/>
              <a:gd name="connsiteX15" fmla="*/ 1750778 w 9529384"/>
              <a:gd name="connsiteY15" fmla="*/ 72703 h 5465712"/>
              <a:gd name="connsiteX16" fmla="*/ 2963082 w 9529384"/>
              <a:gd name="connsiteY16" fmla="*/ 82160 h 5465712"/>
              <a:gd name="connsiteX17" fmla="*/ 2767435 w 9529384"/>
              <a:gd name="connsiteY17" fmla="*/ 190919 h 5465712"/>
              <a:gd name="connsiteX18" fmla="*/ 3466681 w 9529384"/>
              <a:gd name="connsiteY18" fmla="*/ 321547 h 5465712"/>
              <a:gd name="connsiteX19" fmla="*/ 3938954 w 9529384"/>
              <a:gd name="connsiteY19" fmla="*/ 70338 h 5465712"/>
              <a:gd name="connsiteX20" fmla="*/ 3516923 w 9529384"/>
              <a:gd name="connsiteY20" fmla="*/ 10048 h 5465712"/>
              <a:gd name="connsiteX21" fmla="*/ 1738365 w 9529384"/>
              <a:gd name="connsiteY21" fmla="*/ 0 h 5465712"/>
              <a:gd name="connsiteX22" fmla="*/ 0 w 9529384"/>
              <a:gd name="connsiteY22" fmla="*/ 361741 h 5465712"/>
              <a:gd name="connsiteX23" fmla="*/ 1153787 w 9529384"/>
              <a:gd name="connsiteY23" fmla="*/ 781407 h 5465712"/>
              <a:gd name="connsiteX24" fmla="*/ 2376139 w 9529384"/>
              <a:gd name="connsiteY24" fmla="*/ 2003759 h 5465712"/>
              <a:gd name="connsiteX25" fmla="*/ 3003275 w 9529384"/>
              <a:gd name="connsiteY25" fmla="*/ 1862492 h 5465712"/>
              <a:gd name="connsiteX26" fmla="*/ 3799458 w 9529384"/>
              <a:gd name="connsiteY26" fmla="*/ 2595430 h 5465712"/>
              <a:gd name="connsiteX27" fmla="*/ 4757598 w 9529384"/>
              <a:gd name="connsiteY27" fmla="*/ 2357816 h 5465712"/>
              <a:gd name="connsiteX28" fmla="*/ 7518532 w 9529384"/>
              <a:gd name="connsiteY28" fmla="*/ 5041317 h 5465712"/>
              <a:gd name="connsiteX29" fmla="*/ 6370655 w 9529384"/>
              <a:gd name="connsiteY29" fmla="*/ 5375868 h 5465712"/>
              <a:gd name="connsiteX30" fmla="*/ 6482960 w 9529384"/>
              <a:gd name="connsiteY30" fmla="*/ 5465712 h 5465712"/>
              <a:gd name="connsiteX0" fmla="*/ 6482960 w 9529384"/>
              <a:gd name="connsiteY0" fmla="*/ 5465712 h 5465712"/>
              <a:gd name="connsiteX1" fmla="*/ 7756146 w 9529384"/>
              <a:gd name="connsiteY1" fmla="*/ 5106336 h 5465712"/>
              <a:gd name="connsiteX2" fmla="*/ 6732395 w 9529384"/>
              <a:gd name="connsiteY2" fmla="*/ 4050077 h 5465712"/>
              <a:gd name="connsiteX3" fmla="*/ 9529384 w 9529384"/>
              <a:gd name="connsiteY3" fmla="*/ 3490849 h 5465712"/>
              <a:gd name="connsiteX4" fmla="*/ 9385161 w 9529384"/>
              <a:gd name="connsiteY4" fmla="*/ 3396343 h 5465712"/>
              <a:gd name="connsiteX5" fmla="*/ 6568667 w 9529384"/>
              <a:gd name="connsiteY5" fmla="*/ 3928905 h 5465712"/>
              <a:gd name="connsiteX6" fmla="*/ 4762919 w 9529384"/>
              <a:gd name="connsiteY6" fmla="*/ 2210637 h 5465712"/>
              <a:gd name="connsiteX7" fmla="*/ 3791775 w 9529384"/>
              <a:gd name="connsiteY7" fmla="*/ 2443523 h 5465712"/>
              <a:gd name="connsiteX8" fmla="*/ 3054698 w 9529384"/>
              <a:gd name="connsiteY8" fmla="*/ 1724179 h 5465712"/>
              <a:gd name="connsiteX9" fmla="*/ 2388552 w 9529384"/>
              <a:gd name="connsiteY9" fmla="*/ 1866038 h 5465712"/>
              <a:gd name="connsiteX10" fmla="*/ 1201665 w 9529384"/>
              <a:gd name="connsiteY10" fmla="*/ 661418 h 5465712"/>
              <a:gd name="connsiteX11" fmla="*/ 323320 w 9529384"/>
              <a:gd name="connsiteY11" fmla="*/ 381837 h 5465712"/>
              <a:gd name="connsiteX12" fmla="*/ 599354 w 9529384"/>
              <a:gd name="connsiteY12" fmla="*/ 309134 h 5465712"/>
              <a:gd name="connsiteX13" fmla="*/ 981783 w 9529384"/>
              <a:gd name="connsiteY13" fmla="*/ 373562 h 5465712"/>
              <a:gd name="connsiteX14" fmla="*/ 1475335 w 9529384"/>
              <a:gd name="connsiteY14" fmla="*/ 134471 h 5465712"/>
              <a:gd name="connsiteX15" fmla="*/ 1750778 w 9529384"/>
              <a:gd name="connsiteY15" fmla="*/ 72703 h 5465712"/>
              <a:gd name="connsiteX16" fmla="*/ 2963082 w 9529384"/>
              <a:gd name="connsiteY16" fmla="*/ 82160 h 5465712"/>
              <a:gd name="connsiteX17" fmla="*/ 3508489 w 9529384"/>
              <a:gd name="connsiteY17" fmla="*/ 60909 h 5465712"/>
              <a:gd name="connsiteX18" fmla="*/ 3466681 w 9529384"/>
              <a:gd name="connsiteY18" fmla="*/ 321547 h 5465712"/>
              <a:gd name="connsiteX19" fmla="*/ 3938954 w 9529384"/>
              <a:gd name="connsiteY19" fmla="*/ 70338 h 5465712"/>
              <a:gd name="connsiteX20" fmla="*/ 3516923 w 9529384"/>
              <a:gd name="connsiteY20" fmla="*/ 10048 h 5465712"/>
              <a:gd name="connsiteX21" fmla="*/ 1738365 w 9529384"/>
              <a:gd name="connsiteY21" fmla="*/ 0 h 5465712"/>
              <a:gd name="connsiteX22" fmla="*/ 0 w 9529384"/>
              <a:gd name="connsiteY22" fmla="*/ 361741 h 5465712"/>
              <a:gd name="connsiteX23" fmla="*/ 1153787 w 9529384"/>
              <a:gd name="connsiteY23" fmla="*/ 781407 h 5465712"/>
              <a:gd name="connsiteX24" fmla="*/ 2376139 w 9529384"/>
              <a:gd name="connsiteY24" fmla="*/ 2003759 h 5465712"/>
              <a:gd name="connsiteX25" fmla="*/ 3003275 w 9529384"/>
              <a:gd name="connsiteY25" fmla="*/ 1862492 h 5465712"/>
              <a:gd name="connsiteX26" fmla="*/ 3799458 w 9529384"/>
              <a:gd name="connsiteY26" fmla="*/ 2595430 h 5465712"/>
              <a:gd name="connsiteX27" fmla="*/ 4757598 w 9529384"/>
              <a:gd name="connsiteY27" fmla="*/ 2357816 h 5465712"/>
              <a:gd name="connsiteX28" fmla="*/ 7518532 w 9529384"/>
              <a:gd name="connsiteY28" fmla="*/ 5041317 h 5465712"/>
              <a:gd name="connsiteX29" fmla="*/ 6370655 w 9529384"/>
              <a:gd name="connsiteY29" fmla="*/ 5375868 h 5465712"/>
              <a:gd name="connsiteX30" fmla="*/ 6482960 w 9529384"/>
              <a:gd name="connsiteY30" fmla="*/ 5465712 h 5465712"/>
              <a:gd name="connsiteX0" fmla="*/ 6482960 w 9529384"/>
              <a:gd name="connsiteY0" fmla="*/ 5465712 h 5465712"/>
              <a:gd name="connsiteX1" fmla="*/ 7756146 w 9529384"/>
              <a:gd name="connsiteY1" fmla="*/ 5106336 h 5465712"/>
              <a:gd name="connsiteX2" fmla="*/ 6732395 w 9529384"/>
              <a:gd name="connsiteY2" fmla="*/ 4050077 h 5465712"/>
              <a:gd name="connsiteX3" fmla="*/ 9529384 w 9529384"/>
              <a:gd name="connsiteY3" fmla="*/ 3490849 h 5465712"/>
              <a:gd name="connsiteX4" fmla="*/ 9385161 w 9529384"/>
              <a:gd name="connsiteY4" fmla="*/ 3396343 h 5465712"/>
              <a:gd name="connsiteX5" fmla="*/ 6568667 w 9529384"/>
              <a:gd name="connsiteY5" fmla="*/ 3928905 h 5465712"/>
              <a:gd name="connsiteX6" fmla="*/ 4762919 w 9529384"/>
              <a:gd name="connsiteY6" fmla="*/ 2210637 h 5465712"/>
              <a:gd name="connsiteX7" fmla="*/ 3791775 w 9529384"/>
              <a:gd name="connsiteY7" fmla="*/ 2443523 h 5465712"/>
              <a:gd name="connsiteX8" fmla="*/ 3054698 w 9529384"/>
              <a:gd name="connsiteY8" fmla="*/ 1724179 h 5465712"/>
              <a:gd name="connsiteX9" fmla="*/ 2388552 w 9529384"/>
              <a:gd name="connsiteY9" fmla="*/ 1866038 h 5465712"/>
              <a:gd name="connsiteX10" fmla="*/ 1201665 w 9529384"/>
              <a:gd name="connsiteY10" fmla="*/ 661418 h 5465712"/>
              <a:gd name="connsiteX11" fmla="*/ 323320 w 9529384"/>
              <a:gd name="connsiteY11" fmla="*/ 381837 h 5465712"/>
              <a:gd name="connsiteX12" fmla="*/ 599354 w 9529384"/>
              <a:gd name="connsiteY12" fmla="*/ 309134 h 5465712"/>
              <a:gd name="connsiteX13" fmla="*/ 981783 w 9529384"/>
              <a:gd name="connsiteY13" fmla="*/ 373562 h 5465712"/>
              <a:gd name="connsiteX14" fmla="*/ 1475335 w 9529384"/>
              <a:gd name="connsiteY14" fmla="*/ 134471 h 5465712"/>
              <a:gd name="connsiteX15" fmla="*/ 1750778 w 9529384"/>
              <a:gd name="connsiteY15" fmla="*/ 72703 h 5465712"/>
              <a:gd name="connsiteX16" fmla="*/ 2984750 w 9529384"/>
              <a:gd name="connsiteY16" fmla="*/ 56158 h 5465712"/>
              <a:gd name="connsiteX17" fmla="*/ 3508489 w 9529384"/>
              <a:gd name="connsiteY17" fmla="*/ 60909 h 5465712"/>
              <a:gd name="connsiteX18" fmla="*/ 3466681 w 9529384"/>
              <a:gd name="connsiteY18" fmla="*/ 321547 h 5465712"/>
              <a:gd name="connsiteX19" fmla="*/ 3938954 w 9529384"/>
              <a:gd name="connsiteY19" fmla="*/ 70338 h 5465712"/>
              <a:gd name="connsiteX20" fmla="*/ 3516923 w 9529384"/>
              <a:gd name="connsiteY20" fmla="*/ 10048 h 5465712"/>
              <a:gd name="connsiteX21" fmla="*/ 1738365 w 9529384"/>
              <a:gd name="connsiteY21" fmla="*/ 0 h 5465712"/>
              <a:gd name="connsiteX22" fmla="*/ 0 w 9529384"/>
              <a:gd name="connsiteY22" fmla="*/ 361741 h 5465712"/>
              <a:gd name="connsiteX23" fmla="*/ 1153787 w 9529384"/>
              <a:gd name="connsiteY23" fmla="*/ 781407 h 5465712"/>
              <a:gd name="connsiteX24" fmla="*/ 2376139 w 9529384"/>
              <a:gd name="connsiteY24" fmla="*/ 2003759 h 5465712"/>
              <a:gd name="connsiteX25" fmla="*/ 3003275 w 9529384"/>
              <a:gd name="connsiteY25" fmla="*/ 1862492 h 5465712"/>
              <a:gd name="connsiteX26" fmla="*/ 3799458 w 9529384"/>
              <a:gd name="connsiteY26" fmla="*/ 2595430 h 5465712"/>
              <a:gd name="connsiteX27" fmla="*/ 4757598 w 9529384"/>
              <a:gd name="connsiteY27" fmla="*/ 2357816 h 5465712"/>
              <a:gd name="connsiteX28" fmla="*/ 7518532 w 9529384"/>
              <a:gd name="connsiteY28" fmla="*/ 5041317 h 5465712"/>
              <a:gd name="connsiteX29" fmla="*/ 6370655 w 9529384"/>
              <a:gd name="connsiteY29" fmla="*/ 5375868 h 5465712"/>
              <a:gd name="connsiteX30" fmla="*/ 6482960 w 9529384"/>
              <a:gd name="connsiteY30" fmla="*/ 5465712 h 5465712"/>
              <a:gd name="connsiteX0" fmla="*/ 6482960 w 9529384"/>
              <a:gd name="connsiteY0" fmla="*/ 5465712 h 5465712"/>
              <a:gd name="connsiteX1" fmla="*/ 7756146 w 9529384"/>
              <a:gd name="connsiteY1" fmla="*/ 5106336 h 5465712"/>
              <a:gd name="connsiteX2" fmla="*/ 6732395 w 9529384"/>
              <a:gd name="connsiteY2" fmla="*/ 4050077 h 5465712"/>
              <a:gd name="connsiteX3" fmla="*/ 9529384 w 9529384"/>
              <a:gd name="connsiteY3" fmla="*/ 3490849 h 5465712"/>
              <a:gd name="connsiteX4" fmla="*/ 9385161 w 9529384"/>
              <a:gd name="connsiteY4" fmla="*/ 3396343 h 5465712"/>
              <a:gd name="connsiteX5" fmla="*/ 6568667 w 9529384"/>
              <a:gd name="connsiteY5" fmla="*/ 3928905 h 5465712"/>
              <a:gd name="connsiteX6" fmla="*/ 4762919 w 9529384"/>
              <a:gd name="connsiteY6" fmla="*/ 2210637 h 5465712"/>
              <a:gd name="connsiteX7" fmla="*/ 3791775 w 9529384"/>
              <a:gd name="connsiteY7" fmla="*/ 2443523 h 5465712"/>
              <a:gd name="connsiteX8" fmla="*/ 3054698 w 9529384"/>
              <a:gd name="connsiteY8" fmla="*/ 1724179 h 5465712"/>
              <a:gd name="connsiteX9" fmla="*/ 2388552 w 9529384"/>
              <a:gd name="connsiteY9" fmla="*/ 1866038 h 5465712"/>
              <a:gd name="connsiteX10" fmla="*/ 1201665 w 9529384"/>
              <a:gd name="connsiteY10" fmla="*/ 661418 h 5465712"/>
              <a:gd name="connsiteX11" fmla="*/ 323320 w 9529384"/>
              <a:gd name="connsiteY11" fmla="*/ 381837 h 5465712"/>
              <a:gd name="connsiteX12" fmla="*/ 599354 w 9529384"/>
              <a:gd name="connsiteY12" fmla="*/ 309134 h 5465712"/>
              <a:gd name="connsiteX13" fmla="*/ 981783 w 9529384"/>
              <a:gd name="connsiteY13" fmla="*/ 373562 h 5465712"/>
              <a:gd name="connsiteX14" fmla="*/ 1475335 w 9529384"/>
              <a:gd name="connsiteY14" fmla="*/ 134471 h 5465712"/>
              <a:gd name="connsiteX15" fmla="*/ 1750778 w 9529384"/>
              <a:gd name="connsiteY15" fmla="*/ 72703 h 5465712"/>
              <a:gd name="connsiteX16" fmla="*/ 2984750 w 9529384"/>
              <a:gd name="connsiteY16" fmla="*/ 56158 h 5465712"/>
              <a:gd name="connsiteX17" fmla="*/ 3508489 w 9529384"/>
              <a:gd name="connsiteY17" fmla="*/ 60909 h 5465712"/>
              <a:gd name="connsiteX18" fmla="*/ 3869710 w 9529384"/>
              <a:gd name="connsiteY18" fmla="*/ 83196 h 5465712"/>
              <a:gd name="connsiteX19" fmla="*/ 3938954 w 9529384"/>
              <a:gd name="connsiteY19" fmla="*/ 70338 h 5465712"/>
              <a:gd name="connsiteX20" fmla="*/ 3516923 w 9529384"/>
              <a:gd name="connsiteY20" fmla="*/ 10048 h 5465712"/>
              <a:gd name="connsiteX21" fmla="*/ 1738365 w 9529384"/>
              <a:gd name="connsiteY21" fmla="*/ 0 h 5465712"/>
              <a:gd name="connsiteX22" fmla="*/ 0 w 9529384"/>
              <a:gd name="connsiteY22" fmla="*/ 361741 h 5465712"/>
              <a:gd name="connsiteX23" fmla="*/ 1153787 w 9529384"/>
              <a:gd name="connsiteY23" fmla="*/ 781407 h 5465712"/>
              <a:gd name="connsiteX24" fmla="*/ 2376139 w 9529384"/>
              <a:gd name="connsiteY24" fmla="*/ 2003759 h 5465712"/>
              <a:gd name="connsiteX25" fmla="*/ 3003275 w 9529384"/>
              <a:gd name="connsiteY25" fmla="*/ 1862492 h 5465712"/>
              <a:gd name="connsiteX26" fmla="*/ 3799458 w 9529384"/>
              <a:gd name="connsiteY26" fmla="*/ 2595430 h 5465712"/>
              <a:gd name="connsiteX27" fmla="*/ 4757598 w 9529384"/>
              <a:gd name="connsiteY27" fmla="*/ 2357816 h 5465712"/>
              <a:gd name="connsiteX28" fmla="*/ 7518532 w 9529384"/>
              <a:gd name="connsiteY28" fmla="*/ 5041317 h 5465712"/>
              <a:gd name="connsiteX29" fmla="*/ 6370655 w 9529384"/>
              <a:gd name="connsiteY29" fmla="*/ 5375868 h 5465712"/>
              <a:gd name="connsiteX30" fmla="*/ 6482960 w 9529384"/>
              <a:gd name="connsiteY30" fmla="*/ 5465712 h 5465712"/>
              <a:gd name="connsiteX0" fmla="*/ 6482960 w 9529384"/>
              <a:gd name="connsiteY0" fmla="*/ 5465712 h 5465712"/>
              <a:gd name="connsiteX1" fmla="*/ 7756146 w 9529384"/>
              <a:gd name="connsiteY1" fmla="*/ 5106336 h 5465712"/>
              <a:gd name="connsiteX2" fmla="*/ 6732395 w 9529384"/>
              <a:gd name="connsiteY2" fmla="*/ 4050077 h 5465712"/>
              <a:gd name="connsiteX3" fmla="*/ 9529384 w 9529384"/>
              <a:gd name="connsiteY3" fmla="*/ 3490849 h 5465712"/>
              <a:gd name="connsiteX4" fmla="*/ 9385161 w 9529384"/>
              <a:gd name="connsiteY4" fmla="*/ 3396343 h 5465712"/>
              <a:gd name="connsiteX5" fmla="*/ 6568667 w 9529384"/>
              <a:gd name="connsiteY5" fmla="*/ 3928905 h 5465712"/>
              <a:gd name="connsiteX6" fmla="*/ 4762919 w 9529384"/>
              <a:gd name="connsiteY6" fmla="*/ 2210637 h 5465712"/>
              <a:gd name="connsiteX7" fmla="*/ 3791775 w 9529384"/>
              <a:gd name="connsiteY7" fmla="*/ 2443523 h 5465712"/>
              <a:gd name="connsiteX8" fmla="*/ 3054698 w 9529384"/>
              <a:gd name="connsiteY8" fmla="*/ 1724179 h 5465712"/>
              <a:gd name="connsiteX9" fmla="*/ 2388552 w 9529384"/>
              <a:gd name="connsiteY9" fmla="*/ 1866038 h 5465712"/>
              <a:gd name="connsiteX10" fmla="*/ 1201665 w 9529384"/>
              <a:gd name="connsiteY10" fmla="*/ 661418 h 5465712"/>
              <a:gd name="connsiteX11" fmla="*/ 323320 w 9529384"/>
              <a:gd name="connsiteY11" fmla="*/ 381837 h 5465712"/>
              <a:gd name="connsiteX12" fmla="*/ 599354 w 9529384"/>
              <a:gd name="connsiteY12" fmla="*/ 309134 h 5465712"/>
              <a:gd name="connsiteX13" fmla="*/ 981783 w 9529384"/>
              <a:gd name="connsiteY13" fmla="*/ 373562 h 5465712"/>
              <a:gd name="connsiteX14" fmla="*/ 1475335 w 9529384"/>
              <a:gd name="connsiteY14" fmla="*/ 134471 h 5465712"/>
              <a:gd name="connsiteX15" fmla="*/ 1750778 w 9529384"/>
              <a:gd name="connsiteY15" fmla="*/ 72703 h 5465712"/>
              <a:gd name="connsiteX16" fmla="*/ 2984750 w 9529384"/>
              <a:gd name="connsiteY16" fmla="*/ 56158 h 5465712"/>
              <a:gd name="connsiteX17" fmla="*/ 3508489 w 9529384"/>
              <a:gd name="connsiteY17" fmla="*/ 52242 h 5465712"/>
              <a:gd name="connsiteX18" fmla="*/ 3869710 w 9529384"/>
              <a:gd name="connsiteY18" fmla="*/ 83196 h 5465712"/>
              <a:gd name="connsiteX19" fmla="*/ 3938954 w 9529384"/>
              <a:gd name="connsiteY19" fmla="*/ 70338 h 5465712"/>
              <a:gd name="connsiteX20" fmla="*/ 3516923 w 9529384"/>
              <a:gd name="connsiteY20" fmla="*/ 10048 h 5465712"/>
              <a:gd name="connsiteX21" fmla="*/ 1738365 w 9529384"/>
              <a:gd name="connsiteY21" fmla="*/ 0 h 5465712"/>
              <a:gd name="connsiteX22" fmla="*/ 0 w 9529384"/>
              <a:gd name="connsiteY22" fmla="*/ 361741 h 5465712"/>
              <a:gd name="connsiteX23" fmla="*/ 1153787 w 9529384"/>
              <a:gd name="connsiteY23" fmla="*/ 781407 h 5465712"/>
              <a:gd name="connsiteX24" fmla="*/ 2376139 w 9529384"/>
              <a:gd name="connsiteY24" fmla="*/ 2003759 h 5465712"/>
              <a:gd name="connsiteX25" fmla="*/ 3003275 w 9529384"/>
              <a:gd name="connsiteY25" fmla="*/ 1862492 h 5465712"/>
              <a:gd name="connsiteX26" fmla="*/ 3799458 w 9529384"/>
              <a:gd name="connsiteY26" fmla="*/ 2595430 h 5465712"/>
              <a:gd name="connsiteX27" fmla="*/ 4757598 w 9529384"/>
              <a:gd name="connsiteY27" fmla="*/ 2357816 h 5465712"/>
              <a:gd name="connsiteX28" fmla="*/ 7518532 w 9529384"/>
              <a:gd name="connsiteY28" fmla="*/ 5041317 h 5465712"/>
              <a:gd name="connsiteX29" fmla="*/ 6370655 w 9529384"/>
              <a:gd name="connsiteY29" fmla="*/ 5375868 h 5465712"/>
              <a:gd name="connsiteX30" fmla="*/ 6482960 w 9529384"/>
              <a:gd name="connsiteY30" fmla="*/ 5465712 h 5465712"/>
              <a:gd name="connsiteX0" fmla="*/ 6482960 w 9529384"/>
              <a:gd name="connsiteY0" fmla="*/ 5465712 h 5465712"/>
              <a:gd name="connsiteX1" fmla="*/ 7756146 w 9529384"/>
              <a:gd name="connsiteY1" fmla="*/ 5106336 h 5465712"/>
              <a:gd name="connsiteX2" fmla="*/ 6732395 w 9529384"/>
              <a:gd name="connsiteY2" fmla="*/ 4050077 h 5465712"/>
              <a:gd name="connsiteX3" fmla="*/ 9529384 w 9529384"/>
              <a:gd name="connsiteY3" fmla="*/ 3490849 h 5465712"/>
              <a:gd name="connsiteX4" fmla="*/ 9385161 w 9529384"/>
              <a:gd name="connsiteY4" fmla="*/ 3396343 h 5465712"/>
              <a:gd name="connsiteX5" fmla="*/ 6568667 w 9529384"/>
              <a:gd name="connsiteY5" fmla="*/ 3928905 h 5465712"/>
              <a:gd name="connsiteX6" fmla="*/ 4762919 w 9529384"/>
              <a:gd name="connsiteY6" fmla="*/ 2210637 h 5465712"/>
              <a:gd name="connsiteX7" fmla="*/ 3791775 w 9529384"/>
              <a:gd name="connsiteY7" fmla="*/ 2443523 h 5465712"/>
              <a:gd name="connsiteX8" fmla="*/ 3054698 w 9529384"/>
              <a:gd name="connsiteY8" fmla="*/ 1724179 h 5465712"/>
              <a:gd name="connsiteX9" fmla="*/ 2388552 w 9529384"/>
              <a:gd name="connsiteY9" fmla="*/ 1866038 h 5465712"/>
              <a:gd name="connsiteX10" fmla="*/ 1201665 w 9529384"/>
              <a:gd name="connsiteY10" fmla="*/ 661418 h 5465712"/>
              <a:gd name="connsiteX11" fmla="*/ 323320 w 9529384"/>
              <a:gd name="connsiteY11" fmla="*/ 381837 h 5465712"/>
              <a:gd name="connsiteX12" fmla="*/ 599354 w 9529384"/>
              <a:gd name="connsiteY12" fmla="*/ 309134 h 5465712"/>
              <a:gd name="connsiteX13" fmla="*/ 981783 w 9529384"/>
              <a:gd name="connsiteY13" fmla="*/ 373562 h 5465712"/>
              <a:gd name="connsiteX14" fmla="*/ 1475335 w 9529384"/>
              <a:gd name="connsiteY14" fmla="*/ 134471 h 5465712"/>
              <a:gd name="connsiteX15" fmla="*/ 1750778 w 9529384"/>
              <a:gd name="connsiteY15" fmla="*/ 72703 h 5465712"/>
              <a:gd name="connsiteX16" fmla="*/ 2984750 w 9529384"/>
              <a:gd name="connsiteY16" fmla="*/ 56158 h 5465712"/>
              <a:gd name="connsiteX17" fmla="*/ 3508489 w 9529384"/>
              <a:gd name="connsiteY17" fmla="*/ 52242 h 5465712"/>
              <a:gd name="connsiteX18" fmla="*/ 3869710 w 9529384"/>
              <a:gd name="connsiteY18" fmla="*/ 83196 h 5465712"/>
              <a:gd name="connsiteX19" fmla="*/ 3938954 w 9529384"/>
              <a:gd name="connsiteY19" fmla="*/ 70338 h 5465712"/>
              <a:gd name="connsiteX20" fmla="*/ 2979550 w 9529384"/>
              <a:gd name="connsiteY20" fmla="*/ 10048 h 5465712"/>
              <a:gd name="connsiteX21" fmla="*/ 1738365 w 9529384"/>
              <a:gd name="connsiteY21" fmla="*/ 0 h 5465712"/>
              <a:gd name="connsiteX22" fmla="*/ 0 w 9529384"/>
              <a:gd name="connsiteY22" fmla="*/ 361741 h 5465712"/>
              <a:gd name="connsiteX23" fmla="*/ 1153787 w 9529384"/>
              <a:gd name="connsiteY23" fmla="*/ 781407 h 5465712"/>
              <a:gd name="connsiteX24" fmla="*/ 2376139 w 9529384"/>
              <a:gd name="connsiteY24" fmla="*/ 2003759 h 5465712"/>
              <a:gd name="connsiteX25" fmla="*/ 3003275 w 9529384"/>
              <a:gd name="connsiteY25" fmla="*/ 1862492 h 5465712"/>
              <a:gd name="connsiteX26" fmla="*/ 3799458 w 9529384"/>
              <a:gd name="connsiteY26" fmla="*/ 2595430 h 5465712"/>
              <a:gd name="connsiteX27" fmla="*/ 4757598 w 9529384"/>
              <a:gd name="connsiteY27" fmla="*/ 2357816 h 5465712"/>
              <a:gd name="connsiteX28" fmla="*/ 7518532 w 9529384"/>
              <a:gd name="connsiteY28" fmla="*/ 5041317 h 5465712"/>
              <a:gd name="connsiteX29" fmla="*/ 6370655 w 9529384"/>
              <a:gd name="connsiteY29" fmla="*/ 5375868 h 5465712"/>
              <a:gd name="connsiteX30" fmla="*/ 6482960 w 9529384"/>
              <a:gd name="connsiteY30" fmla="*/ 5465712 h 5465712"/>
              <a:gd name="connsiteX0" fmla="*/ 6482960 w 9529384"/>
              <a:gd name="connsiteY0" fmla="*/ 5599055 h 5599055"/>
              <a:gd name="connsiteX1" fmla="*/ 7756146 w 9529384"/>
              <a:gd name="connsiteY1" fmla="*/ 5239679 h 5599055"/>
              <a:gd name="connsiteX2" fmla="*/ 6732395 w 9529384"/>
              <a:gd name="connsiteY2" fmla="*/ 4183420 h 5599055"/>
              <a:gd name="connsiteX3" fmla="*/ 9529384 w 9529384"/>
              <a:gd name="connsiteY3" fmla="*/ 3624192 h 5599055"/>
              <a:gd name="connsiteX4" fmla="*/ 9385161 w 9529384"/>
              <a:gd name="connsiteY4" fmla="*/ 3529686 h 5599055"/>
              <a:gd name="connsiteX5" fmla="*/ 6568667 w 9529384"/>
              <a:gd name="connsiteY5" fmla="*/ 4062248 h 5599055"/>
              <a:gd name="connsiteX6" fmla="*/ 4762919 w 9529384"/>
              <a:gd name="connsiteY6" fmla="*/ 2343980 h 5599055"/>
              <a:gd name="connsiteX7" fmla="*/ 3791775 w 9529384"/>
              <a:gd name="connsiteY7" fmla="*/ 2576866 h 5599055"/>
              <a:gd name="connsiteX8" fmla="*/ 3054698 w 9529384"/>
              <a:gd name="connsiteY8" fmla="*/ 1857522 h 5599055"/>
              <a:gd name="connsiteX9" fmla="*/ 2388552 w 9529384"/>
              <a:gd name="connsiteY9" fmla="*/ 1999381 h 5599055"/>
              <a:gd name="connsiteX10" fmla="*/ 1201665 w 9529384"/>
              <a:gd name="connsiteY10" fmla="*/ 794761 h 5599055"/>
              <a:gd name="connsiteX11" fmla="*/ 323320 w 9529384"/>
              <a:gd name="connsiteY11" fmla="*/ 515180 h 5599055"/>
              <a:gd name="connsiteX12" fmla="*/ 599354 w 9529384"/>
              <a:gd name="connsiteY12" fmla="*/ 442477 h 5599055"/>
              <a:gd name="connsiteX13" fmla="*/ 981783 w 9529384"/>
              <a:gd name="connsiteY13" fmla="*/ 506905 h 5599055"/>
              <a:gd name="connsiteX14" fmla="*/ 1475335 w 9529384"/>
              <a:gd name="connsiteY14" fmla="*/ 267814 h 5599055"/>
              <a:gd name="connsiteX15" fmla="*/ 1750778 w 9529384"/>
              <a:gd name="connsiteY15" fmla="*/ 206046 h 5599055"/>
              <a:gd name="connsiteX16" fmla="*/ 2984750 w 9529384"/>
              <a:gd name="connsiteY16" fmla="*/ 189501 h 5599055"/>
              <a:gd name="connsiteX17" fmla="*/ 3508489 w 9529384"/>
              <a:gd name="connsiteY17" fmla="*/ 185585 h 5599055"/>
              <a:gd name="connsiteX18" fmla="*/ 3869710 w 9529384"/>
              <a:gd name="connsiteY18" fmla="*/ 216539 h 5599055"/>
              <a:gd name="connsiteX19" fmla="*/ 3379913 w 9529384"/>
              <a:gd name="connsiteY19" fmla="*/ 0 h 5599055"/>
              <a:gd name="connsiteX20" fmla="*/ 2979550 w 9529384"/>
              <a:gd name="connsiteY20" fmla="*/ 143391 h 5599055"/>
              <a:gd name="connsiteX21" fmla="*/ 1738365 w 9529384"/>
              <a:gd name="connsiteY21" fmla="*/ 133343 h 5599055"/>
              <a:gd name="connsiteX22" fmla="*/ 0 w 9529384"/>
              <a:gd name="connsiteY22" fmla="*/ 495084 h 5599055"/>
              <a:gd name="connsiteX23" fmla="*/ 1153787 w 9529384"/>
              <a:gd name="connsiteY23" fmla="*/ 914750 h 5599055"/>
              <a:gd name="connsiteX24" fmla="*/ 2376139 w 9529384"/>
              <a:gd name="connsiteY24" fmla="*/ 2137102 h 5599055"/>
              <a:gd name="connsiteX25" fmla="*/ 3003275 w 9529384"/>
              <a:gd name="connsiteY25" fmla="*/ 1995835 h 5599055"/>
              <a:gd name="connsiteX26" fmla="*/ 3799458 w 9529384"/>
              <a:gd name="connsiteY26" fmla="*/ 2728773 h 5599055"/>
              <a:gd name="connsiteX27" fmla="*/ 4757598 w 9529384"/>
              <a:gd name="connsiteY27" fmla="*/ 2491159 h 5599055"/>
              <a:gd name="connsiteX28" fmla="*/ 7518532 w 9529384"/>
              <a:gd name="connsiteY28" fmla="*/ 5174660 h 5599055"/>
              <a:gd name="connsiteX29" fmla="*/ 6370655 w 9529384"/>
              <a:gd name="connsiteY29" fmla="*/ 5509211 h 5599055"/>
              <a:gd name="connsiteX30" fmla="*/ 6482960 w 9529384"/>
              <a:gd name="connsiteY30" fmla="*/ 5599055 h 5599055"/>
              <a:gd name="connsiteX0" fmla="*/ 6482960 w 9529384"/>
              <a:gd name="connsiteY0" fmla="*/ 5599055 h 5599055"/>
              <a:gd name="connsiteX1" fmla="*/ 7756146 w 9529384"/>
              <a:gd name="connsiteY1" fmla="*/ 5239679 h 5599055"/>
              <a:gd name="connsiteX2" fmla="*/ 6732395 w 9529384"/>
              <a:gd name="connsiteY2" fmla="*/ 4183420 h 5599055"/>
              <a:gd name="connsiteX3" fmla="*/ 9529384 w 9529384"/>
              <a:gd name="connsiteY3" fmla="*/ 3624192 h 5599055"/>
              <a:gd name="connsiteX4" fmla="*/ 9385161 w 9529384"/>
              <a:gd name="connsiteY4" fmla="*/ 3529686 h 5599055"/>
              <a:gd name="connsiteX5" fmla="*/ 6568667 w 9529384"/>
              <a:gd name="connsiteY5" fmla="*/ 4062248 h 5599055"/>
              <a:gd name="connsiteX6" fmla="*/ 4762919 w 9529384"/>
              <a:gd name="connsiteY6" fmla="*/ 2343980 h 5599055"/>
              <a:gd name="connsiteX7" fmla="*/ 3791775 w 9529384"/>
              <a:gd name="connsiteY7" fmla="*/ 2576866 h 5599055"/>
              <a:gd name="connsiteX8" fmla="*/ 3054698 w 9529384"/>
              <a:gd name="connsiteY8" fmla="*/ 1857522 h 5599055"/>
              <a:gd name="connsiteX9" fmla="*/ 2388552 w 9529384"/>
              <a:gd name="connsiteY9" fmla="*/ 1999381 h 5599055"/>
              <a:gd name="connsiteX10" fmla="*/ 1201665 w 9529384"/>
              <a:gd name="connsiteY10" fmla="*/ 794761 h 5599055"/>
              <a:gd name="connsiteX11" fmla="*/ 323320 w 9529384"/>
              <a:gd name="connsiteY11" fmla="*/ 515180 h 5599055"/>
              <a:gd name="connsiteX12" fmla="*/ 599354 w 9529384"/>
              <a:gd name="connsiteY12" fmla="*/ 442477 h 5599055"/>
              <a:gd name="connsiteX13" fmla="*/ 981783 w 9529384"/>
              <a:gd name="connsiteY13" fmla="*/ 506905 h 5599055"/>
              <a:gd name="connsiteX14" fmla="*/ 1475335 w 9529384"/>
              <a:gd name="connsiteY14" fmla="*/ 267814 h 5599055"/>
              <a:gd name="connsiteX15" fmla="*/ 1750778 w 9529384"/>
              <a:gd name="connsiteY15" fmla="*/ 206046 h 5599055"/>
              <a:gd name="connsiteX16" fmla="*/ 2984750 w 9529384"/>
              <a:gd name="connsiteY16" fmla="*/ 189501 h 5599055"/>
              <a:gd name="connsiteX17" fmla="*/ 3205134 w 9529384"/>
              <a:gd name="connsiteY17" fmla="*/ 94579 h 5599055"/>
              <a:gd name="connsiteX18" fmla="*/ 3869710 w 9529384"/>
              <a:gd name="connsiteY18" fmla="*/ 216539 h 5599055"/>
              <a:gd name="connsiteX19" fmla="*/ 3379913 w 9529384"/>
              <a:gd name="connsiteY19" fmla="*/ 0 h 5599055"/>
              <a:gd name="connsiteX20" fmla="*/ 2979550 w 9529384"/>
              <a:gd name="connsiteY20" fmla="*/ 143391 h 5599055"/>
              <a:gd name="connsiteX21" fmla="*/ 1738365 w 9529384"/>
              <a:gd name="connsiteY21" fmla="*/ 133343 h 5599055"/>
              <a:gd name="connsiteX22" fmla="*/ 0 w 9529384"/>
              <a:gd name="connsiteY22" fmla="*/ 495084 h 5599055"/>
              <a:gd name="connsiteX23" fmla="*/ 1153787 w 9529384"/>
              <a:gd name="connsiteY23" fmla="*/ 914750 h 5599055"/>
              <a:gd name="connsiteX24" fmla="*/ 2376139 w 9529384"/>
              <a:gd name="connsiteY24" fmla="*/ 2137102 h 5599055"/>
              <a:gd name="connsiteX25" fmla="*/ 3003275 w 9529384"/>
              <a:gd name="connsiteY25" fmla="*/ 1995835 h 5599055"/>
              <a:gd name="connsiteX26" fmla="*/ 3799458 w 9529384"/>
              <a:gd name="connsiteY26" fmla="*/ 2728773 h 5599055"/>
              <a:gd name="connsiteX27" fmla="*/ 4757598 w 9529384"/>
              <a:gd name="connsiteY27" fmla="*/ 2491159 h 5599055"/>
              <a:gd name="connsiteX28" fmla="*/ 7518532 w 9529384"/>
              <a:gd name="connsiteY28" fmla="*/ 5174660 h 5599055"/>
              <a:gd name="connsiteX29" fmla="*/ 6370655 w 9529384"/>
              <a:gd name="connsiteY29" fmla="*/ 5509211 h 5599055"/>
              <a:gd name="connsiteX30" fmla="*/ 6482960 w 9529384"/>
              <a:gd name="connsiteY30" fmla="*/ 5599055 h 5599055"/>
              <a:gd name="connsiteX0" fmla="*/ 6482960 w 9529384"/>
              <a:gd name="connsiteY0" fmla="*/ 5599055 h 5599055"/>
              <a:gd name="connsiteX1" fmla="*/ 7756146 w 9529384"/>
              <a:gd name="connsiteY1" fmla="*/ 5239679 h 5599055"/>
              <a:gd name="connsiteX2" fmla="*/ 6732395 w 9529384"/>
              <a:gd name="connsiteY2" fmla="*/ 4183420 h 5599055"/>
              <a:gd name="connsiteX3" fmla="*/ 9529384 w 9529384"/>
              <a:gd name="connsiteY3" fmla="*/ 3624192 h 5599055"/>
              <a:gd name="connsiteX4" fmla="*/ 9385161 w 9529384"/>
              <a:gd name="connsiteY4" fmla="*/ 3529686 h 5599055"/>
              <a:gd name="connsiteX5" fmla="*/ 6568667 w 9529384"/>
              <a:gd name="connsiteY5" fmla="*/ 4062248 h 5599055"/>
              <a:gd name="connsiteX6" fmla="*/ 4762919 w 9529384"/>
              <a:gd name="connsiteY6" fmla="*/ 2343980 h 5599055"/>
              <a:gd name="connsiteX7" fmla="*/ 3791775 w 9529384"/>
              <a:gd name="connsiteY7" fmla="*/ 2576866 h 5599055"/>
              <a:gd name="connsiteX8" fmla="*/ 3054698 w 9529384"/>
              <a:gd name="connsiteY8" fmla="*/ 1857522 h 5599055"/>
              <a:gd name="connsiteX9" fmla="*/ 2388552 w 9529384"/>
              <a:gd name="connsiteY9" fmla="*/ 1999381 h 5599055"/>
              <a:gd name="connsiteX10" fmla="*/ 1201665 w 9529384"/>
              <a:gd name="connsiteY10" fmla="*/ 794761 h 5599055"/>
              <a:gd name="connsiteX11" fmla="*/ 323320 w 9529384"/>
              <a:gd name="connsiteY11" fmla="*/ 515180 h 5599055"/>
              <a:gd name="connsiteX12" fmla="*/ 599354 w 9529384"/>
              <a:gd name="connsiteY12" fmla="*/ 442477 h 5599055"/>
              <a:gd name="connsiteX13" fmla="*/ 981783 w 9529384"/>
              <a:gd name="connsiteY13" fmla="*/ 506905 h 5599055"/>
              <a:gd name="connsiteX14" fmla="*/ 1475335 w 9529384"/>
              <a:gd name="connsiteY14" fmla="*/ 267814 h 5599055"/>
              <a:gd name="connsiteX15" fmla="*/ 1750778 w 9529384"/>
              <a:gd name="connsiteY15" fmla="*/ 206046 h 5599055"/>
              <a:gd name="connsiteX16" fmla="*/ 2984750 w 9529384"/>
              <a:gd name="connsiteY16" fmla="*/ 189501 h 5599055"/>
              <a:gd name="connsiteX17" fmla="*/ 3109794 w 9529384"/>
              <a:gd name="connsiteY17" fmla="*/ 137915 h 5599055"/>
              <a:gd name="connsiteX18" fmla="*/ 3869710 w 9529384"/>
              <a:gd name="connsiteY18" fmla="*/ 216539 h 5599055"/>
              <a:gd name="connsiteX19" fmla="*/ 3379913 w 9529384"/>
              <a:gd name="connsiteY19" fmla="*/ 0 h 5599055"/>
              <a:gd name="connsiteX20" fmla="*/ 2979550 w 9529384"/>
              <a:gd name="connsiteY20" fmla="*/ 143391 h 5599055"/>
              <a:gd name="connsiteX21" fmla="*/ 1738365 w 9529384"/>
              <a:gd name="connsiteY21" fmla="*/ 133343 h 5599055"/>
              <a:gd name="connsiteX22" fmla="*/ 0 w 9529384"/>
              <a:gd name="connsiteY22" fmla="*/ 495084 h 5599055"/>
              <a:gd name="connsiteX23" fmla="*/ 1153787 w 9529384"/>
              <a:gd name="connsiteY23" fmla="*/ 914750 h 5599055"/>
              <a:gd name="connsiteX24" fmla="*/ 2376139 w 9529384"/>
              <a:gd name="connsiteY24" fmla="*/ 2137102 h 5599055"/>
              <a:gd name="connsiteX25" fmla="*/ 3003275 w 9529384"/>
              <a:gd name="connsiteY25" fmla="*/ 1995835 h 5599055"/>
              <a:gd name="connsiteX26" fmla="*/ 3799458 w 9529384"/>
              <a:gd name="connsiteY26" fmla="*/ 2728773 h 5599055"/>
              <a:gd name="connsiteX27" fmla="*/ 4757598 w 9529384"/>
              <a:gd name="connsiteY27" fmla="*/ 2491159 h 5599055"/>
              <a:gd name="connsiteX28" fmla="*/ 7518532 w 9529384"/>
              <a:gd name="connsiteY28" fmla="*/ 5174660 h 5599055"/>
              <a:gd name="connsiteX29" fmla="*/ 6370655 w 9529384"/>
              <a:gd name="connsiteY29" fmla="*/ 5509211 h 5599055"/>
              <a:gd name="connsiteX30" fmla="*/ 6482960 w 9529384"/>
              <a:gd name="connsiteY30" fmla="*/ 5599055 h 5599055"/>
              <a:gd name="connsiteX0" fmla="*/ 6482960 w 9529384"/>
              <a:gd name="connsiteY0" fmla="*/ 5620867 h 5620867"/>
              <a:gd name="connsiteX1" fmla="*/ 7756146 w 9529384"/>
              <a:gd name="connsiteY1" fmla="*/ 5261491 h 5620867"/>
              <a:gd name="connsiteX2" fmla="*/ 6732395 w 9529384"/>
              <a:gd name="connsiteY2" fmla="*/ 4205232 h 5620867"/>
              <a:gd name="connsiteX3" fmla="*/ 9529384 w 9529384"/>
              <a:gd name="connsiteY3" fmla="*/ 3646004 h 5620867"/>
              <a:gd name="connsiteX4" fmla="*/ 9385161 w 9529384"/>
              <a:gd name="connsiteY4" fmla="*/ 3551498 h 5620867"/>
              <a:gd name="connsiteX5" fmla="*/ 6568667 w 9529384"/>
              <a:gd name="connsiteY5" fmla="*/ 4084060 h 5620867"/>
              <a:gd name="connsiteX6" fmla="*/ 4762919 w 9529384"/>
              <a:gd name="connsiteY6" fmla="*/ 2365792 h 5620867"/>
              <a:gd name="connsiteX7" fmla="*/ 3791775 w 9529384"/>
              <a:gd name="connsiteY7" fmla="*/ 2598678 h 5620867"/>
              <a:gd name="connsiteX8" fmla="*/ 3054698 w 9529384"/>
              <a:gd name="connsiteY8" fmla="*/ 1879334 h 5620867"/>
              <a:gd name="connsiteX9" fmla="*/ 2388552 w 9529384"/>
              <a:gd name="connsiteY9" fmla="*/ 2021193 h 5620867"/>
              <a:gd name="connsiteX10" fmla="*/ 1201665 w 9529384"/>
              <a:gd name="connsiteY10" fmla="*/ 816573 h 5620867"/>
              <a:gd name="connsiteX11" fmla="*/ 323320 w 9529384"/>
              <a:gd name="connsiteY11" fmla="*/ 536992 h 5620867"/>
              <a:gd name="connsiteX12" fmla="*/ 599354 w 9529384"/>
              <a:gd name="connsiteY12" fmla="*/ 464289 h 5620867"/>
              <a:gd name="connsiteX13" fmla="*/ 981783 w 9529384"/>
              <a:gd name="connsiteY13" fmla="*/ 528717 h 5620867"/>
              <a:gd name="connsiteX14" fmla="*/ 1475335 w 9529384"/>
              <a:gd name="connsiteY14" fmla="*/ 289626 h 5620867"/>
              <a:gd name="connsiteX15" fmla="*/ 1750778 w 9529384"/>
              <a:gd name="connsiteY15" fmla="*/ 227858 h 5620867"/>
              <a:gd name="connsiteX16" fmla="*/ 2984750 w 9529384"/>
              <a:gd name="connsiteY16" fmla="*/ 211313 h 5620867"/>
              <a:gd name="connsiteX17" fmla="*/ 3109794 w 9529384"/>
              <a:gd name="connsiteY17" fmla="*/ 159727 h 5620867"/>
              <a:gd name="connsiteX18" fmla="*/ 3557687 w 9529384"/>
              <a:gd name="connsiteY18" fmla="*/ 0 h 5620867"/>
              <a:gd name="connsiteX19" fmla="*/ 3379913 w 9529384"/>
              <a:gd name="connsiteY19" fmla="*/ 21812 h 5620867"/>
              <a:gd name="connsiteX20" fmla="*/ 2979550 w 9529384"/>
              <a:gd name="connsiteY20" fmla="*/ 165203 h 5620867"/>
              <a:gd name="connsiteX21" fmla="*/ 1738365 w 9529384"/>
              <a:gd name="connsiteY21" fmla="*/ 155155 h 5620867"/>
              <a:gd name="connsiteX22" fmla="*/ 0 w 9529384"/>
              <a:gd name="connsiteY22" fmla="*/ 516896 h 5620867"/>
              <a:gd name="connsiteX23" fmla="*/ 1153787 w 9529384"/>
              <a:gd name="connsiteY23" fmla="*/ 936562 h 5620867"/>
              <a:gd name="connsiteX24" fmla="*/ 2376139 w 9529384"/>
              <a:gd name="connsiteY24" fmla="*/ 2158914 h 5620867"/>
              <a:gd name="connsiteX25" fmla="*/ 3003275 w 9529384"/>
              <a:gd name="connsiteY25" fmla="*/ 2017647 h 5620867"/>
              <a:gd name="connsiteX26" fmla="*/ 3799458 w 9529384"/>
              <a:gd name="connsiteY26" fmla="*/ 2750585 h 5620867"/>
              <a:gd name="connsiteX27" fmla="*/ 4757598 w 9529384"/>
              <a:gd name="connsiteY27" fmla="*/ 2512971 h 5620867"/>
              <a:gd name="connsiteX28" fmla="*/ 7518532 w 9529384"/>
              <a:gd name="connsiteY28" fmla="*/ 5196472 h 5620867"/>
              <a:gd name="connsiteX29" fmla="*/ 6370655 w 9529384"/>
              <a:gd name="connsiteY29" fmla="*/ 5531023 h 5620867"/>
              <a:gd name="connsiteX30" fmla="*/ 6482960 w 9529384"/>
              <a:gd name="connsiteY30" fmla="*/ 5620867 h 5620867"/>
              <a:gd name="connsiteX0" fmla="*/ 6482960 w 9529384"/>
              <a:gd name="connsiteY0" fmla="*/ 5599055 h 5599055"/>
              <a:gd name="connsiteX1" fmla="*/ 7756146 w 9529384"/>
              <a:gd name="connsiteY1" fmla="*/ 5239679 h 5599055"/>
              <a:gd name="connsiteX2" fmla="*/ 6732395 w 9529384"/>
              <a:gd name="connsiteY2" fmla="*/ 4183420 h 5599055"/>
              <a:gd name="connsiteX3" fmla="*/ 9529384 w 9529384"/>
              <a:gd name="connsiteY3" fmla="*/ 3624192 h 5599055"/>
              <a:gd name="connsiteX4" fmla="*/ 9385161 w 9529384"/>
              <a:gd name="connsiteY4" fmla="*/ 3529686 h 5599055"/>
              <a:gd name="connsiteX5" fmla="*/ 6568667 w 9529384"/>
              <a:gd name="connsiteY5" fmla="*/ 4062248 h 5599055"/>
              <a:gd name="connsiteX6" fmla="*/ 4762919 w 9529384"/>
              <a:gd name="connsiteY6" fmla="*/ 2343980 h 5599055"/>
              <a:gd name="connsiteX7" fmla="*/ 3791775 w 9529384"/>
              <a:gd name="connsiteY7" fmla="*/ 2576866 h 5599055"/>
              <a:gd name="connsiteX8" fmla="*/ 3054698 w 9529384"/>
              <a:gd name="connsiteY8" fmla="*/ 1857522 h 5599055"/>
              <a:gd name="connsiteX9" fmla="*/ 2388552 w 9529384"/>
              <a:gd name="connsiteY9" fmla="*/ 1999381 h 5599055"/>
              <a:gd name="connsiteX10" fmla="*/ 1201665 w 9529384"/>
              <a:gd name="connsiteY10" fmla="*/ 794761 h 5599055"/>
              <a:gd name="connsiteX11" fmla="*/ 323320 w 9529384"/>
              <a:gd name="connsiteY11" fmla="*/ 515180 h 5599055"/>
              <a:gd name="connsiteX12" fmla="*/ 599354 w 9529384"/>
              <a:gd name="connsiteY12" fmla="*/ 442477 h 5599055"/>
              <a:gd name="connsiteX13" fmla="*/ 981783 w 9529384"/>
              <a:gd name="connsiteY13" fmla="*/ 506905 h 5599055"/>
              <a:gd name="connsiteX14" fmla="*/ 1475335 w 9529384"/>
              <a:gd name="connsiteY14" fmla="*/ 267814 h 5599055"/>
              <a:gd name="connsiteX15" fmla="*/ 1750778 w 9529384"/>
              <a:gd name="connsiteY15" fmla="*/ 206046 h 5599055"/>
              <a:gd name="connsiteX16" fmla="*/ 2984750 w 9529384"/>
              <a:gd name="connsiteY16" fmla="*/ 189501 h 5599055"/>
              <a:gd name="connsiteX17" fmla="*/ 3109794 w 9529384"/>
              <a:gd name="connsiteY17" fmla="*/ 137915 h 5599055"/>
              <a:gd name="connsiteX18" fmla="*/ 3510017 w 9529384"/>
              <a:gd name="connsiteY18" fmla="*/ 160202 h 5599055"/>
              <a:gd name="connsiteX19" fmla="*/ 3379913 w 9529384"/>
              <a:gd name="connsiteY19" fmla="*/ 0 h 5599055"/>
              <a:gd name="connsiteX20" fmla="*/ 2979550 w 9529384"/>
              <a:gd name="connsiteY20" fmla="*/ 143391 h 5599055"/>
              <a:gd name="connsiteX21" fmla="*/ 1738365 w 9529384"/>
              <a:gd name="connsiteY21" fmla="*/ 133343 h 5599055"/>
              <a:gd name="connsiteX22" fmla="*/ 0 w 9529384"/>
              <a:gd name="connsiteY22" fmla="*/ 495084 h 5599055"/>
              <a:gd name="connsiteX23" fmla="*/ 1153787 w 9529384"/>
              <a:gd name="connsiteY23" fmla="*/ 914750 h 5599055"/>
              <a:gd name="connsiteX24" fmla="*/ 2376139 w 9529384"/>
              <a:gd name="connsiteY24" fmla="*/ 2137102 h 5599055"/>
              <a:gd name="connsiteX25" fmla="*/ 3003275 w 9529384"/>
              <a:gd name="connsiteY25" fmla="*/ 1995835 h 5599055"/>
              <a:gd name="connsiteX26" fmla="*/ 3799458 w 9529384"/>
              <a:gd name="connsiteY26" fmla="*/ 2728773 h 5599055"/>
              <a:gd name="connsiteX27" fmla="*/ 4757598 w 9529384"/>
              <a:gd name="connsiteY27" fmla="*/ 2491159 h 5599055"/>
              <a:gd name="connsiteX28" fmla="*/ 7518532 w 9529384"/>
              <a:gd name="connsiteY28" fmla="*/ 5174660 h 5599055"/>
              <a:gd name="connsiteX29" fmla="*/ 6370655 w 9529384"/>
              <a:gd name="connsiteY29" fmla="*/ 5509211 h 5599055"/>
              <a:gd name="connsiteX30" fmla="*/ 6482960 w 9529384"/>
              <a:gd name="connsiteY30" fmla="*/ 5599055 h 5599055"/>
              <a:gd name="connsiteX0" fmla="*/ 6482960 w 9529384"/>
              <a:gd name="connsiteY0" fmla="*/ 5599055 h 5599055"/>
              <a:gd name="connsiteX1" fmla="*/ 7756146 w 9529384"/>
              <a:gd name="connsiteY1" fmla="*/ 5239679 h 5599055"/>
              <a:gd name="connsiteX2" fmla="*/ 6732395 w 9529384"/>
              <a:gd name="connsiteY2" fmla="*/ 4183420 h 5599055"/>
              <a:gd name="connsiteX3" fmla="*/ 9529384 w 9529384"/>
              <a:gd name="connsiteY3" fmla="*/ 3624192 h 5599055"/>
              <a:gd name="connsiteX4" fmla="*/ 9385161 w 9529384"/>
              <a:gd name="connsiteY4" fmla="*/ 3529686 h 5599055"/>
              <a:gd name="connsiteX5" fmla="*/ 6568667 w 9529384"/>
              <a:gd name="connsiteY5" fmla="*/ 4062248 h 5599055"/>
              <a:gd name="connsiteX6" fmla="*/ 4762919 w 9529384"/>
              <a:gd name="connsiteY6" fmla="*/ 2343980 h 5599055"/>
              <a:gd name="connsiteX7" fmla="*/ 3791775 w 9529384"/>
              <a:gd name="connsiteY7" fmla="*/ 2576866 h 5599055"/>
              <a:gd name="connsiteX8" fmla="*/ 3054698 w 9529384"/>
              <a:gd name="connsiteY8" fmla="*/ 1857522 h 5599055"/>
              <a:gd name="connsiteX9" fmla="*/ 2388552 w 9529384"/>
              <a:gd name="connsiteY9" fmla="*/ 1999381 h 5599055"/>
              <a:gd name="connsiteX10" fmla="*/ 1201665 w 9529384"/>
              <a:gd name="connsiteY10" fmla="*/ 794761 h 5599055"/>
              <a:gd name="connsiteX11" fmla="*/ 323320 w 9529384"/>
              <a:gd name="connsiteY11" fmla="*/ 515180 h 5599055"/>
              <a:gd name="connsiteX12" fmla="*/ 599354 w 9529384"/>
              <a:gd name="connsiteY12" fmla="*/ 442477 h 5599055"/>
              <a:gd name="connsiteX13" fmla="*/ 981783 w 9529384"/>
              <a:gd name="connsiteY13" fmla="*/ 506905 h 5599055"/>
              <a:gd name="connsiteX14" fmla="*/ 1475335 w 9529384"/>
              <a:gd name="connsiteY14" fmla="*/ 267814 h 5599055"/>
              <a:gd name="connsiteX15" fmla="*/ 1750778 w 9529384"/>
              <a:gd name="connsiteY15" fmla="*/ 206046 h 5599055"/>
              <a:gd name="connsiteX16" fmla="*/ 2984750 w 9529384"/>
              <a:gd name="connsiteY16" fmla="*/ 189501 h 5599055"/>
              <a:gd name="connsiteX17" fmla="*/ 3127128 w 9529384"/>
              <a:gd name="connsiteY17" fmla="*/ 142249 h 5599055"/>
              <a:gd name="connsiteX18" fmla="*/ 3510017 w 9529384"/>
              <a:gd name="connsiteY18" fmla="*/ 160202 h 5599055"/>
              <a:gd name="connsiteX19" fmla="*/ 3379913 w 9529384"/>
              <a:gd name="connsiteY19" fmla="*/ 0 h 5599055"/>
              <a:gd name="connsiteX20" fmla="*/ 2979550 w 9529384"/>
              <a:gd name="connsiteY20" fmla="*/ 143391 h 5599055"/>
              <a:gd name="connsiteX21" fmla="*/ 1738365 w 9529384"/>
              <a:gd name="connsiteY21" fmla="*/ 133343 h 5599055"/>
              <a:gd name="connsiteX22" fmla="*/ 0 w 9529384"/>
              <a:gd name="connsiteY22" fmla="*/ 495084 h 5599055"/>
              <a:gd name="connsiteX23" fmla="*/ 1153787 w 9529384"/>
              <a:gd name="connsiteY23" fmla="*/ 914750 h 5599055"/>
              <a:gd name="connsiteX24" fmla="*/ 2376139 w 9529384"/>
              <a:gd name="connsiteY24" fmla="*/ 2137102 h 5599055"/>
              <a:gd name="connsiteX25" fmla="*/ 3003275 w 9529384"/>
              <a:gd name="connsiteY25" fmla="*/ 1995835 h 5599055"/>
              <a:gd name="connsiteX26" fmla="*/ 3799458 w 9529384"/>
              <a:gd name="connsiteY26" fmla="*/ 2728773 h 5599055"/>
              <a:gd name="connsiteX27" fmla="*/ 4757598 w 9529384"/>
              <a:gd name="connsiteY27" fmla="*/ 2491159 h 5599055"/>
              <a:gd name="connsiteX28" fmla="*/ 7518532 w 9529384"/>
              <a:gd name="connsiteY28" fmla="*/ 5174660 h 5599055"/>
              <a:gd name="connsiteX29" fmla="*/ 6370655 w 9529384"/>
              <a:gd name="connsiteY29" fmla="*/ 5509211 h 5599055"/>
              <a:gd name="connsiteX30" fmla="*/ 6482960 w 9529384"/>
              <a:gd name="connsiteY30" fmla="*/ 5599055 h 5599055"/>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91775 w 9529384"/>
              <a:gd name="connsiteY7" fmla="*/ 2477192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981783 w 9529384"/>
              <a:gd name="connsiteY13" fmla="*/ 407231 h 5499381"/>
              <a:gd name="connsiteX14" fmla="*/ 1475335 w 9529384"/>
              <a:gd name="connsiteY14" fmla="*/ 168140 h 5499381"/>
              <a:gd name="connsiteX15" fmla="*/ 1750778 w 9529384"/>
              <a:gd name="connsiteY15" fmla="*/ 106372 h 5499381"/>
              <a:gd name="connsiteX16" fmla="*/ 2984750 w 9529384"/>
              <a:gd name="connsiteY16" fmla="*/ 89827 h 5499381"/>
              <a:gd name="connsiteX17" fmla="*/ 3127128 w 9529384"/>
              <a:gd name="connsiteY17" fmla="*/ 42575 h 5499381"/>
              <a:gd name="connsiteX18" fmla="*/ 3510017 w 9529384"/>
              <a:gd name="connsiteY18" fmla="*/ 60528 h 5499381"/>
              <a:gd name="connsiteX19" fmla="*/ 3115560 w 9529384"/>
              <a:gd name="connsiteY19" fmla="*/ 0 h 5499381"/>
              <a:gd name="connsiteX20" fmla="*/ 2979550 w 9529384"/>
              <a:gd name="connsiteY20" fmla="*/ 43717 h 5499381"/>
              <a:gd name="connsiteX21" fmla="*/ 1738365 w 9529384"/>
              <a:gd name="connsiteY21" fmla="*/ 33669 h 5499381"/>
              <a:gd name="connsiteX22" fmla="*/ 0 w 9529384"/>
              <a:gd name="connsiteY22" fmla="*/ 395410 h 5499381"/>
              <a:gd name="connsiteX23" fmla="*/ 1153787 w 9529384"/>
              <a:gd name="connsiteY23" fmla="*/ 815076 h 5499381"/>
              <a:gd name="connsiteX24" fmla="*/ 2376139 w 9529384"/>
              <a:gd name="connsiteY24" fmla="*/ 2037428 h 5499381"/>
              <a:gd name="connsiteX25" fmla="*/ 3003275 w 9529384"/>
              <a:gd name="connsiteY25" fmla="*/ 1896161 h 5499381"/>
              <a:gd name="connsiteX26" fmla="*/ 3799458 w 9529384"/>
              <a:gd name="connsiteY26" fmla="*/ 2629099 h 5499381"/>
              <a:gd name="connsiteX27" fmla="*/ 4757598 w 9529384"/>
              <a:gd name="connsiteY27" fmla="*/ 2391485 h 5499381"/>
              <a:gd name="connsiteX28" fmla="*/ 7518532 w 9529384"/>
              <a:gd name="connsiteY28" fmla="*/ 5074986 h 5499381"/>
              <a:gd name="connsiteX29" fmla="*/ 6370655 w 9529384"/>
              <a:gd name="connsiteY29" fmla="*/ 5409537 h 5499381"/>
              <a:gd name="connsiteX30" fmla="*/ 6482960 w 9529384"/>
              <a:gd name="connsiteY30"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91775 w 9529384"/>
              <a:gd name="connsiteY7" fmla="*/ 2477192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981783 w 9529384"/>
              <a:gd name="connsiteY13" fmla="*/ 407231 h 5499381"/>
              <a:gd name="connsiteX14" fmla="*/ 1475335 w 9529384"/>
              <a:gd name="connsiteY14" fmla="*/ 168140 h 5499381"/>
              <a:gd name="connsiteX15" fmla="*/ 1750778 w 9529384"/>
              <a:gd name="connsiteY15" fmla="*/ 106372 h 5499381"/>
              <a:gd name="connsiteX16" fmla="*/ 2984750 w 9529384"/>
              <a:gd name="connsiteY16" fmla="*/ 89827 h 5499381"/>
              <a:gd name="connsiteX17" fmla="*/ 3127128 w 9529384"/>
              <a:gd name="connsiteY17" fmla="*/ 42575 h 5499381"/>
              <a:gd name="connsiteX18" fmla="*/ 3510017 w 9529384"/>
              <a:gd name="connsiteY18" fmla="*/ 60528 h 5499381"/>
              <a:gd name="connsiteX19" fmla="*/ 3537497 w 9529384"/>
              <a:gd name="connsiteY19" fmla="*/ 14788 h 5499381"/>
              <a:gd name="connsiteX20" fmla="*/ 3115560 w 9529384"/>
              <a:gd name="connsiteY20" fmla="*/ 0 h 5499381"/>
              <a:gd name="connsiteX21" fmla="*/ 2979550 w 9529384"/>
              <a:gd name="connsiteY21" fmla="*/ 43717 h 5499381"/>
              <a:gd name="connsiteX22" fmla="*/ 1738365 w 9529384"/>
              <a:gd name="connsiteY22" fmla="*/ 33669 h 5499381"/>
              <a:gd name="connsiteX23" fmla="*/ 0 w 9529384"/>
              <a:gd name="connsiteY23" fmla="*/ 395410 h 5499381"/>
              <a:gd name="connsiteX24" fmla="*/ 1153787 w 9529384"/>
              <a:gd name="connsiteY24" fmla="*/ 815076 h 5499381"/>
              <a:gd name="connsiteX25" fmla="*/ 2376139 w 9529384"/>
              <a:gd name="connsiteY25" fmla="*/ 2037428 h 5499381"/>
              <a:gd name="connsiteX26" fmla="*/ 3003275 w 9529384"/>
              <a:gd name="connsiteY26" fmla="*/ 1896161 h 5499381"/>
              <a:gd name="connsiteX27" fmla="*/ 3799458 w 9529384"/>
              <a:gd name="connsiteY27" fmla="*/ 2629099 h 5499381"/>
              <a:gd name="connsiteX28" fmla="*/ 4757598 w 9529384"/>
              <a:gd name="connsiteY28" fmla="*/ 2391485 h 5499381"/>
              <a:gd name="connsiteX29" fmla="*/ 7518532 w 9529384"/>
              <a:gd name="connsiteY29" fmla="*/ 5074986 h 5499381"/>
              <a:gd name="connsiteX30" fmla="*/ 6370655 w 9529384"/>
              <a:gd name="connsiteY30" fmla="*/ 5409537 h 5499381"/>
              <a:gd name="connsiteX31" fmla="*/ 6482960 w 9529384"/>
              <a:gd name="connsiteY31"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91775 w 9529384"/>
              <a:gd name="connsiteY7" fmla="*/ 2477192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981783 w 9529384"/>
              <a:gd name="connsiteY13" fmla="*/ 407231 h 5499381"/>
              <a:gd name="connsiteX14" fmla="*/ 1475335 w 9529384"/>
              <a:gd name="connsiteY14" fmla="*/ 168140 h 5499381"/>
              <a:gd name="connsiteX15" fmla="*/ 1750778 w 9529384"/>
              <a:gd name="connsiteY15" fmla="*/ 106372 h 5499381"/>
              <a:gd name="connsiteX16" fmla="*/ 2984750 w 9529384"/>
              <a:gd name="connsiteY16" fmla="*/ 89827 h 5499381"/>
              <a:gd name="connsiteX17" fmla="*/ 3127128 w 9529384"/>
              <a:gd name="connsiteY17" fmla="*/ 42575 h 5499381"/>
              <a:gd name="connsiteX18" fmla="*/ 3510017 w 9529384"/>
              <a:gd name="connsiteY18" fmla="*/ 60528 h 5499381"/>
              <a:gd name="connsiteX19" fmla="*/ 3845186 w 9529384"/>
              <a:gd name="connsiteY19" fmla="*/ 75459 h 5499381"/>
              <a:gd name="connsiteX20" fmla="*/ 3115560 w 9529384"/>
              <a:gd name="connsiteY20" fmla="*/ 0 h 5499381"/>
              <a:gd name="connsiteX21" fmla="*/ 2979550 w 9529384"/>
              <a:gd name="connsiteY21" fmla="*/ 43717 h 5499381"/>
              <a:gd name="connsiteX22" fmla="*/ 1738365 w 9529384"/>
              <a:gd name="connsiteY22" fmla="*/ 33669 h 5499381"/>
              <a:gd name="connsiteX23" fmla="*/ 0 w 9529384"/>
              <a:gd name="connsiteY23" fmla="*/ 395410 h 5499381"/>
              <a:gd name="connsiteX24" fmla="*/ 1153787 w 9529384"/>
              <a:gd name="connsiteY24" fmla="*/ 815076 h 5499381"/>
              <a:gd name="connsiteX25" fmla="*/ 2376139 w 9529384"/>
              <a:gd name="connsiteY25" fmla="*/ 2037428 h 5499381"/>
              <a:gd name="connsiteX26" fmla="*/ 3003275 w 9529384"/>
              <a:gd name="connsiteY26" fmla="*/ 1896161 h 5499381"/>
              <a:gd name="connsiteX27" fmla="*/ 3799458 w 9529384"/>
              <a:gd name="connsiteY27" fmla="*/ 2629099 h 5499381"/>
              <a:gd name="connsiteX28" fmla="*/ 4757598 w 9529384"/>
              <a:gd name="connsiteY28" fmla="*/ 2391485 h 5499381"/>
              <a:gd name="connsiteX29" fmla="*/ 7518532 w 9529384"/>
              <a:gd name="connsiteY29" fmla="*/ 5074986 h 5499381"/>
              <a:gd name="connsiteX30" fmla="*/ 6370655 w 9529384"/>
              <a:gd name="connsiteY30" fmla="*/ 5409537 h 5499381"/>
              <a:gd name="connsiteX31" fmla="*/ 6482960 w 9529384"/>
              <a:gd name="connsiteY31"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91775 w 9529384"/>
              <a:gd name="connsiteY7" fmla="*/ 2477192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981783 w 9529384"/>
              <a:gd name="connsiteY13" fmla="*/ 407231 h 5499381"/>
              <a:gd name="connsiteX14" fmla="*/ 1475335 w 9529384"/>
              <a:gd name="connsiteY14" fmla="*/ 168140 h 5499381"/>
              <a:gd name="connsiteX15" fmla="*/ 1750778 w 9529384"/>
              <a:gd name="connsiteY15" fmla="*/ 106372 h 5499381"/>
              <a:gd name="connsiteX16" fmla="*/ 2984750 w 9529384"/>
              <a:gd name="connsiteY16" fmla="*/ 89827 h 5499381"/>
              <a:gd name="connsiteX17" fmla="*/ 3127128 w 9529384"/>
              <a:gd name="connsiteY17" fmla="*/ 42575 h 5499381"/>
              <a:gd name="connsiteX18" fmla="*/ 3510017 w 9529384"/>
              <a:gd name="connsiteY18" fmla="*/ 60528 h 5499381"/>
              <a:gd name="connsiteX19" fmla="*/ 3845186 w 9529384"/>
              <a:gd name="connsiteY19" fmla="*/ 75459 h 5499381"/>
              <a:gd name="connsiteX20" fmla="*/ 3507161 w 9529384"/>
              <a:gd name="connsiteY20" fmla="*/ 14788 h 5499381"/>
              <a:gd name="connsiteX21" fmla="*/ 3115560 w 9529384"/>
              <a:gd name="connsiteY21" fmla="*/ 0 h 5499381"/>
              <a:gd name="connsiteX22" fmla="*/ 2979550 w 9529384"/>
              <a:gd name="connsiteY22" fmla="*/ 43717 h 5499381"/>
              <a:gd name="connsiteX23" fmla="*/ 1738365 w 9529384"/>
              <a:gd name="connsiteY23" fmla="*/ 33669 h 5499381"/>
              <a:gd name="connsiteX24" fmla="*/ 0 w 9529384"/>
              <a:gd name="connsiteY24" fmla="*/ 395410 h 5499381"/>
              <a:gd name="connsiteX25" fmla="*/ 1153787 w 9529384"/>
              <a:gd name="connsiteY25" fmla="*/ 815076 h 5499381"/>
              <a:gd name="connsiteX26" fmla="*/ 2376139 w 9529384"/>
              <a:gd name="connsiteY26" fmla="*/ 2037428 h 5499381"/>
              <a:gd name="connsiteX27" fmla="*/ 3003275 w 9529384"/>
              <a:gd name="connsiteY27" fmla="*/ 1896161 h 5499381"/>
              <a:gd name="connsiteX28" fmla="*/ 3799458 w 9529384"/>
              <a:gd name="connsiteY28" fmla="*/ 2629099 h 5499381"/>
              <a:gd name="connsiteX29" fmla="*/ 4757598 w 9529384"/>
              <a:gd name="connsiteY29" fmla="*/ 2391485 h 5499381"/>
              <a:gd name="connsiteX30" fmla="*/ 7518532 w 9529384"/>
              <a:gd name="connsiteY30" fmla="*/ 5074986 h 5499381"/>
              <a:gd name="connsiteX31" fmla="*/ 6370655 w 9529384"/>
              <a:gd name="connsiteY31" fmla="*/ 5409537 h 5499381"/>
              <a:gd name="connsiteX32" fmla="*/ 6482960 w 9529384"/>
              <a:gd name="connsiteY32"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91775 w 9529384"/>
              <a:gd name="connsiteY7" fmla="*/ 2477192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981783 w 9529384"/>
              <a:gd name="connsiteY13" fmla="*/ 407231 h 5499381"/>
              <a:gd name="connsiteX14" fmla="*/ 1475335 w 9529384"/>
              <a:gd name="connsiteY14" fmla="*/ 168140 h 5499381"/>
              <a:gd name="connsiteX15" fmla="*/ 1750778 w 9529384"/>
              <a:gd name="connsiteY15" fmla="*/ 106372 h 5499381"/>
              <a:gd name="connsiteX16" fmla="*/ 2984750 w 9529384"/>
              <a:gd name="connsiteY16" fmla="*/ 89827 h 5499381"/>
              <a:gd name="connsiteX17" fmla="*/ 3127128 w 9529384"/>
              <a:gd name="connsiteY17" fmla="*/ 42575 h 5499381"/>
              <a:gd name="connsiteX18" fmla="*/ 3510017 w 9529384"/>
              <a:gd name="connsiteY18" fmla="*/ 60528 h 5499381"/>
              <a:gd name="connsiteX19" fmla="*/ 3814850 w 9529384"/>
              <a:gd name="connsiteY19" fmla="*/ 97127 h 5499381"/>
              <a:gd name="connsiteX20" fmla="*/ 3845186 w 9529384"/>
              <a:gd name="connsiteY20" fmla="*/ 75459 h 5499381"/>
              <a:gd name="connsiteX21" fmla="*/ 3507161 w 9529384"/>
              <a:gd name="connsiteY21" fmla="*/ 14788 h 5499381"/>
              <a:gd name="connsiteX22" fmla="*/ 3115560 w 9529384"/>
              <a:gd name="connsiteY22" fmla="*/ 0 h 5499381"/>
              <a:gd name="connsiteX23" fmla="*/ 2979550 w 9529384"/>
              <a:gd name="connsiteY23" fmla="*/ 43717 h 5499381"/>
              <a:gd name="connsiteX24" fmla="*/ 1738365 w 9529384"/>
              <a:gd name="connsiteY24" fmla="*/ 33669 h 5499381"/>
              <a:gd name="connsiteX25" fmla="*/ 0 w 9529384"/>
              <a:gd name="connsiteY25" fmla="*/ 395410 h 5499381"/>
              <a:gd name="connsiteX26" fmla="*/ 1153787 w 9529384"/>
              <a:gd name="connsiteY26" fmla="*/ 815076 h 5499381"/>
              <a:gd name="connsiteX27" fmla="*/ 2376139 w 9529384"/>
              <a:gd name="connsiteY27" fmla="*/ 2037428 h 5499381"/>
              <a:gd name="connsiteX28" fmla="*/ 3003275 w 9529384"/>
              <a:gd name="connsiteY28" fmla="*/ 1896161 h 5499381"/>
              <a:gd name="connsiteX29" fmla="*/ 3799458 w 9529384"/>
              <a:gd name="connsiteY29" fmla="*/ 2629099 h 5499381"/>
              <a:gd name="connsiteX30" fmla="*/ 4757598 w 9529384"/>
              <a:gd name="connsiteY30" fmla="*/ 2391485 h 5499381"/>
              <a:gd name="connsiteX31" fmla="*/ 7518532 w 9529384"/>
              <a:gd name="connsiteY31" fmla="*/ 5074986 h 5499381"/>
              <a:gd name="connsiteX32" fmla="*/ 6370655 w 9529384"/>
              <a:gd name="connsiteY32" fmla="*/ 5409537 h 5499381"/>
              <a:gd name="connsiteX33" fmla="*/ 6482960 w 9529384"/>
              <a:gd name="connsiteY33"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91775 w 9529384"/>
              <a:gd name="connsiteY7" fmla="*/ 2477192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981783 w 9529384"/>
              <a:gd name="connsiteY13" fmla="*/ 407231 h 5499381"/>
              <a:gd name="connsiteX14" fmla="*/ 1475335 w 9529384"/>
              <a:gd name="connsiteY14" fmla="*/ 168140 h 5499381"/>
              <a:gd name="connsiteX15" fmla="*/ 1750778 w 9529384"/>
              <a:gd name="connsiteY15" fmla="*/ 106372 h 5499381"/>
              <a:gd name="connsiteX16" fmla="*/ 2984750 w 9529384"/>
              <a:gd name="connsiteY16" fmla="*/ 89827 h 5499381"/>
              <a:gd name="connsiteX17" fmla="*/ 3127128 w 9529384"/>
              <a:gd name="connsiteY17" fmla="*/ 42575 h 5499381"/>
              <a:gd name="connsiteX18" fmla="*/ 3505683 w 9529384"/>
              <a:gd name="connsiteY18" fmla="*/ 47527 h 5499381"/>
              <a:gd name="connsiteX19" fmla="*/ 3814850 w 9529384"/>
              <a:gd name="connsiteY19" fmla="*/ 97127 h 5499381"/>
              <a:gd name="connsiteX20" fmla="*/ 3845186 w 9529384"/>
              <a:gd name="connsiteY20" fmla="*/ 75459 h 5499381"/>
              <a:gd name="connsiteX21" fmla="*/ 3507161 w 9529384"/>
              <a:gd name="connsiteY21" fmla="*/ 14788 h 5499381"/>
              <a:gd name="connsiteX22" fmla="*/ 3115560 w 9529384"/>
              <a:gd name="connsiteY22" fmla="*/ 0 h 5499381"/>
              <a:gd name="connsiteX23" fmla="*/ 2979550 w 9529384"/>
              <a:gd name="connsiteY23" fmla="*/ 43717 h 5499381"/>
              <a:gd name="connsiteX24" fmla="*/ 1738365 w 9529384"/>
              <a:gd name="connsiteY24" fmla="*/ 33669 h 5499381"/>
              <a:gd name="connsiteX25" fmla="*/ 0 w 9529384"/>
              <a:gd name="connsiteY25" fmla="*/ 395410 h 5499381"/>
              <a:gd name="connsiteX26" fmla="*/ 1153787 w 9529384"/>
              <a:gd name="connsiteY26" fmla="*/ 815076 h 5499381"/>
              <a:gd name="connsiteX27" fmla="*/ 2376139 w 9529384"/>
              <a:gd name="connsiteY27" fmla="*/ 2037428 h 5499381"/>
              <a:gd name="connsiteX28" fmla="*/ 3003275 w 9529384"/>
              <a:gd name="connsiteY28" fmla="*/ 1896161 h 5499381"/>
              <a:gd name="connsiteX29" fmla="*/ 3799458 w 9529384"/>
              <a:gd name="connsiteY29" fmla="*/ 2629099 h 5499381"/>
              <a:gd name="connsiteX30" fmla="*/ 4757598 w 9529384"/>
              <a:gd name="connsiteY30" fmla="*/ 2391485 h 5499381"/>
              <a:gd name="connsiteX31" fmla="*/ 7518532 w 9529384"/>
              <a:gd name="connsiteY31" fmla="*/ 5074986 h 5499381"/>
              <a:gd name="connsiteX32" fmla="*/ 6370655 w 9529384"/>
              <a:gd name="connsiteY32" fmla="*/ 5409537 h 5499381"/>
              <a:gd name="connsiteX33" fmla="*/ 6482960 w 9529384"/>
              <a:gd name="connsiteY33"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91775 w 9529384"/>
              <a:gd name="connsiteY7" fmla="*/ 2477192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981783 w 9529384"/>
              <a:gd name="connsiteY13" fmla="*/ 407231 h 5499381"/>
              <a:gd name="connsiteX14" fmla="*/ 1475335 w 9529384"/>
              <a:gd name="connsiteY14" fmla="*/ 168140 h 5499381"/>
              <a:gd name="connsiteX15" fmla="*/ 1750778 w 9529384"/>
              <a:gd name="connsiteY15" fmla="*/ 106372 h 5499381"/>
              <a:gd name="connsiteX16" fmla="*/ 2984750 w 9529384"/>
              <a:gd name="connsiteY16" fmla="*/ 89827 h 5499381"/>
              <a:gd name="connsiteX17" fmla="*/ 3127128 w 9529384"/>
              <a:gd name="connsiteY17" fmla="*/ 42575 h 5499381"/>
              <a:gd name="connsiteX18" fmla="*/ 3505683 w 9529384"/>
              <a:gd name="connsiteY18" fmla="*/ 47527 h 5499381"/>
              <a:gd name="connsiteX19" fmla="*/ 3814850 w 9529384"/>
              <a:gd name="connsiteY19" fmla="*/ 97127 h 5499381"/>
              <a:gd name="connsiteX20" fmla="*/ 3845186 w 9529384"/>
              <a:gd name="connsiteY20" fmla="*/ 75459 h 5499381"/>
              <a:gd name="connsiteX21" fmla="*/ 3507161 w 9529384"/>
              <a:gd name="connsiteY21" fmla="*/ 14788 h 5499381"/>
              <a:gd name="connsiteX22" fmla="*/ 3115560 w 9529384"/>
              <a:gd name="connsiteY22" fmla="*/ 0 h 5499381"/>
              <a:gd name="connsiteX23" fmla="*/ 2979550 w 9529384"/>
              <a:gd name="connsiteY23" fmla="*/ 43717 h 5499381"/>
              <a:gd name="connsiteX24" fmla="*/ 1738365 w 9529384"/>
              <a:gd name="connsiteY24" fmla="*/ 33669 h 5499381"/>
              <a:gd name="connsiteX25" fmla="*/ 0 w 9529384"/>
              <a:gd name="connsiteY25" fmla="*/ 395410 h 5499381"/>
              <a:gd name="connsiteX26" fmla="*/ 1153787 w 9529384"/>
              <a:gd name="connsiteY26" fmla="*/ 815076 h 5499381"/>
              <a:gd name="connsiteX27" fmla="*/ 2376139 w 9529384"/>
              <a:gd name="connsiteY27" fmla="*/ 2037428 h 5499381"/>
              <a:gd name="connsiteX28" fmla="*/ 3003275 w 9529384"/>
              <a:gd name="connsiteY28" fmla="*/ 1896161 h 5499381"/>
              <a:gd name="connsiteX29" fmla="*/ 3799458 w 9529384"/>
              <a:gd name="connsiteY29" fmla="*/ 2629099 h 5499381"/>
              <a:gd name="connsiteX30" fmla="*/ 4757598 w 9529384"/>
              <a:gd name="connsiteY30" fmla="*/ 2391485 h 5499381"/>
              <a:gd name="connsiteX31" fmla="*/ 7518532 w 9529384"/>
              <a:gd name="connsiteY31" fmla="*/ 5074986 h 5499381"/>
              <a:gd name="connsiteX32" fmla="*/ 6370655 w 9529384"/>
              <a:gd name="connsiteY32" fmla="*/ 5409537 h 5499381"/>
              <a:gd name="connsiteX33" fmla="*/ 6482960 w 9529384"/>
              <a:gd name="connsiteY33"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91775 w 9529384"/>
              <a:gd name="connsiteY7" fmla="*/ 2477192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981783 w 9529384"/>
              <a:gd name="connsiteY13" fmla="*/ 407231 h 5499381"/>
              <a:gd name="connsiteX14" fmla="*/ 1475335 w 9529384"/>
              <a:gd name="connsiteY14" fmla="*/ 168140 h 5499381"/>
              <a:gd name="connsiteX15" fmla="*/ 1750778 w 9529384"/>
              <a:gd name="connsiteY15" fmla="*/ 106372 h 5499381"/>
              <a:gd name="connsiteX16" fmla="*/ 2984750 w 9529384"/>
              <a:gd name="connsiteY16" fmla="*/ 89827 h 5499381"/>
              <a:gd name="connsiteX17" fmla="*/ 3127128 w 9529384"/>
              <a:gd name="connsiteY17" fmla="*/ 42575 h 5499381"/>
              <a:gd name="connsiteX18" fmla="*/ 3505683 w 9529384"/>
              <a:gd name="connsiteY18" fmla="*/ 47527 h 5499381"/>
              <a:gd name="connsiteX19" fmla="*/ 3814850 w 9529384"/>
              <a:gd name="connsiteY19" fmla="*/ 97127 h 5499381"/>
              <a:gd name="connsiteX20" fmla="*/ 3845186 w 9529384"/>
              <a:gd name="connsiteY20" fmla="*/ 75459 h 5499381"/>
              <a:gd name="connsiteX21" fmla="*/ 3507161 w 9529384"/>
              <a:gd name="connsiteY21" fmla="*/ 14788 h 5499381"/>
              <a:gd name="connsiteX22" fmla="*/ 3115560 w 9529384"/>
              <a:gd name="connsiteY22" fmla="*/ 0 h 5499381"/>
              <a:gd name="connsiteX23" fmla="*/ 2979550 w 9529384"/>
              <a:gd name="connsiteY23" fmla="*/ 43717 h 5499381"/>
              <a:gd name="connsiteX24" fmla="*/ 1738365 w 9529384"/>
              <a:gd name="connsiteY24" fmla="*/ 33669 h 5499381"/>
              <a:gd name="connsiteX25" fmla="*/ 0 w 9529384"/>
              <a:gd name="connsiteY25" fmla="*/ 395410 h 5499381"/>
              <a:gd name="connsiteX26" fmla="*/ 1153787 w 9529384"/>
              <a:gd name="connsiteY26" fmla="*/ 815076 h 5499381"/>
              <a:gd name="connsiteX27" fmla="*/ 2376139 w 9529384"/>
              <a:gd name="connsiteY27" fmla="*/ 2037428 h 5499381"/>
              <a:gd name="connsiteX28" fmla="*/ 3003275 w 9529384"/>
              <a:gd name="connsiteY28" fmla="*/ 1896161 h 5499381"/>
              <a:gd name="connsiteX29" fmla="*/ 3799458 w 9529384"/>
              <a:gd name="connsiteY29" fmla="*/ 2629099 h 5499381"/>
              <a:gd name="connsiteX30" fmla="*/ 4757598 w 9529384"/>
              <a:gd name="connsiteY30" fmla="*/ 2391485 h 5499381"/>
              <a:gd name="connsiteX31" fmla="*/ 7518532 w 9529384"/>
              <a:gd name="connsiteY31" fmla="*/ 5074986 h 5499381"/>
              <a:gd name="connsiteX32" fmla="*/ 6370655 w 9529384"/>
              <a:gd name="connsiteY32" fmla="*/ 5409537 h 5499381"/>
              <a:gd name="connsiteX33" fmla="*/ 6482960 w 9529384"/>
              <a:gd name="connsiteY33"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91775 w 9529384"/>
              <a:gd name="connsiteY7" fmla="*/ 2477192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981783 w 9529384"/>
              <a:gd name="connsiteY13" fmla="*/ 407231 h 5499381"/>
              <a:gd name="connsiteX14" fmla="*/ 1475335 w 9529384"/>
              <a:gd name="connsiteY14" fmla="*/ 168140 h 5499381"/>
              <a:gd name="connsiteX15" fmla="*/ 1750778 w 9529384"/>
              <a:gd name="connsiteY15" fmla="*/ 106372 h 5499381"/>
              <a:gd name="connsiteX16" fmla="*/ 2984750 w 9529384"/>
              <a:gd name="connsiteY16" fmla="*/ 89827 h 5499381"/>
              <a:gd name="connsiteX17" fmla="*/ 3127128 w 9529384"/>
              <a:gd name="connsiteY17" fmla="*/ 42575 h 5499381"/>
              <a:gd name="connsiteX18" fmla="*/ 3505683 w 9529384"/>
              <a:gd name="connsiteY18" fmla="*/ 47527 h 5499381"/>
              <a:gd name="connsiteX19" fmla="*/ 3814850 w 9529384"/>
              <a:gd name="connsiteY19" fmla="*/ 97127 h 5499381"/>
              <a:gd name="connsiteX20" fmla="*/ 3845186 w 9529384"/>
              <a:gd name="connsiteY20" fmla="*/ 75459 h 5499381"/>
              <a:gd name="connsiteX21" fmla="*/ 3507161 w 9529384"/>
              <a:gd name="connsiteY21" fmla="*/ 14788 h 5499381"/>
              <a:gd name="connsiteX22" fmla="*/ 3115560 w 9529384"/>
              <a:gd name="connsiteY22" fmla="*/ 0 h 5499381"/>
              <a:gd name="connsiteX23" fmla="*/ 2979550 w 9529384"/>
              <a:gd name="connsiteY23" fmla="*/ 43717 h 5499381"/>
              <a:gd name="connsiteX24" fmla="*/ 1738365 w 9529384"/>
              <a:gd name="connsiteY24" fmla="*/ 33669 h 5499381"/>
              <a:gd name="connsiteX25" fmla="*/ 0 w 9529384"/>
              <a:gd name="connsiteY25" fmla="*/ 395410 h 5499381"/>
              <a:gd name="connsiteX26" fmla="*/ 1153787 w 9529384"/>
              <a:gd name="connsiteY26" fmla="*/ 815076 h 5499381"/>
              <a:gd name="connsiteX27" fmla="*/ 2376139 w 9529384"/>
              <a:gd name="connsiteY27" fmla="*/ 2037428 h 5499381"/>
              <a:gd name="connsiteX28" fmla="*/ 3003275 w 9529384"/>
              <a:gd name="connsiteY28" fmla="*/ 1896161 h 5499381"/>
              <a:gd name="connsiteX29" fmla="*/ 3799458 w 9529384"/>
              <a:gd name="connsiteY29" fmla="*/ 2629099 h 5499381"/>
              <a:gd name="connsiteX30" fmla="*/ 4757598 w 9529384"/>
              <a:gd name="connsiteY30" fmla="*/ 2391485 h 5499381"/>
              <a:gd name="connsiteX31" fmla="*/ 7518532 w 9529384"/>
              <a:gd name="connsiteY31" fmla="*/ 5074986 h 5499381"/>
              <a:gd name="connsiteX32" fmla="*/ 6370655 w 9529384"/>
              <a:gd name="connsiteY32" fmla="*/ 5409537 h 5499381"/>
              <a:gd name="connsiteX33" fmla="*/ 6482960 w 9529384"/>
              <a:gd name="connsiteY33"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91775 w 9529384"/>
              <a:gd name="connsiteY7" fmla="*/ 2477192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981783 w 9529384"/>
              <a:gd name="connsiteY13" fmla="*/ 407231 h 5499381"/>
              <a:gd name="connsiteX14" fmla="*/ 1475335 w 9529384"/>
              <a:gd name="connsiteY14" fmla="*/ 168140 h 5499381"/>
              <a:gd name="connsiteX15" fmla="*/ 1750778 w 9529384"/>
              <a:gd name="connsiteY15" fmla="*/ 106372 h 5499381"/>
              <a:gd name="connsiteX16" fmla="*/ 2984750 w 9529384"/>
              <a:gd name="connsiteY16" fmla="*/ 89827 h 5499381"/>
              <a:gd name="connsiteX17" fmla="*/ 3127128 w 9529384"/>
              <a:gd name="connsiteY17" fmla="*/ 42575 h 5499381"/>
              <a:gd name="connsiteX18" fmla="*/ 3505683 w 9529384"/>
              <a:gd name="connsiteY18" fmla="*/ 47527 h 5499381"/>
              <a:gd name="connsiteX19" fmla="*/ 3814850 w 9529384"/>
              <a:gd name="connsiteY19" fmla="*/ 97127 h 5499381"/>
              <a:gd name="connsiteX20" fmla="*/ 3845186 w 9529384"/>
              <a:gd name="connsiteY20" fmla="*/ 75459 h 5499381"/>
              <a:gd name="connsiteX21" fmla="*/ 3507161 w 9529384"/>
              <a:gd name="connsiteY21" fmla="*/ 14788 h 5499381"/>
              <a:gd name="connsiteX22" fmla="*/ 3115560 w 9529384"/>
              <a:gd name="connsiteY22" fmla="*/ 0 h 5499381"/>
              <a:gd name="connsiteX23" fmla="*/ 2979550 w 9529384"/>
              <a:gd name="connsiteY23" fmla="*/ 43717 h 5499381"/>
              <a:gd name="connsiteX24" fmla="*/ 1738365 w 9529384"/>
              <a:gd name="connsiteY24" fmla="*/ 33669 h 5499381"/>
              <a:gd name="connsiteX25" fmla="*/ 0 w 9529384"/>
              <a:gd name="connsiteY25" fmla="*/ 395410 h 5499381"/>
              <a:gd name="connsiteX26" fmla="*/ 1153787 w 9529384"/>
              <a:gd name="connsiteY26" fmla="*/ 815076 h 5499381"/>
              <a:gd name="connsiteX27" fmla="*/ 2376139 w 9529384"/>
              <a:gd name="connsiteY27" fmla="*/ 2037428 h 5499381"/>
              <a:gd name="connsiteX28" fmla="*/ 3003275 w 9529384"/>
              <a:gd name="connsiteY28" fmla="*/ 1896161 h 5499381"/>
              <a:gd name="connsiteX29" fmla="*/ 3799458 w 9529384"/>
              <a:gd name="connsiteY29" fmla="*/ 2629099 h 5499381"/>
              <a:gd name="connsiteX30" fmla="*/ 4757598 w 9529384"/>
              <a:gd name="connsiteY30" fmla="*/ 2391485 h 5499381"/>
              <a:gd name="connsiteX31" fmla="*/ 7518532 w 9529384"/>
              <a:gd name="connsiteY31" fmla="*/ 5074986 h 5499381"/>
              <a:gd name="connsiteX32" fmla="*/ 6370655 w 9529384"/>
              <a:gd name="connsiteY32" fmla="*/ 5409537 h 5499381"/>
              <a:gd name="connsiteX33" fmla="*/ 6482960 w 9529384"/>
              <a:gd name="connsiteY33"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91775 w 9529384"/>
              <a:gd name="connsiteY7" fmla="*/ 2477192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981783 w 9529384"/>
              <a:gd name="connsiteY13" fmla="*/ 407231 h 5499381"/>
              <a:gd name="connsiteX14" fmla="*/ 1475335 w 9529384"/>
              <a:gd name="connsiteY14" fmla="*/ 168140 h 5499381"/>
              <a:gd name="connsiteX15" fmla="*/ 1750778 w 9529384"/>
              <a:gd name="connsiteY15" fmla="*/ 106372 h 5499381"/>
              <a:gd name="connsiteX16" fmla="*/ 2984750 w 9529384"/>
              <a:gd name="connsiteY16" fmla="*/ 89827 h 5499381"/>
              <a:gd name="connsiteX17" fmla="*/ 3127128 w 9529384"/>
              <a:gd name="connsiteY17" fmla="*/ 42575 h 5499381"/>
              <a:gd name="connsiteX18" fmla="*/ 3505683 w 9529384"/>
              <a:gd name="connsiteY18" fmla="*/ 47527 h 5499381"/>
              <a:gd name="connsiteX19" fmla="*/ 3814850 w 9529384"/>
              <a:gd name="connsiteY19" fmla="*/ 97127 h 5499381"/>
              <a:gd name="connsiteX20" fmla="*/ 3845186 w 9529384"/>
              <a:gd name="connsiteY20" fmla="*/ 75459 h 5499381"/>
              <a:gd name="connsiteX21" fmla="*/ 3507161 w 9529384"/>
              <a:gd name="connsiteY21" fmla="*/ 14788 h 5499381"/>
              <a:gd name="connsiteX22" fmla="*/ 3115560 w 9529384"/>
              <a:gd name="connsiteY22" fmla="*/ 0 h 5499381"/>
              <a:gd name="connsiteX23" fmla="*/ 2979550 w 9529384"/>
              <a:gd name="connsiteY23" fmla="*/ 43717 h 5499381"/>
              <a:gd name="connsiteX24" fmla="*/ 1738365 w 9529384"/>
              <a:gd name="connsiteY24" fmla="*/ 33669 h 5499381"/>
              <a:gd name="connsiteX25" fmla="*/ 0 w 9529384"/>
              <a:gd name="connsiteY25" fmla="*/ 395410 h 5499381"/>
              <a:gd name="connsiteX26" fmla="*/ 1153787 w 9529384"/>
              <a:gd name="connsiteY26" fmla="*/ 815076 h 5499381"/>
              <a:gd name="connsiteX27" fmla="*/ 2376139 w 9529384"/>
              <a:gd name="connsiteY27" fmla="*/ 2037428 h 5499381"/>
              <a:gd name="connsiteX28" fmla="*/ 3003275 w 9529384"/>
              <a:gd name="connsiteY28" fmla="*/ 1896161 h 5499381"/>
              <a:gd name="connsiteX29" fmla="*/ 3799458 w 9529384"/>
              <a:gd name="connsiteY29" fmla="*/ 2629099 h 5499381"/>
              <a:gd name="connsiteX30" fmla="*/ 4757598 w 9529384"/>
              <a:gd name="connsiteY30" fmla="*/ 2391485 h 5499381"/>
              <a:gd name="connsiteX31" fmla="*/ 7518532 w 9529384"/>
              <a:gd name="connsiteY31" fmla="*/ 5074986 h 5499381"/>
              <a:gd name="connsiteX32" fmla="*/ 6370655 w 9529384"/>
              <a:gd name="connsiteY32" fmla="*/ 5409537 h 5499381"/>
              <a:gd name="connsiteX33" fmla="*/ 6482960 w 9529384"/>
              <a:gd name="connsiteY33"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91775 w 9529384"/>
              <a:gd name="connsiteY7" fmla="*/ 2477192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981783 w 9529384"/>
              <a:gd name="connsiteY13" fmla="*/ 407231 h 5499381"/>
              <a:gd name="connsiteX14" fmla="*/ 1475335 w 9529384"/>
              <a:gd name="connsiteY14" fmla="*/ 168140 h 5499381"/>
              <a:gd name="connsiteX15" fmla="*/ 1750778 w 9529384"/>
              <a:gd name="connsiteY15" fmla="*/ 106372 h 5499381"/>
              <a:gd name="connsiteX16" fmla="*/ 2984750 w 9529384"/>
              <a:gd name="connsiteY16" fmla="*/ 89827 h 5499381"/>
              <a:gd name="connsiteX17" fmla="*/ 3127128 w 9529384"/>
              <a:gd name="connsiteY17" fmla="*/ 42575 h 5499381"/>
              <a:gd name="connsiteX18" fmla="*/ 3505683 w 9529384"/>
              <a:gd name="connsiteY18" fmla="*/ 47527 h 5499381"/>
              <a:gd name="connsiteX19" fmla="*/ 3814850 w 9529384"/>
              <a:gd name="connsiteY19" fmla="*/ 97127 h 5499381"/>
              <a:gd name="connsiteX20" fmla="*/ 3845186 w 9529384"/>
              <a:gd name="connsiteY20" fmla="*/ 75459 h 5499381"/>
              <a:gd name="connsiteX21" fmla="*/ 3507161 w 9529384"/>
              <a:gd name="connsiteY21" fmla="*/ 14788 h 5499381"/>
              <a:gd name="connsiteX22" fmla="*/ 3115560 w 9529384"/>
              <a:gd name="connsiteY22" fmla="*/ 0 h 5499381"/>
              <a:gd name="connsiteX23" fmla="*/ 2979550 w 9529384"/>
              <a:gd name="connsiteY23" fmla="*/ 43717 h 5499381"/>
              <a:gd name="connsiteX24" fmla="*/ 1738365 w 9529384"/>
              <a:gd name="connsiteY24" fmla="*/ 33669 h 5499381"/>
              <a:gd name="connsiteX25" fmla="*/ 0 w 9529384"/>
              <a:gd name="connsiteY25" fmla="*/ 395410 h 5499381"/>
              <a:gd name="connsiteX26" fmla="*/ 1153787 w 9529384"/>
              <a:gd name="connsiteY26" fmla="*/ 815076 h 5499381"/>
              <a:gd name="connsiteX27" fmla="*/ 2376139 w 9529384"/>
              <a:gd name="connsiteY27" fmla="*/ 2037428 h 5499381"/>
              <a:gd name="connsiteX28" fmla="*/ 3003275 w 9529384"/>
              <a:gd name="connsiteY28" fmla="*/ 1896161 h 5499381"/>
              <a:gd name="connsiteX29" fmla="*/ 3799458 w 9529384"/>
              <a:gd name="connsiteY29" fmla="*/ 2629099 h 5499381"/>
              <a:gd name="connsiteX30" fmla="*/ 4757598 w 9529384"/>
              <a:gd name="connsiteY30" fmla="*/ 2391485 h 5499381"/>
              <a:gd name="connsiteX31" fmla="*/ 7518532 w 9529384"/>
              <a:gd name="connsiteY31" fmla="*/ 5074986 h 5499381"/>
              <a:gd name="connsiteX32" fmla="*/ 6370655 w 9529384"/>
              <a:gd name="connsiteY32" fmla="*/ 5409537 h 5499381"/>
              <a:gd name="connsiteX33" fmla="*/ 6482960 w 9529384"/>
              <a:gd name="connsiteY33"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91775 w 9529384"/>
              <a:gd name="connsiteY7" fmla="*/ 2477192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1475335 w 9529384"/>
              <a:gd name="connsiteY13" fmla="*/ 168140 h 5499381"/>
              <a:gd name="connsiteX14" fmla="*/ 1750778 w 9529384"/>
              <a:gd name="connsiteY14" fmla="*/ 106372 h 5499381"/>
              <a:gd name="connsiteX15" fmla="*/ 2984750 w 9529384"/>
              <a:gd name="connsiteY15" fmla="*/ 89827 h 5499381"/>
              <a:gd name="connsiteX16" fmla="*/ 3127128 w 9529384"/>
              <a:gd name="connsiteY16" fmla="*/ 42575 h 5499381"/>
              <a:gd name="connsiteX17" fmla="*/ 3505683 w 9529384"/>
              <a:gd name="connsiteY17" fmla="*/ 47527 h 5499381"/>
              <a:gd name="connsiteX18" fmla="*/ 3814850 w 9529384"/>
              <a:gd name="connsiteY18" fmla="*/ 97127 h 5499381"/>
              <a:gd name="connsiteX19" fmla="*/ 3845186 w 9529384"/>
              <a:gd name="connsiteY19" fmla="*/ 75459 h 5499381"/>
              <a:gd name="connsiteX20" fmla="*/ 3507161 w 9529384"/>
              <a:gd name="connsiteY20" fmla="*/ 14788 h 5499381"/>
              <a:gd name="connsiteX21" fmla="*/ 3115560 w 9529384"/>
              <a:gd name="connsiteY21" fmla="*/ 0 h 5499381"/>
              <a:gd name="connsiteX22" fmla="*/ 2979550 w 9529384"/>
              <a:gd name="connsiteY22" fmla="*/ 43717 h 5499381"/>
              <a:gd name="connsiteX23" fmla="*/ 1738365 w 9529384"/>
              <a:gd name="connsiteY23" fmla="*/ 33669 h 5499381"/>
              <a:gd name="connsiteX24" fmla="*/ 0 w 9529384"/>
              <a:gd name="connsiteY24" fmla="*/ 395410 h 5499381"/>
              <a:gd name="connsiteX25" fmla="*/ 1153787 w 9529384"/>
              <a:gd name="connsiteY25" fmla="*/ 815076 h 5499381"/>
              <a:gd name="connsiteX26" fmla="*/ 2376139 w 9529384"/>
              <a:gd name="connsiteY26" fmla="*/ 2037428 h 5499381"/>
              <a:gd name="connsiteX27" fmla="*/ 3003275 w 9529384"/>
              <a:gd name="connsiteY27" fmla="*/ 1896161 h 5499381"/>
              <a:gd name="connsiteX28" fmla="*/ 3799458 w 9529384"/>
              <a:gd name="connsiteY28" fmla="*/ 2629099 h 5499381"/>
              <a:gd name="connsiteX29" fmla="*/ 4757598 w 9529384"/>
              <a:gd name="connsiteY29" fmla="*/ 2391485 h 5499381"/>
              <a:gd name="connsiteX30" fmla="*/ 7518532 w 9529384"/>
              <a:gd name="connsiteY30" fmla="*/ 5074986 h 5499381"/>
              <a:gd name="connsiteX31" fmla="*/ 6370655 w 9529384"/>
              <a:gd name="connsiteY31" fmla="*/ 5409537 h 5499381"/>
              <a:gd name="connsiteX32" fmla="*/ 6482960 w 9529384"/>
              <a:gd name="connsiteY32"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91775 w 9529384"/>
              <a:gd name="connsiteY7" fmla="*/ 2477192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1475335 w 9529384"/>
              <a:gd name="connsiteY13" fmla="*/ 168140 h 5499381"/>
              <a:gd name="connsiteX14" fmla="*/ 1750778 w 9529384"/>
              <a:gd name="connsiteY14" fmla="*/ 106372 h 5499381"/>
              <a:gd name="connsiteX15" fmla="*/ 2984750 w 9529384"/>
              <a:gd name="connsiteY15" fmla="*/ 89827 h 5499381"/>
              <a:gd name="connsiteX16" fmla="*/ 3127128 w 9529384"/>
              <a:gd name="connsiteY16" fmla="*/ 42575 h 5499381"/>
              <a:gd name="connsiteX17" fmla="*/ 3505683 w 9529384"/>
              <a:gd name="connsiteY17" fmla="*/ 47527 h 5499381"/>
              <a:gd name="connsiteX18" fmla="*/ 3814850 w 9529384"/>
              <a:gd name="connsiteY18" fmla="*/ 97127 h 5499381"/>
              <a:gd name="connsiteX19" fmla="*/ 3845186 w 9529384"/>
              <a:gd name="connsiteY19" fmla="*/ 75459 h 5499381"/>
              <a:gd name="connsiteX20" fmla="*/ 3507161 w 9529384"/>
              <a:gd name="connsiteY20" fmla="*/ 14788 h 5499381"/>
              <a:gd name="connsiteX21" fmla="*/ 3115560 w 9529384"/>
              <a:gd name="connsiteY21" fmla="*/ 0 h 5499381"/>
              <a:gd name="connsiteX22" fmla="*/ 2979550 w 9529384"/>
              <a:gd name="connsiteY22" fmla="*/ 43717 h 5499381"/>
              <a:gd name="connsiteX23" fmla="*/ 1738365 w 9529384"/>
              <a:gd name="connsiteY23" fmla="*/ 33669 h 5499381"/>
              <a:gd name="connsiteX24" fmla="*/ 0 w 9529384"/>
              <a:gd name="connsiteY24" fmla="*/ 395410 h 5499381"/>
              <a:gd name="connsiteX25" fmla="*/ 1153787 w 9529384"/>
              <a:gd name="connsiteY25" fmla="*/ 815076 h 5499381"/>
              <a:gd name="connsiteX26" fmla="*/ 2376139 w 9529384"/>
              <a:gd name="connsiteY26" fmla="*/ 2037428 h 5499381"/>
              <a:gd name="connsiteX27" fmla="*/ 3003275 w 9529384"/>
              <a:gd name="connsiteY27" fmla="*/ 1896161 h 5499381"/>
              <a:gd name="connsiteX28" fmla="*/ 3719170 w 9529384"/>
              <a:gd name="connsiteY28" fmla="*/ 2606796 h 5499381"/>
              <a:gd name="connsiteX29" fmla="*/ 4757598 w 9529384"/>
              <a:gd name="connsiteY29" fmla="*/ 2391485 h 5499381"/>
              <a:gd name="connsiteX30" fmla="*/ 7518532 w 9529384"/>
              <a:gd name="connsiteY30" fmla="*/ 5074986 h 5499381"/>
              <a:gd name="connsiteX31" fmla="*/ 6370655 w 9529384"/>
              <a:gd name="connsiteY31" fmla="*/ 5409537 h 5499381"/>
              <a:gd name="connsiteX32" fmla="*/ 6482960 w 9529384"/>
              <a:gd name="connsiteY32"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56091 w 9529384"/>
              <a:gd name="connsiteY7" fmla="*/ 2468271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1475335 w 9529384"/>
              <a:gd name="connsiteY13" fmla="*/ 168140 h 5499381"/>
              <a:gd name="connsiteX14" fmla="*/ 1750778 w 9529384"/>
              <a:gd name="connsiteY14" fmla="*/ 106372 h 5499381"/>
              <a:gd name="connsiteX15" fmla="*/ 2984750 w 9529384"/>
              <a:gd name="connsiteY15" fmla="*/ 89827 h 5499381"/>
              <a:gd name="connsiteX16" fmla="*/ 3127128 w 9529384"/>
              <a:gd name="connsiteY16" fmla="*/ 42575 h 5499381"/>
              <a:gd name="connsiteX17" fmla="*/ 3505683 w 9529384"/>
              <a:gd name="connsiteY17" fmla="*/ 47527 h 5499381"/>
              <a:gd name="connsiteX18" fmla="*/ 3814850 w 9529384"/>
              <a:gd name="connsiteY18" fmla="*/ 97127 h 5499381"/>
              <a:gd name="connsiteX19" fmla="*/ 3845186 w 9529384"/>
              <a:gd name="connsiteY19" fmla="*/ 75459 h 5499381"/>
              <a:gd name="connsiteX20" fmla="*/ 3507161 w 9529384"/>
              <a:gd name="connsiteY20" fmla="*/ 14788 h 5499381"/>
              <a:gd name="connsiteX21" fmla="*/ 3115560 w 9529384"/>
              <a:gd name="connsiteY21" fmla="*/ 0 h 5499381"/>
              <a:gd name="connsiteX22" fmla="*/ 2979550 w 9529384"/>
              <a:gd name="connsiteY22" fmla="*/ 43717 h 5499381"/>
              <a:gd name="connsiteX23" fmla="*/ 1738365 w 9529384"/>
              <a:gd name="connsiteY23" fmla="*/ 33669 h 5499381"/>
              <a:gd name="connsiteX24" fmla="*/ 0 w 9529384"/>
              <a:gd name="connsiteY24" fmla="*/ 395410 h 5499381"/>
              <a:gd name="connsiteX25" fmla="*/ 1153787 w 9529384"/>
              <a:gd name="connsiteY25" fmla="*/ 815076 h 5499381"/>
              <a:gd name="connsiteX26" fmla="*/ 2376139 w 9529384"/>
              <a:gd name="connsiteY26" fmla="*/ 2037428 h 5499381"/>
              <a:gd name="connsiteX27" fmla="*/ 3003275 w 9529384"/>
              <a:gd name="connsiteY27" fmla="*/ 1896161 h 5499381"/>
              <a:gd name="connsiteX28" fmla="*/ 3719170 w 9529384"/>
              <a:gd name="connsiteY28" fmla="*/ 2606796 h 5499381"/>
              <a:gd name="connsiteX29" fmla="*/ 4757598 w 9529384"/>
              <a:gd name="connsiteY29" fmla="*/ 2391485 h 5499381"/>
              <a:gd name="connsiteX30" fmla="*/ 7518532 w 9529384"/>
              <a:gd name="connsiteY30" fmla="*/ 5074986 h 5499381"/>
              <a:gd name="connsiteX31" fmla="*/ 6370655 w 9529384"/>
              <a:gd name="connsiteY31" fmla="*/ 5409537 h 5499381"/>
              <a:gd name="connsiteX32" fmla="*/ 6482960 w 9529384"/>
              <a:gd name="connsiteY32"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56091 w 9529384"/>
              <a:gd name="connsiteY7" fmla="*/ 2468271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1475335 w 9529384"/>
              <a:gd name="connsiteY13" fmla="*/ 168140 h 5499381"/>
              <a:gd name="connsiteX14" fmla="*/ 1750778 w 9529384"/>
              <a:gd name="connsiteY14" fmla="*/ 106372 h 5499381"/>
              <a:gd name="connsiteX15" fmla="*/ 2984750 w 9529384"/>
              <a:gd name="connsiteY15" fmla="*/ 89827 h 5499381"/>
              <a:gd name="connsiteX16" fmla="*/ 3127128 w 9529384"/>
              <a:gd name="connsiteY16" fmla="*/ 42575 h 5499381"/>
              <a:gd name="connsiteX17" fmla="*/ 3505683 w 9529384"/>
              <a:gd name="connsiteY17" fmla="*/ 47527 h 5499381"/>
              <a:gd name="connsiteX18" fmla="*/ 3814850 w 9529384"/>
              <a:gd name="connsiteY18" fmla="*/ 97127 h 5499381"/>
              <a:gd name="connsiteX19" fmla="*/ 3845186 w 9529384"/>
              <a:gd name="connsiteY19" fmla="*/ 75459 h 5499381"/>
              <a:gd name="connsiteX20" fmla="*/ 3507161 w 9529384"/>
              <a:gd name="connsiteY20" fmla="*/ 14788 h 5499381"/>
              <a:gd name="connsiteX21" fmla="*/ 3115560 w 9529384"/>
              <a:gd name="connsiteY21" fmla="*/ 0 h 5499381"/>
              <a:gd name="connsiteX22" fmla="*/ 2979550 w 9529384"/>
              <a:gd name="connsiteY22" fmla="*/ 43717 h 5499381"/>
              <a:gd name="connsiteX23" fmla="*/ 1738365 w 9529384"/>
              <a:gd name="connsiteY23" fmla="*/ 33669 h 5499381"/>
              <a:gd name="connsiteX24" fmla="*/ 0 w 9529384"/>
              <a:gd name="connsiteY24" fmla="*/ 395410 h 5499381"/>
              <a:gd name="connsiteX25" fmla="*/ 1153787 w 9529384"/>
              <a:gd name="connsiteY25" fmla="*/ 815076 h 5499381"/>
              <a:gd name="connsiteX26" fmla="*/ 2376139 w 9529384"/>
              <a:gd name="connsiteY26" fmla="*/ 2037428 h 5499381"/>
              <a:gd name="connsiteX27" fmla="*/ 3003275 w 9529384"/>
              <a:gd name="connsiteY27" fmla="*/ 1896161 h 5499381"/>
              <a:gd name="connsiteX28" fmla="*/ 3719170 w 9529384"/>
              <a:gd name="connsiteY28" fmla="*/ 2606796 h 5499381"/>
              <a:gd name="connsiteX29" fmla="*/ 4744216 w 9529384"/>
              <a:gd name="connsiteY29" fmla="*/ 2333499 h 5499381"/>
              <a:gd name="connsiteX30" fmla="*/ 7518532 w 9529384"/>
              <a:gd name="connsiteY30" fmla="*/ 5074986 h 5499381"/>
              <a:gd name="connsiteX31" fmla="*/ 6370655 w 9529384"/>
              <a:gd name="connsiteY31" fmla="*/ 5409537 h 5499381"/>
              <a:gd name="connsiteX32" fmla="*/ 6482960 w 9529384"/>
              <a:gd name="connsiteY32"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56091 w 9529384"/>
              <a:gd name="connsiteY7" fmla="*/ 2468271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1475335 w 9529384"/>
              <a:gd name="connsiteY13" fmla="*/ 168140 h 5499381"/>
              <a:gd name="connsiteX14" fmla="*/ 1750778 w 9529384"/>
              <a:gd name="connsiteY14" fmla="*/ 106372 h 5499381"/>
              <a:gd name="connsiteX15" fmla="*/ 2984750 w 9529384"/>
              <a:gd name="connsiteY15" fmla="*/ 89827 h 5499381"/>
              <a:gd name="connsiteX16" fmla="*/ 3127128 w 9529384"/>
              <a:gd name="connsiteY16" fmla="*/ 42575 h 5499381"/>
              <a:gd name="connsiteX17" fmla="*/ 3505683 w 9529384"/>
              <a:gd name="connsiteY17" fmla="*/ 47527 h 5499381"/>
              <a:gd name="connsiteX18" fmla="*/ 3814850 w 9529384"/>
              <a:gd name="connsiteY18" fmla="*/ 97127 h 5499381"/>
              <a:gd name="connsiteX19" fmla="*/ 3845186 w 9529384"/>
              <a:gd name="connsiteY19" fmla="*/ 75459 h 5499381"/>
              <a:gd name="connsiteX20" fmla="*/ 3507161 w 9529384"/>
              <a:gd name="connsiteY20" fmla="*/ 14788 h 5499381"/>
              <a:gd name="connsiteX21" fmla="*/ 3115560 w 9529384"/>
              <a:gd name="connsiteY21" fmla="*/ 0 h 5499381"/>
              <a:gd name="connsiteX22" fmla="*/ 2979550 w 9529384"/>
              <a:gd name="connsiteY22" fmla="*/ 43717 h 5499381"/>
              <a:gd name="connsiteX23" fmla="*/ 1738365 w 9529384"/>
              <a:gd name="connsiteY23" fmla="*/ 33669 h 5499381"/>
              <a:gd name="connsiteX24" fmla="*/ 0 w 9529384"/>
              <a:gd name="connsiteY24" fmla="*/ 395410 h 5499381"/>
              <a:gd name="connsiteX25" fmla="*/ 1153787 w 9529384"/>
              <a:gd name="connsiteY25" fmla="*/ 815076 h 5499381"/>
              <a:gd name="connsiteX26" fmla="*/ 2376139 w 9529384"/>
              <a:gd name="connsiteY26" fmla="*/ 2037428 h 5499381"/>
              <a:gd name="connsiteX27" fmla="*/ 3003275 w 9529384"/>
              <a:gd name="connsiteY27" fmla="*/ 1896161 h 5499381"/>
              <a:gd name="connsiteX28" fmla="*/ 3714709 w 9529384"/>
              <a:gd name="connsiteY28" fmla="*/ 2575572 h 5499381"/>
              <a:gd name="connsiteX29" fmla="*/ 4744216 w 9529384"/>
              <a:gd name="connsiteY29" fmla="*/ 2333499 h 5499381"/>
              <a:gd name="connsiteX30" fmla="*/ 7518532 w 9529384"/>
              <a:gd name="connsiteY30" fmla="*/ 5074986 h 5499381"/>
              <a:gd name="connsiteX31" fmla="*/ 6370655 w 9529384"/>
              <a:gd name="connsiteY31" fmla="*/ 5409537 h 5499381"/>
              <a:gd name="connsiteX32" fmla="*/ 6482960 w 9529384"/>
              <a:gd name="connsiteY32"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56091 w 9529384"/>
              <a:gd name="connsiteY7" fmla="*/ 2468271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1475335 w 9529384"/>
              <a:gd name="connsiteY13" fmla="*/ 168140 h 5499381"/>
              <a:gd name="connsiteX14" fmla="*/ 1750778 w 9529384"/>
              <a:gd name="connsiteY14" fmla="*/ 106372 h 5499381"/>
              <a:gd name="connsiteX15" fmla="*/ 2984750 w 9529384"/>
              <a:gd name="connsiteY15" fmla="*/ 89827 h 5499381"/>
              <a:gd name="connsiteX16" fmla="*/ 3127128 w 9529384"/>
              <a:gd name="connsiteY16" fmla="*/ 42575 h 5499381"/>
              <a:gd name="connsiteX17" fmla="*/ 3505683 w 9529384"/>
              <a:gd name="connsiteY17" fmla="*/ 47527 h 5499381"/>
              <a:gd name="connsiteX18" fmla="*/ 3814850 w 9529384"/>
              <a:gd name="connsiteY18" fmla="*/ 97127 h 5499381"/>
              <a:gd name="connsiteX19" fmla="*/ 3845186 w 9529384"/>
              <a:gd name="connsiteY19" fmla="*/ 75459 h 5499381"/>
              <a:gd name="connsiteX20" fmla="*/ 3507161 w 9529384"/>
              <a:gd name="connsiteY20" fmla="*/ 14788 h 5499381"/>
              <a:gd name="connsiteX21" fmla="*/ 3115560 w 9529384"/>
              <a:gd name="connsiteY21" fmla="*/ 0 h 5499381"/>
              <a:gd name="connsiteX22" fmla="*/ 2979550 w 9529384"/>
              <a:gd name="connsiteY22" fmla="*/ 43717 h 5499381"/>
              <a:gd name="connsiteX23" fmla="*/ 1738365 w 9529384"/>
              <a:gd name="connsiteY23" fmla="*/ 33669 h 5499381"/>
              <a:gd name="connsiteX24" fmla="*/ 0 w 9529384"/>
              <a:gd name="connsiteY24" fmla="*/ 395410 h 5499381"/>
              <a:gd name="connsiteX25" fmla="*/ 1153787 w 9529384"/>
              <a:gd name="connsiteY25" fmla="*/ 815076 h 5499381"/>
              <a:gd name="connsiteX26" fmla="*/ 2376139 w 9529384"/>
              <a:gd name="connsiteY26" fmla="*/ 2037428 h 5499381"/>
              <a:gd name="connsiteX27" fmla="*/ 3007735 w 9529384"/>
              <a:gd name="connsiteY27" fmla="*/ 1851556 h 5499381"/>
              <a:gd name="connsiteX28" fmla="*/ 3714709 w 9529384"/>
              <a:gd name="connsiteY28" fmla="*/ 2575572 h 5499381"/>
              <a:gd name="connsiteX29" fmla="*/ 4744216 w 9529384"/>
              <a:gd name="connsiteY29" fmla="*/ 2333499 h 5499381"/>
              <a:gd name="connsiteX30" fmla="*/ 7518532 w 9529384"/>
              <a:gd name="connsiteY30" fmla="*/ 5074986 h 5499381"/>
              <a:gd name="connsiteX31" fmla="*/ 6370655 w 9529384"/>
              <a:gd name="connsiteY31" fmla="*/ 5409537 h 5499381"/>
              <a:gd name="connsiteX32" fmla="*/ 6482960 w 9529384"/>
              <a:gd name="connsiteY32"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56091 w 9529384"/>
              <a:gd name="connsiteY7" fmla="*/ 2468271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1475335 w 9529384"/>
              <a:gd name="connsiteY13" fmla="*/ 168140 h 5499381"/>
              <a:gd name="connsiteX14" fmla="*/ 1750778 w 9529384"/>
              <a:gd name="connsiteY14" fmla="*/ 106372 h 5499381"/>
              <a:gd name="connsiteX15" fmla="*/ 2984750 w 9529384"/>
              <a:gd name="connsiteY15" fmla="*/ 89827 h 5499381"/>
              <a:gd name="connsiteX16" fmla="*/ 3127128 w 9529384"/>
              <a:gd name="connsiteY16" fmla="*/ 42575 h 5499381"/>
              <a:gd name="connsiteX17" fmla="*/ 3505683 w 9529384"/>
              <a:gd name="connsiteY17" fmla="*/ 47527 h 5499381"/>
              <a:gd name="connsiteX18" fmla="*/ 3814850 w 9529384"/>
              <a:gd name="connsiteY18" fmla="*/ 97127 h 5499381"/>
              <a:gd name="connsiteX19" fmla="*/ 3845186 w 9529384"/>
              <a:gd name="connsiteY19" fmla="*/ 75459 h 5499381"/>
              <a:gd name="connsiteX20" fmla="*/ 3507161 w 9529384"/>
              <a:gd name="connsiteY20" fmla="*/ 14788 h 5499381"/>
              <a:gd name="connsiteX21" fmla="*/ 3115560 w 9529384"/>
              <a:gd name="connsiteY21" fmla="*/ 0 h 5499381"/>
              <a:gd name="connsiteX22" fmla="*/ 2979550 w 9529384"/>
              <a:gd name="connsiteY22" fmla="*/ 43717 h 5499381"/>
              <a:gd name="connsiteX23" fmla="*/ 1738365 w 9529384"/>
              <a:gd name="connsiteY23" fmla="*/ 33669 h 5499381"/>
              <a:gd name="connsiteX24" fmla="*/ 0 w 9529384"/>
              <a:gd name="connsiteY24" fmla="*/ 395410 h 5499381"/>
              <a:gd name="connsiteX25" fmla="*/ 1153787 w 9529384"/>
              <a:gd name="connsiteY25" fmla="*/ 815076 h 5499381"/>
              <a:gd name="connsiteX26" fmla="*/ 2353836 w 9529384"/>
              <a:gd name="connsiteY26" fmla="*/ 2001744 h 5499381"/>
              <a:gd name="connsiteX27" fmla="*/ 3007735 w 9529384"/>
              <a:gd name="connsiteY27" fmla="*/ 1851556 h 5499381"/>
              <a:gd name="connsiteX28" fmla="*/ 3714709 w 9529384"/>
              <a:gd name="connsiteY28" fmla="*/ 2575572 h 5499381"/>
              <a:gd name="connsiteX29" fmla="*/ 4744216 w 9529384"/>
              <a:gd name="connsiteY29" fmla="*/ 2333499 h 5499381"/>
              <a:gd name="connsiteX30" fmla="*/ 7518532 w 9529384"/>
              <a:gd name="connsiteY30" fmla="*/ 5074986 h 5499381"/>
              <a:gd name="connsiteX31" fmla="*/ 6370655 w 9529384"/>
              <a:gd name="connsiteY31" fmla="*/ 5409537 h 5499381"/>
              <a:gd name="connsiteX32" fmla="*/ 6482960 w 9529384"/>
              <a:gd name="connsiteY32"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56091 w 9529384"/>
              <a:gd name="connsiteY7" fmla="*/ 2468271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1475335 w 9529384"/>
              <a:gd name="connsiteY13" fmla="*/ 168140 h 5499381"/>
              <a:gd name="connsiteX14" fmla="*/ 1750778 w 9529384"/>
              <a:gd name="connsiteY14" fmla="*/ 106372 h 5499381"/>
              <a:gd name="connsiteX15" fmla="*/ 2984750 w 9529384"/>
              <a:gd name="connsiteY15" fmla="*/ 89827 h 5499381"/>
              <a:gd name="connsiteX16" fmla="*/ 3127128 w 9529384"/>
              <a:gd name="connsiteY16" fmla="*/ 42575 h 5499381"/>
              <a:gd name="connsiteX17" fmla="*/ 3505683 w 9529384"/>
              <a:gd name="connsiteY17" fmla="*/ 47527 h 5499381"/>
              <a:gd name="connsiteX18" fmla="*/ 3814850 w 9529384"/>
              <a:gd name="connsiteY18" fmla="*/ 97127 h 5499381"/>
              <a:gd name="connsiteX19" fmla="*/ 3845186 w 9529384"/>
              <a:gd name="connsiteY19" fmla="*/ 75459 h 5499381"/>
              <a:gd name="connsiteX20" fmla="*/ 3507161 w 9529384"/>
              <a:gd name="connsiteY20" fmla="*/ 14788 h 5499381"/>
              <a:gd name="connsiteX21" fmla="*/ 3115560 w 9529384"/>
              <a:gd name="connsiteY21" fmla="*/ 0 h 5499381"/>
              <a:gd name="connsiteX22" fmla="*/ 2979550 w 9529384"/>
              <a:gd name="connsiteY22" fmla="*/ 43717 h 5499381"/>
              <a:gd name="connsiteX23" fmla="*/ 1738365 w 9529384"/>
              <a:gd name="connsiteY23" fmla="*/ 33669 h 5499381"/>
              <a:gd name="connsiteX24" fmla="*/ 0 w 9529384"/>
              <a:gd name="connsiteY24" fmla="*/ 395410 h 5499381"/>
              <a:gd name="connsiteX25" fmla="*/ 1135945 w 9529384"/>
              <a:gd name="connsiteY25" fmla="*/ 761550 h 5499381"/>
              <a:gd name="connsiteX26" fmla="*/ 2353836 w 9529384"/>
              <a:gd name="connsiteY26" fmla="*/ 2001744 h 5499381"/>
              <a:gd name="connsiteX27" fmla="*/ 3007735 w 9529384"/>
              <a:gd name="connsiteY27" fmla="*/ 1851556 h 5499381"/>
              <a:gd name="connsiteX28" fmla="*/ 3714709 w 9529384"/>
              <a:gd name="connsiteY28" fmla="*/ 2575572 h 5499381"/>
              <a:gd name="connsiteX29" fmla="*/ 4744216 w 9529384"/>
              <a:gd name="connsiteY29" fmla="*/ 2333499 h 5499381"/>
              <a:gd name="connsiteX30" fmla="*/ 7518532 w 9529384"/>
              <a:gd name="connsiteY30" fmla="*/ 5074986 h 5499381"/>
              <a:gd name="connsiteX31" fmla="*/ 6370655 w 9529384"/>
              <a:gd name="connsiteY31" fmla="*/ 5409537 h 5499381"/>
              <a:gd name="connsiteX32" fmla="*/ 6482960 w 9529384"/>
              <a:gd name="connsiteY32"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56091 w 9529384"/>
              <a:gd name="connsiteY7" fmla="*/ 2468271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1475335 w 9529384"/>
              <a:gd name="connsiteY13" fmla="*/ 168140 h 5499381"/>
              <a:gd name="connsiteX14" fmla="*/ 1750778 w 9529384"/>
              <a:gd name="connsiteY14" fmla="*/ 106372 h 5499381"/>
              <a:gd name="connsiteX15" fmla="*/ 2984750 w 9529384"/>
              <a:gd name="connsiteY15" fmla="*/ 89827 h 5499381"/>
              <a:gd name="connsiteX16" fmla="*/ 3127128 w 9529384"/>
              <a:gd name="connsiteY16" fmla="*/ 42575 h 5499381"/>
              <a:gd name="connsiteX17" fmla="*/ 3505683 w 9529384"/>
              <a:gd name="connsiteY17" fmla="*/ 47527 h 5499381"/>
              <a:gd name="connsiteX18" fmla="*/ 3814850 w 9529384"/>
              <a:gd name="connsiteY18" fmla="*/ 97127 h 5499381"/>
              <a:gd name="connsiteX19" fmla="*/ 3845186 w 9529384"/>
              <a:gd name="connsiteY19" fmla="*/ 75459 h 5499381"/>
              <a:gd name="connsiteX20" fmla="*/ 3507161 w 9529384"/>
              <a:gd name="connsiteY20" fmla="*/ 14788 h 5499381"/>
              <a:gd name="connsiteX21" fmla="*/ 3115560 w 9529384"/>
              <a:gd name="connsiteY21" fmla="*/ 0 h 5499381"/>
              <a:gd name="connsiteX22" fmla="*/ 2979550 w 9529384"/>
              <a:gd name="connsiteY22" fmla="*/ 43717 h 5499381"/>
              <a:gd name="connsiteX23" fmla="*/ 1738365 w 9529384"/>
              <a:gd name="connsiteY23" fmla="*/ 33669 h 5499381"/>
              <a:gd name="connsiteX24" fmla="*/ 0 w 9529384"/>
              <a:gd name="connsiteY24" fmla="*/ 395410 h 5499381"/>
              <a:gd name="connsiteX25" fmla="*/ 1135945 w 9529384"/>
              <a:gd name="connsiteY25" fmla="*/ 761550 h 5499381"/>
              <a:gd name="connsiteX26" fmla="*/ 2353836 w 9529384"/>
              <a:gd name="connsiteY26" fmla="*/ 2001744 h 5499381"/>
              <a:gd name="connsiteX27" fmla="*/ 3007735 w 9529384"/>
              <a:gd name="connsiteY27" fmla="*/ 1851556 h 5499381"/>
              <a:gd name="connsiteX28" fmla="*/ 3714709 w 9529384"/>
              <a:gd name="connsiteY28" fmla="*/ 2575572 h 5499381"/>
              <a:gd name="connsiteX29" fmla="*/ 4744216 w 9529384"/>
              <a:gd name="connsiteY29" fmla="*/ 2333499 h 5499381"/>
              <a:gd name="connsiteX30" fmla="*/ 7518532 w 9529384"/>
              <a:gd name="connsiteY30" fmla="*/ 5074986 h 5499381"/>
              <a:gd name="connsiteX31" fmla="*/ 6370655 w 9529384"/>
              <a:gd name="connsiteY31" fmla="*/ 5409537 h 5499381"/>
              <a:gd name="connsiteX32" fmla="*/ 6482960 w 9529384"/>
              <a:gd name="connsiteY32"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56091 w 9529384"/>
              <a:gd name="connsiteY7" fmla="*/ 2468271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1475335 w 9529384"/>
              <a:gd name="connsiteY13" fmla="*/ 168140 h 5499381"/>
              <a:gd name="connsiteX14" fmla="*/ 1750778 w 9529384"/>
              <a:gd name="connsiteY14" fmla="*/ 106372 h 5499381"/>
              <a:gd name="connsiteX15" fmla="*/ 2984750 w 9529384"/>
              <a:gd name="connsiteY15" fmla="*/ 89827 h 5499381"/>
              <a:gd name="connsiteX16" fmla="*/ 3127128 w 9529384"/>
              <a:gd name="connsiteY16" fmla="*/ 42575 h 5499381"/>
              <a:gd name="connsiteX17" fmla="*/ 3505683 w 9529384"/>
              <a:gd name="connsiteY17" fmla="*/ 47527 h 5499381"/>
              <a:gd name="connsiteX18" fmla="*/ 3814850 w 9529384"/>
              <a:gd name="connsiteY18" fmla="*/ 97127 h 5499381"/>
              <a:gd name="connsiteX19" fmla="*/ 3845186 w 9529384"/>
              <a:gd name="connsiteY19" fmla="*/ 75459 h 5499381"/>
              <a:gd name="connsiteX20" fmla="*/ 3507161 w 9529384"/>
              <a:gd name="connsiteY20" fmla="*/ 14788 h 5499381"/>
              <a:gd name="connsiteX21" fmla="*/ 3115560 w 9529384"/>
              <a:gd name="connsiteY21" fmla="*/ 0 h 5499381"/>
              <a:gd name="connsiteX22" fmla="*/ 2979550 w 9529384"/>
              <a:gd name="connsiteY22" fmla="*/ 43717 h 5499381"/>
              <a:gd name="connsiteX23" fmla="*/ 1738365 w 9529384"/>
              <a:gd name="connsiteY23" fmla="*/ 33669 h 5499381"/>
              <a:gd name="connsiteX24" fmla="*/ 0 w 9529384"/>
              <a:gd name="connsiteY24" fmla="*/ 395410 h 5499381"/>
              <a:gd name="connsiteX25" fmla="*/ 1135945 w 9529384"/>
              <a:gd name="connsiteY25" fmla="*/ 761550 h 5499381"/>
              <a:gd name="connsiteX26" fmla="*/ 2353836 w 9529384"/>
              <a:gd name="connsiteY26" fmla="*/ 2001744 h 5499381"/>
              <a:gd name="connsiteX27" fmla="*/ 3007735 w 9529384"/>
              <a:gd name="connsiteY27" fmla="*/ 1851556 h 5499381"/>
              <a:gd name="connsiteX28" fmla="*/ 3714709 w 9529384"/>
              <a:gd name="connsiteY28" fmla="*/ 2575572 h 5499381"/>
              <a:gd name="connsiteX29" fmla="*/ 4744216 w 9529384"/>
              <a:gd name="connsiteY29" fmla="*/ 2333499 h 5499381"/>
              <a:gd name="connsiteX30" fmla="*/ 7518532 w 9529384"/>
              <a:gd name="connsiteY30" fmla="*/ 5074986 h 5499381"/>
              <a:gd name="connsiteX31" fmla="*/ 6370655 w 9529384"/>
              <a:gd name="connsiteY31" fmla="*/ 5409537 h 5499381"/>
              <a:gd name="connsiteX32" fmla="*/ 6482960 w 9529384"/>
              <a:gd name="connsiteY32"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56091 w 9529384"/>
              <a:gd name="connsiteY7" fmla="*/ 2468271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323320 w 9529384"/>
              <a:gd name="connsiteY11" fmla="*/ 415506 h 5499381"/>
              <a:gd name="connsiteX12" fmla="*/ 599354 w 9529384"/>
              <a:gd name="connsiteY12" fmla="*/ 342803 h 5499381"/>
              <a:gd name="connsiteX13" fmla="*/ 1475335 w 9529384"/>
              <a:gd name="connsiteY13" fmla="*/ 168140 h 5499381"/>
              <a:gd name="connsiteX14" fmla="*/ 1750778 w 9529384"/>
              <a:gd name="connsiteY14" fmla="*/ 106372 h 5499381"/>
              <a:gd name="connsiteX15" fmla="*/ 2984750 w 9529384"/>
              <a:gd name="connsiteY15" fmla="*/ 89827 h 5499381"/>
              <a:gd name="connsiteX16" fmla="*/ 3127128 w 9529384"/>
              <a:gd name="connsiteY16" fmla="*/ 42575 h 5499381"/>
              <a:gd name="connsiteX17" fmla="*/ 3505683 w 9529384"/>
              <a:gd name="connsiteY17" fmla="*/ 47527 h 5499381"/>
              <a:gd name="connsiteX18" fmla="*/ 3814850 w 9529384"/>
              <a:gd name="connsiteY18" fmla="*/ 97127 h 5499381"/>
              <a:gd name="connsiteX19" fmla="*/ 3845186 w 9529384"/>
              <a:gd name="connsiteY19" fmla="*/ 75459 h 5499381"/>
              <a:gd name="connsiteX20" fmla="*/ 3507161 w 9529384"/>
              <a:gd name="connsiteY20" fmla="*/ 14788 h 5499381"/>
              <a:gd name="connsiteX21" fmla="*/ 3115560 w 9529384"/>
              <a:gd name="connsiteY21" fmla="*/ 0 h 5499381"/>
              <a:gd name="connsiteX22" fmla="*/ 2979550 w 9529384"/>
              <a:gd name="connsiteY22" fmla="*/ 43717 h 5499381"/>
              <a:gd name="connsiteX23" fmla="*/ 1738365 w 9529384"/>
              <a:gd name="connsiteY23" fmla="*/ 33669 h 5499381"/>
              <a:gd name="connsiteX24" fmla="*/ 0 w 9529384"/>
              <a:gd name="connsiteY24" fmla="*/ 395410 h 5499381"/>
              <a:gd name="connsiteX25" fmla="*/ 1135945 w 9529384"/>
              <a:gd name="connsiteY25" fmla="*/ 761550 h 5499381"/>
              <a:gd name="connsiteX26" fmla="*/ 2353836 w 9529384"/>
              <a:gd name="connsiteY26" fmla="*/ 2001744 h 5499381"/>
              <a:gd name="connsiteX27" fmla="*/ 3007735 w 9529384"/>
              <a:gd name="connsiteY27" fmla="*/ 1851556 h 5499381"/>
              <a:gd name="connsiteX28" fmla="*/ 3714709 w 9529384"/>
              <a:gd name="connsiteY28" fmla="*/ 2575572 h 5499381"/>
              <a:gd name="connsiteX29" fmla="*/ 4744216 w 9529384"/>
              <a:gd name="connsiteY29" fmla="*/ 2333499 h 5499381"/>
              <a:gd name="connsiteX30" fmla="*/ 7518532 w 9529384"/>
              <a:gd name="connsiteY30" fmla="*/ 5074986 h 5499381"/>
              <a:gd name="connsiteX31" fmla="*/ 6370655 w 9529384"/>
              <a:gd name="connsiteY31" fmla="*/ 5409537 h 5499381"/>
              <a:gd name="connsiteX32" fmla="*/ 6482960 w 9529384"/>
              <a:gd name="connsiteY32"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56091 w 9529384"/>
              <a:gd name="connsiteY7" fmla="*/ 2468271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260874 w 9529384"/>
              <a:gd name="connsiteY11" fmla="*/ 397664 h 5499381"/>
              <a:gd name="connsiteX12" fmla="*/ 599354 w 9529384"/>
              <a:gd name="connsiteY12" fmla="*/ 342803 h 5499381"/>
              <a:gd name="connsiteX13" fmla="*/ 1475335 w 9529384"/>
              <a:gd name="connsiteY13" fmla="*/ 168140 h 5499381"/>
              <a:gd name="connsiteX14" fmla="*/ 1750778 w 9529384"/>
              <a:gd name="connsiteY14" fmla="*/ 106372 h 5499381"/>
              <a:gd name="connsiteX15" fmla="*/ 2984750 w 9529384"/>
              <a:gd name="connsiteY15" fmla="*/ 89827 h 5499381"/>
              <a:gd name="connsiteX16" fmla="*/ 3127128 w 9529384"/>
              <a:gd name="connsiteY16" fmla="*/ 42575 h 5499381"/>
              <a:gd name="connsiteX17" fmla="*/ 3505683 w 9529384"/>
              <a:gd name="connsiteY17" fmla="*/ 47527 h 5499381"/>
              <a:gd name="connsiteX18" fmla="*/ 3814850 w 9529384"/>
              <a:gd name="connsiteY18" fmla="*/ 97127 h 5499381"/>
              <a:gd name="connsiteX19" fmla="*/ 3845186 w 9529384"/>
              <a:gd name="connsiteY19" fmla="*/ 75459 h 5499381"/>
              <a:gd name="connsiteX20" fmla="*/ 3507161 w 9529384"/>
              <a:gd name="connsiteY20" fmla="*/ 14788 h 5499381"/>
              <a:gd name="connsiteX21" fmla="*/ 3115560 w 9529384"/>
              <a:gd name="connsiteY21" fmla="*/ 0 h 5499381"/>
              <a:gd name="connsiteX22" fmla="*/ 2979550 w 9529384"/>
              <a:gd name="connsiteY22" fmla="*/ 43717 h 5499381"/>
              <a:gd name="connsiteX23" fmla="*/ 1738365 w 9529384"/>
              <a:gd name="connsiteY23" fmla="*/ 33669 h 5499381"/>
              <a:gd name="connsiteX24" fmla="*/ 0 w 9529384"/>
              <a:gd name="connsiteY24" fmla="*/ 395410 h 5499381"/>
              <a:gd name="connsiteX25" fmla="*/ 1135945 w 9529384"/>
              <a:gd name="connsiteY25" fmla="*/ 761550 h 5499381"/>
              <a:gd name="connsiteX26" fmla="*/ 2353836 w 9529384"/>
              <a:gd name="connsiteY26" fmla="*/ 2001744 h 5499381"/>
              <a:gd name="connsiteX27" fmla="*/ 3007735 w 9529384"/>
              <a:gd name="connsiteY27" fmla="*/ 1851556 h 5499381"/>
              <a:gd name="connsiteX28" fmla="*/ 3714709 w 9529384"/>
              <a:gd name="connsiteY28" fmla="*/ 2575572 h 5499381"/>
              <a:gd name="connsiteX29" fmla="*/ 4744216 w 9529384"/>
              <a:gd name="connsiteY29" fmla="*/ 2333499 h 5499381"/>
              <a:gd name="connsiteX30" fmla="*/ 7518532 w 9529384"/>
              <a:gd name="connsiteY30" fmla="*/ 5074986 h 5499381"/>
              <a:gd name="connsiteX31" fmla="*/ 6370655 w 9529384"/>
              <a:gd name="connsiteY31" fmla="*/ 5409537 h 5499381"/>
              <a:gd name="connsiteX32" fmla="*/ 6482960 w 9529384"/>
              <a:gd name="connsiteY32"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56091 w 9529384"/>
              <a:gd name="connsiteY7" fmla="*/ 2468271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260874 w 9529384"/>
              <a:gd name="connsiteY11" fmla="*/ 397664 h 5499381"/>
              <a:gd name="connsiteX12" fmla="*/ 1475335 w 9529384"/>
              <a:gd name="connsiteY12" fmla="*/ 168140 h 5499381"/>
              <a:gd name="connsiteX13" fmla="*/ 1750778 w 9529384"/>
              <a:gd name="connsiteY13" fmla="*/ 106372 h 5499381"/>
              <a:gd name="connsiteX14" fmla="*/ 2984750 w 9529384"/>
              <a:gd name="connsiteY14" fmla="*/ 89827 h 5499381"/>
              <a:gd name="connsiteX15" fmla="*/ 3127128 w 9529384"/>
              <a:gd name="connsiteY15" fmla="*/ 42575 h 5499381"/>
              <a:gd name="connsiteX16" fmla="*/ 3505683 w 9529384"/>
              <a:gd name="connsiteY16" fmla="*/ 47527 h 5499381"/>
              <a:gd name="connsiteX17" fmla="*/ 3814850 w 9529384"/>
              <a:gd name="connsiteY17" fmla="*/ 97127 h 5499381"/>
              <a:gd name="connsiteX18" fmla="*/ 3845186 w 9529384"/>
              <a:gd name="connsiteY18" fmla="*/ 75459 h 5499381"/>
              <a:gd name="connsiteX19" fmla="*/ 3507161 w 9529384"/>
              <a:gd name="connsiteY19" fmla="*/ 14788 h 5499381"/>
              <a:gd name="connsiteX20" fmla="*/ 3115560 w 9529384"/>
              <a:gd name="connsiteY20" fmla="*/ 0 h 5499381"/>
              <a:gd name="connsiteX21" fmla="*/ 2979550 w 9529384"/>
              <a:gd name="connsiteY21" fmla="*/ 43717 h 5499381"/>
              <a:gd name="connsiteX22" fmla="*/ 1738365 w 9529384"/>
              <a:gd name="connsiteY22" fmla="*/ 33669 h 5499381"/>
              <a:gd name="connsiteX23" fmla="*/ 0 w 9529384"/>
              <a:gd name="connsiteY23" fmla="*/ 395410 h 5499381"/>
              <a:gd name="connsiteX24" fmla="*/ 1135945 w 9529384"/>
              <a:gd name="connsiteY24" fmla="*/ 761550 h 5499381"/>
              <a:gd name="connsiteX25" fmla="*/ 2353836 w 9529384"/>
              <a:gd name="connsiteY25" fmla="*/ 2001744 h 5499381"/>
              <a:gd name="connsiteX26" fmla="*/ 3007735 w 9529384"/>
              <a:gd name="connsiteY26" fmla="*/ 1851556 h 5499381"/>
              <a:gd name="connsiteX27" fmla="*/ 3714709 w 9529384"/>
              <a:gd name="connsiteY27" fmla="*/ 2575572 h 5499381"/>
              <a:gd name="connsiteX28" fmla="*/ 4744216 w 9529384"/>
              <a:gd name="connsiteY28" fmla="*/ 2333499 h 5499381"/>
              <a:gd name="connsiteX29" fmla="*/ 7518532 w 9529384"/>
              <a:gd name="connsiteY29" fmla="*/ 5074986 h 5499381"/>
              <a:gd name="connsiteX30" fmla="*/ 6370655 w 9529384"/>
              <a:gd name="connsiteY30" fmla="*/ 5409537 h 5499381"/>
              <a:gd name="connsiteX31" fmla="*/ 6482960 w 9529384"/>
              <a:gd name="connsiteY31"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56091 w 9529384"/>
              <a:gd name="connsiteY7" fmla="*/ 2468271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260874 w 9529384"/>
              <a:gd name="connsiteY11" fmla="*/ 397664 h 5499381"/>
              <a:gd name="connsiteX12" fmla="*/ 1750778 w 9529384"/>
              <a:gd name="connsiteY12" fmla="*/ 106372 h 5499381"/>
              <a:gd name="connsiteX13" fmla="*/ 2984750 w 9529384"/>
              <a:gd name="connsiteY13" fmla="*/ 89827 h 5499381"/>
              <a:gd name="connsiteX14" fmla="*/ 3127128 w 9529384"/>
              <a:gd name="connsiteY14" fmla="*/ 42575 h 5499381"/>
              <a:gd name="connsiteX15" fmla="*/ 3505683 w 9529384"/>
              <a:gd name="connsiteY15" fmla="*/ 47527 h 5499381"/>
              <a:gd name="connsiteX16" fmla="*/ 3814850 w 9529384"/>
              <a:gd name="connsiteY16" fmla="*/ 97127 h 5499381"/>
              <a:gd name="connsiteX17" fmla="*/ 3845186 w 9529384"/>
              <a:gd name="connsiteY17" fmla="*/ 75459 h 5499381"/>
              <a:gd name="connsiteX18" fmla="*/ 3507161 w 9529384"/>
              <a:gd name="connsiteY18" fmla="*/ 14788 h 5499381"/>
              <a:gd name="connsiteX19" fmla="*/ 3115560 w 9529384"/>
              <a:gd name="connsiteY19" fmla="*/ 0 h 5499381"/>
              <a:gd name="connsiteX20" fmla="*/ 2979550 w 9529384"/>
              <a:gd name="connsiteY20" fmla="*/ 43717 h 5499381"/>
              <a:gd name="connsiteX21" fmla="*/ 1738365 w 9529384"/>
              <a:gd name="connsiteY21" fmla="*/ 33669 h 5499381"/>
              <a:gd name="connsiteX22" fmla="*/ 0 w 9529384"/>
              <a:gd name="connsiteY22" fmla="*/ 395410 h 5499381"/>
              <a:gd name="connsiteX23" fmla="*/ 1135945 w 9529384"/>
              <a:gd name="connsiteY23" fmla="*/ 761550 h 5499381"/>
              <a:gd name="connsiteX24" fmla="*/ 2353836 w 9529384"/>
              <a:gd name="connsiteY24" fmla="*/ 2001744 h 5499381"/>
              <a:gd name="connsiteX25" fmla="*/ 3007735 w 9529384"/>
              <a:gd name="connsiteY25" fmla="*/ 1851556 h 5499381"/>
              <a:gd name="connsiteX26" fmla="*/ 3714709 w 9529384"/>
              <a:gd name="connsiteY26" fmla="*/ 2575572 h 5499381"/>
              <a:gd name="connsiteX27" fmla="*/ 4744216 w 9529384"/>
              <a:gd name="connsiteY27" fmla="*/ 2333499 h 5499381"/>
              <a:gd name="connsiteX28" fmla="*/ 7518532 w 9529384"/>
              <a:gd name="connsiteY28" fmla="*/ 5074986 h 5499381"/>
              <a:gd name="connsiteX29" fmla="*/ 6370655 w 9529384"/>
              <a:gd name="connsiteY29" fmla="*/ 5409537 h 5499381"/>
              <a:gd name="connsiteX30" fmla="*/ 6482960 w 9529384"/>
              <a:gd name="connsiteY30"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56091 w 9529384"/>
              <a:gd name="connsiteY7" fmla="*/ 2468271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260874 w 9529384"/>
              <a:gd name="connsiteY11" fmla="*/ 397664 h 5499381"/>
              <a:gd name="connsiteX12" fmla="*/ 1750778 w 9529384"/>
              <a:gd name="connsiteY12" fmla="*/ 106372 h 5499381"/>
              <a:gd name="connsiteX13" fmla="*/ 2984750 w 9529384"/>
              <a:gd name="connsiteY13" fmla="*/ 89827 h 5499381"/>
              <a:gd name="connsiteX14" fmla="*/ 3127128 w 9529384"/>
              <a:gd name="connsiteY14" fmla="*/ 42575 h 5499381"/>
              <a:gd name="connsiteX15" fmla="*/ 3505683 w 9529384"/>
              <a:gd name="connsiteY15" fmla="*/ 47527 h 5499381"/>
              <a:gd name="connsiteX16" fmla="*/ 3814850 w 9529384"/>
              <a:gd name="connsiteY16" fmla="*/ 97127 h 5499381"/>
              <a:gd name="connsiteX17" fmla="*/ 3845186 w 9529384"/>
              <a:gd name="connsiteY17" fmla="*/ 75459 h 5499381"/>
              <a:gd name="connsiteX18" fmla="*/ 3507161 w 9529384"/>
              <a:gd name="connsiteY18" fmla="*/ 14788 h 5499381"/>
              <a:gd name="connsiteX19" fmla="*/ 3115560 w 9529384"/>
              <a:gd name="connsiteY19" fmla="*/ 0 h 5499381"/>
              <a:gd name="connsiteX20" fmla="*/ 2979550 w 9529384"/>
              <a:gd name="connsiteY20" fmla="*/ 43717 h 5499381"/>
              <a:gd name="connsiteX21" fmla="*/ 1738365 w 9529384"/>
              <a:gd name="connsiteY21" fmla="*/ 33669 h 5499381"/>
              <a:gd name="connsiteX22" fmla="*/ 0 w 9529384"/>
              <a:gd name="connsiteY22" fmla="*/ 395410 h 5499381"/>
              <a:gd name="connsiteX23" fmla="*/ 1135945 w 9529384"/>
              <a:gd name="connsiteY23" fmla="*/ 761550 h 5499381"/>
              <a:gd name="connsiteX24" fmla="*/ 2353836 w 9529384"/>
              <a:gd name="connsiteY24" fmla="*/ 2001744 h 5499381"/>
              <a:gd name="connsiteX25" fmla="*/ 3007735 w 9529384"/>
              <a:gd name="connsiteY25" fmla="*/ 1851556 h 5499381"/>
              <a:gd name="connsiteX26" fmla="*/ 3714709 w 9529384"/>
              <a:gd name="connsiteY26" fmla="*/ 2575572 h 5499381"/>
              <a:gd name="connsiteX27" fmla="*/ 4744216 w 9529384"/>
              <a:gd name="connsiteY27" fmla="*/ 2333499 h 5499381"/>
              <a:gd name="connsiteX28" fmla="*/ 7518532 w 9529384"/>
              <a:gd name="connsiteY28" fmla="*/ 5074986 h 5499381"/>
              <a:gd name="connsiteX29" fmla="*/ 6370655 w 9529384"/>
              <a:gd name="connsiteY29" fmla="*/ 5409537 h 5499381"/>
              <a:gd name="connsiteX30" fmla="*/ 6482960 w 9529384"/>
              <a:gd name="connsiteY30" fmla="*/ 5499381 h 5499381"/>
              <a:gd name="connsiteX0" fmla="*/ 6482960 w 9529384"/>
              <a:gd name="connsiteY0" fmla="*/ 5499381 h 5499381"/>
              <a:gd name="connsiteX1" fmla="*/ 7756146 w 9529384"/>
              <a:gd name="connsiteY1" fmla="*/ 5140005 h 5499381"/>
              <a:gd name="connsiteX2" fmla="*/ 6732395 w 9529384"/>
              <a:gd name="connsiteY2" fmla="*/ 4083746 h 5499381"/>
              <a:gd name="connsiteX3" fmla="*/ 9529384 w 9529384"/>
              <a:gd name="connsiteY3" fmla="*/ 3524518 h 5499381"/>
              <a:gd name="connsiteX4" fmla="*/ 9385161 w 9529384"/>
              <a:gd name="connsiteY4" fmla="*/ 3430012 h 5499381"/>
              <a:gd name="connsiteX5" fmla="*/ 6568667 w 9529384"/>
              <a:gd name="connsiteY5" fmla="*/ 3962574 h 5499381"/>
              <a:gd name="connsiteX6" fmla="*/ 4762919 w 9529384"/>
              <a:gd name="connsiteY6" fmla="*/ 2244306 h 5499381"/>
              <a:gd name="connsiteX7" fmla="*/ 3756091 w 9529384"/>
              <a:gd name="connsiteY7" fmla="*/ 2468271 h 5499381"/>
              <a:gd name="connsiteX8" fmla="*/ 3054698 w 9529384"/>
              <a:gd name="connsiteY8" fmla="*/ 1757848 h 5499381"/>
              <a:gd name="connsiteX9" fmla="*/ 2388552 w 9529384"/>
              <a:gd name="connsiteY9" fmla="*/ 1899707 h 5499381"/>
              <a:gd name="connsiteX10" fmla="*/ 1201665 w 9529384"/>
              <a:gd name="connsiteY10" fmla="*/ 695087 h 5499381"/>
              <a:gd name="connsiteX11" fmla="*/ 260874 w 9529384"/>
              <a:gd name="connsiteY11" fmla="*/ 397664 h 5499381"/>
              <a:gd name="connsiteX12" fmla="*/ 1759699 w 9529384"/>
              <a:gd name="connsiteY12" fmla="*/ 79609 h 5499381"/>
              <a:gd name="connsiteX13" fmla="*/ 2984750 w 9529384"/>
              <a:gd name="connsiteY13" fmla="*/ 89827 h 5499381"/>
              <a:gd name="connsiteX14" fmla="*/ 3127128 w 9529384"/>
              <a:gd name="connsiteY14" fmla="*/ 42575 h 5499381"/>
              <a:gd name="connsiteX15" fmla="*/ 3505683 w 9529384"/>
              <a:gd name="connsiteY15" fmla="*/ 47527 h 5499381"/>
              <a:gd name="connsiteX16" fmla="*/ 3814850 w 9529384"/>
              <a:gd name="connsiteY16" fmla="*/ 97127 h 5499381"/>
              <a:gd name="connsiteX17" fmla="*/ 3845186 w 9529384"/>
              <a:gd name="connsiteY17" fmla="*/ 75459 h 5499381"/>
              <a:gd name="connsiteX18" fmla="*/ 3507161 w 9529384"/>
              <a:gd name="connsiteY18" fmla="*/ 14788 h 5499381"/>
              <a:gd name="connsiteX19" fmla="*/ 3115560 w 9529384"/>
              <a:gd name="connsiteY19" fmla="*/ 0 h 5499381"/>
              <a:gd name="connsiteX20" fmla="*/ 2979550 w 9529384"/>
              <a:gd name="connsiteY20" fmla="*/ 43717 h 5499381"/>
              <a:gd name="connsiteX21" fmla="*/ 1738365 w 9529384"/>
              <a:gd name="connsiteY21" fmla="*/ 33669 h 5499381"/>
              <a:gd name="connsiteX22" fmla="*/ 0 w 9529384"/>
              <a:gd name="connsiteY22" fmla="*/ 395410 h 5499381"/>
              <a:gd name="connsiteX23" fmla="*/ 1135945 w 9529384"/>
              <a:gd name="connsiteY23" fmla="*/ 761550 h 5499381"/>
              <a:gd name="connsiteX24" fmla="*/ 2353836 w 9529384"/>
              <a:gd name="connsiteY24" fmla="*/ 2001744 h 5499381"/>
              <a:gd name="connsiteX25" fmla="*/ 3007735 w 9529384"/>
              <a:gd name="connsiteY25" fmla="*/ 1851556 h 5499381"/>
              <a:gd name="connsiteX26" fmla="*/ 3714709 w 9529384"/>
              <a:gd name="connsiteY26" fmla="*/ 2575572 h 5499381"/>
              <a:gd name="connsiteX27" fmla="*/ 4744216 w 9529384"/>
              <a:gd name="connsiteY27" fmla="*/ 2333499 h 5499381"/>
              <a:gd name="connsiteX28" fmla="*/ 7518532 w 9529384"/>
              <a:gd name="connsiteY28" fmla="*/ 5074986 h 5499381"/>
              <a:gd name="connsiteX29" fmla="*/ 6370655 w 9529384"/>
              <a:gd name="connsiteY29" fmla="*/ 5409537 h 5499381"/>
              <a:gd name="connsiteX30" fmla="*/ 6482960 w 9529384"/>
              <a:gd name="connsiteY30" fmla="*/ 5499381 h 5499381"/>
              <a:gd name="connsiteX0" fmla="*/ 6469578 w 9516002"/>
              <a:gd name="connsiteY0" fmla="*/ 5499381 h 5499381"/>
              <a:gd name="connsiteX1" fmla="*/ 7742764 w 9516002"/>
              <a:gd name="connsiteY1" fmla="*/ 5140005 h 5499381"/>
              <a:gd name="connsiteX2" fmla="*/ 6719013 w 9516002"/>
              <a:gd name="connsiteY2" fmla="*/ 4083746 h 5499381"/>
              <a:gd name="connsiteX3" fmla="*/ 9516002 w 9516002"/>
              <a:gd name="connsiteY3" fmla="*/ 3524518 h 5499381"/>
              <a:gd name="connsiteX4" fmla="*/ 9371779 w 9516002"/>
              <a:gd name="connsiteY4" fmla="*/ 3430012 h 5499381"/>
              <a:gd name="connsiteX5" fmla="*/ 6555285 w 9516002"/>
              <a:gd name="connsiteY5" fmla="*/ 3962574 h 5499381"/>
              <a:gd name="connsiteX6" fmla="*/ 4749537 w 9516002"/>
              <a:gd name="connsiteY6" fmla="*/ 2244306 h 5499381"/>
              <a:gd name="connsiteX7" fmla="*/ 3742709 w 9516002"/>
              <a:gd name="connsiteY7" fmla="*/ 2468271 h 5499381"/>
              <a:gd name="connsiteX8" fmla="*/ 3041316 w 9516002"/>
              <a:gd name="connsiteY8" fmla="*/ 1757848 h 5499381"/>
              <a:gd name="connsiteX9" fmla="*/ 2375170 w 9516002"/>
              <a:gd name="connsiteY9" fmla="*/ 1899707 h 5499381"/>
              <a:gd name="connsiteX10" fmla="*/ 1188283 w 9516002"/>
              <a:gd name="connsiteY10" fmla="*/ 695087 h 5499381"/>
              <a:gd name="connsiteX11" fmla="*/ 247492 w 9516002"/>
              <a:gd name="connsiteY11" fmla="*/ 397664 h 5499381"/>
              <a:gd name="connsiteX12" fmla="*/ 1746317 w 9516002"/>
              <a:gd name="connsiteY12" fmla="*/ 79609 h 5499381"/>
              <a:gd name="connsiteX13" fmla="*/ 2971368 w 9516002"/>
              <a:gd name="connsiteY13" fmla="*/ 89827 h 5499381"/>
              <a:gd name="connsiteX14" fmla="*/ 3113746 w 9516002"/>
              <a:gd name="connsiteY14" fmla="*/ 42575 h 5499381"/>
              <a:gd name="connsiteX15" fmla="*/ 3492301 w 9516002"/>
              <a:gd name="connsiteY15" fmla="*/ 47527 h 5499381"/>
              <a:gd name="connsiteX16" fmla="*/ 3801468 w 9516002"/>
              <a:gd name="connsiteY16" fmla="*/ 97127 h 5499381"/>
              <a:gd name="connsiteX17" fmla="*/ 3831804 w 9516002"/>
              <a:gd name="connsiteY17" fmla="*/ 75459 h 5499381"/>
              <a:gd name="connsiteX18" fmla="*/ 3493779 w 9516002"/>
              <a:gd name="connsiteY18" fmla="*/ 14788 h 5499381"/>
              <a:gd name="connsiteX19" fmla="*/ 3102178 w 9516002"/>
              <a:gd name="connsiteY19" fmla="*/ 0 h 5499381"/>
              <a:gd name="connsiteX20" fmla="*/ 2966168 w 9516002"/>
              <a:gd name="connsiteY20" fmla="*/ 43717 h 5499381"/>
              <a:gd name="connsiteX21" fmla="*/ 1724983 w 9516002"/>
              <a:gd name="connsiteY21" fmla="*/ 33669 h 5499381"/>
              <a:gd name="connsiteX22" fmla="*/ 0 w 9516002"/>
              <a:gd name="connsiteY22" fmla="*/ 404331 h 5499381"/>
              <a:gd name="connsiteX23" fmla="*/ 1122563 w 9516002"/>
              <a:gd name="connsiteY23" fmla="*/ 761550 h 5499381"/>
              <a:gd name="connsiteX24" fmla="*/ 2340454 w 9516002"/>
              <a:gd name="connsiteY24" fmla="*/ 2001744 h 5499381"/>
              <a:gd name="connsiteX25" fmla="*/ 2994353 w 9516002"/>
              <a:gd name="connsiteY25" fmla="*/ 1851556 h 5499381"/>
              <a:gd name="connsiteX26" fmla="*/ 3701327 w 9516002"/>
              <a:gd name="connsiteY26" fmla="*/ 2575572 h 5499381"/>
              <a:gd name="connsiteX27" fmla="*/ 4730834 w 9516002"/>
              <a:gd name="connsiteY27" fmla="*/ 2333499 h 5499381"/>
              <a:gd name="connsiteX28" fmla="*/ 7505150 w 9516002"/>
              <a:gd name="connsiteY28" fmla="*/ 5074986 h 5499381"/>
              <a:gd name="connsiteX29" fmla="*/ 6357273 w 9516002"/>
              <a:gd name="connsiteY29" fmla="*/ 5409537 h 5499381"/>
              <a:gd name="connsiteX30" fmla="*/ 6469578 w 9516002"/>
              <a:gd name="connsiteY30" fmla="*/ 5499381 h 5499381"/>
              <a:gd name="connsiteX0" fmla="*/ 6469578 w 9516002"/>
              <a:gd name="connsiteY0" fmla="*/ 5499381 h 5499381"/>
              <a:gd name="connsiteX1" fmla="*/ 7742764 w 9516002"/>
              <a:gd name="connsiteY1" fmla="*/ 5140005 h 5499381"/>
              <a:gd name="connsiteX2" fmla="*/ 6719013 w 9516002"/>
              <a:gd name="connsiteY2" fmla="*/ 4083746 h 5499381"/>
              <a:gd name="connsiteX3" fmla="*/ 9516002 w 9516002"/>
              <a:gd name="connsiteY3" fmla="*/ 3524518 h 5499381"/>
              <a:gd name="connsiteX4" fmla="*/ 9371779 w 9516002"/>
              <a:gd name="connsiteY4" fmla="*/ 3430012 h 5499381"/>
              <a:gd name="connsiteX5" fmla="*/ 6555285 w 9516002"/>
              <a:gd name="connsiteY5" fmla="*/ 3962574 h 5499381"/>
              <a:gd name="connsiteX6" fmla="*/ 4749537 w 9516002"/>
              <a:gd name="connsiteY6" fmla="*/ 2244306 h 5499381"/>
              <a:gd name="connsiteX7" fmla="*/ 3742709 w 9516002"/>
              <a:gd name="connsiteY7" fmla="*/ 2468271 h 5499381"/>
              <a:gd name="connsiteX8" fmla="*/ 3041316 w 9516002"/>
              <a:gd name="connsiteY8" fmla="*/ 1757848 h 5499381"/>
              <a:gd name="connsiteX9" fmla="*/ 2375170 w 9516002"/>
              <a:gd name="connsiteY9" fmla="*/ 1899707 h 5499381"/>
              <a:gd name="connsiteX10" fmla="*/ 1188283 w 9516002"/>
              <a:gd name="connsiteY10" fmla="*/ 695087 h 5499381"/>
              <a:gd name="connsiteX11" fmla="*/ 247492 w 9516002"/>
              <a:gd name="connsiteY11" fmla="*/ 397664 h 5499381"/>
              <a:gd name="connsiteX12" fmla="*/ 1746317 w 9516002"/>
              <a:gd name="connsiteY12" fmla="*/ 79609 h 5499381"/>
              <a:gd name="connsiteX13" fmla="*/ 2971368 w 9516002"/>
              <a:gd name="connsiteY13" fmla="*/ 89827 h 5499381"/>
              <a:gd name="connsiteX14" fmla="*/ 3113746 w 9516002"/>
              <a:gd name="connsiteY14" fmla="*/ 42575 h 5499381"/>
              <a:gd name="connsiteX15" fmla="*/ 3492301 w 9516002"/>
              <a:gd name="connsiteY15" fmla="*/ 47527 h 5499381"/>
              <a:gd name="connsiteX16" fmla="*/ 3801468 w 9516002"/>
              <a:gd name="connsiteY16" fmla="*/ 97127 h 5499381"/>
              <a:gd name="connsiteX17" fmla="*/ 3831804 w 9516002"/>
              <a:gd name="connsiteY17" fmla="*/ 75459 h 5499381"/>
              <a:gd name="connsiteX18" fmla="*/ 3493779 w 9516002"/>
              <a:gd name="connsiteY18" fmla="*/ 14788 h 5499381"/>
              <a:gd name="connsiteX19" fmla="*/ 3102178 w 9516002"/>
              <a:gd name="connsiteY19" fmla="*/ 0 h 5499381"/>
              <a:gd name="connsiteX20" fmla="*/ 2966168 w 9516002"/>
              <a:gd name="connsiteY20" fmla="*/ 43717 h 5499381"/>
              <a:gd name="connsiteX21" fmla="*/ 1724983 w 9516002"/>
              <a:gd name="connsiteY21" fmla="*/ 33669 h 5499381"/>
              <a:gd name="connsiteX22" fmla="*/ 0 w 9516002"/>
              <a:gd name="connsiteY22" fmla="*/ 404331 h 5499381"/>
              <a:gd name="connsiteX23" fmla="*/ 1122563 w 9516002"/>
              <a:gd name="connsiteY23" fmla="*/ 761550 h 5499381"/>
              <a:gd name="connsiteX24" fmla="*/ 2340454 w 9516002"/>
              <a:gd name="connsiteY24" fmla="*/ 2001744 h 5499381"/>
              <a:gd name="connsiteX25" fmla="*/ 2994353 w 9516002"/>
              <a:gd name="connsiteY25" fmla="*/ 1851556 h 5499381"/>
              <a:gd name="connsiteX26" fmla="*/ 3701327 w 9516002"/>
              <a:gd name="connsiteY26" fmla="*/ 2575572 h 5499381"/>
              <a:gd name="connsiteX27" fmla="*/ 4730834 w 9516002"/>
              <a:gd name="connsiteY27" fmla="*/ 2333499 h 5499381"/>
              <a:gd name="connsiteX28" fmla="*/ 7505150 w 9516002"/>
              <a:gd name="connsiteY28" fmla="*/ 5074986 h 5499381"/>
              <a:gd name="connsiteX29" fmla="*/ 6357273 w 9516002"/>
              <a:gd name="connsiteY29" fmla="*/ 5409537 h 5499381"/>
              <a:gd name="connsiteX30" fmla="*/ 6469578 w 9516002"/>
              <a:gd name="connsiteY30" fmla="*/ 5499381 h 5499381"/>
              <a:gd name="connsiteX0" fmla="*/ 6469578 w 9516002"/>
              <a:gd name="connsiteY0" fmla="*/ 5499381 h 5499381"/>
              <a:gd name="connsiteX1" fmla="*/ 7742764 w 9516002"/>
              <a:gd name="connsiteY1" fmla="*/ 5140005 h 5499381"/>
              <a:gd name="connsiteX2" fmla="*/ 6719013 w 9516002"/>
              <a:gd name="connsiteY2" fmla="*/ 4083746 h 5499381"/>
              <a:gd name="connsiteX3" fmla="*/ 9516002 w 9516002"/>
              <a:gd name="connsiteY3" fmla="*/ 3524518 h 5499381"/>
              <a:gd name="connsiteX4" fmla="*/ 9371779 w 9516002"/>
              <a:gd name="connsiteY4" fmla="*/ 3430012 h 5499381"/>
              <a:gd name="connsiteX5" fmla="*/ 6555285 w 9516002"/>
              <a:gd name="connsiteY5" fmla="*/ 3962574 h 5499381"/>
              <a:gd name="connsiteX6" fmla="*/ 4749537 w 9516002"/>
              <a:gd name="connsiteY6" fmla="*/ 2244306 h 5499381"/>
              <a:gd name="connsiteX7" fmla="*/ 3742709 w 9516002"/>
              <a:gd name="connsiteY7" fmla="*/ 2468271 h 5499381"/>
              <a:gd name="connsiteX8" fmla="*/ 3041316 w 9516002"/>
              <a:gd name="connsiteY8" fmla="*/ 1757848 h 5499381"/>
              <a:gd name="connsiteX9" fmla="*/ 2375170 w 9516002"/>
              <a:gd name="connsiteY9" fmla="*/ 1899707 h 5499381"/>
              <a:gd name="connsiteX10" fmla="*/ 1188283 w 9516002"/>
              <a:gd name="connsiteY10" fmla="*/ 695087 h 5499381"/>
              <a:gd name="connsiteX11" fmla="*/ 247492 w 9516002"/>
              <a:gd name="connsiteY11" fmla="*/ 397664 h 5499381"/>
              <a:gd name="connsiteX12" fmla="*/ 1746317 w 9516002"/>
              <a:gd name="connsiteY12" fmla="*/ 79609 h 5499381"/>
              <a:gd name="connsiteX13" fmla="*/ 2971368 w 9516002"/>
              <a:gd name="connsiteY13" fmla="*/ 89827 h 5499381"/>
              <a:gd name="connsiteX14" fmla="*/ 3113746 w 9516002"/>
              <a:gd name="connsiteY14" fmla="*/ 42575 h 5499381"/>
              <a:gd name="connsiteX15" fmla="*/ 3492301 w 9516002"/>
              <a:gd name="connsiteY15" fmla="*/ 47527 h 5499381"/>
              <a:gd name="connsiteX16" fmla="*/ 3801468 w 9516002"/>
              <a:gd name="connsiteY16" fmla="*/ 97127 h 5499381"/>
              <a:gd name="connsiteX17" fmla="*/ 3831804 w 9516002"/>
              <a:gd name="connsiteY17" fmla="*/ 75459 h 5499381"/>
              <a:gd name="connsiteX18" fmla="*/ 3493779 w 9516002"/>
              <a:gd name="connsiteY18" fmla="*/ 14788 h 5499381"/>
              <a:gd name="connsiteX19" fmla="*/ 3102178 w 9516002"/>
              <a:gd name="connsiteY19" fmla="*/ 0 h 5499381"/>
              <a:gd name="connsiteX20" fmla="*/ 2966168 w 9516002"/>
              <a:gd name="connsiteY20" fmla="*/ 43717 h 5499381"/>
              <a:gd name="connsiteX21" fmla="*/ 1724983 w 9516002"/>
              <a:gd name="connsiteY21" fmla="*/ 33669 h 5499381"/>
              <a:gd name="connsiteX22" fmla="*/ 0 w 9516002"/>
              <a:gd name="connsiteY22" fmla="*/ 404331 h 5499381"/>
              <a:gd name="connsiteX23" fmla="*/ 1122563 w 9516002"/>
              <a:gd name="connsiteY23" fmla="*/ 761550 h 5499381"/>
              <a:gd name="connsiteX24" fmla="*/ 2340454 w 9516002"/>
              <a:gd name="connsiteY24" fmla="*/ 2001744 h 5499381"/>
              <a:gd name="connsiteX25" fmla="*/ 2994353 w 9516002"/>
              <a:gd name="connsiteY25" fmla="*/ 1851556 h 5499381"/>
              <a:gd name="connsiteX26" fmla="*/ 3701327 w 9516002"/>
              <a:gd name="connsiteY26" fmla="*/ 2575572 h 5499381"/>
              <a:gd name="connsiteX27" fmla="*/ 4730834 w 9516002"/>
              <a:gd name="connsiteY27" fmla="*/ 2333499 h 5499381"/>
              <a:gd name="connsiteX28" fmla="*/ 7505150 w 9516002"/>
              <a:gd name="connsiteY28" fmla="*/ 5074986 h 5499381"/>
              <a:gd name="connsiteX29" fmla="*/ 6357273 w 9516002"/>
              <a:gd name="connsiteY29" fmla="*/ 5409537 h 5499381"/>
              <a:gd name="connsiteX30" fmla="*/ 6469578 w 9516002"/>
              <a:gd name="connsiteY30" fmla="*/ 5499381 h 5499381"/>
              <a:gd name="connsiteX0" fmla="*/ 6469578 w 9516002"/>
              <a:gd name="connsiteY0" fmla="*/ 5499381 h 5499381"/>
              <a:gd name="connsiteX1" fmla="*/ 7742764 w 9516002"/>
              <a:gd name="connsiteY1" fmla="*/ 5140005 h 5499381"/>
              <a:gd name="connsiteX2" fmla="*/ 6719013 w 9516002"/>
              <a:gd name="connsiteY2" fmla="*/ 4083746 h 5499381"/>
              <a:gd name="connsiteX3" fmla="*/ 9516002 w 9516002"/>
              <a:gd name="connsiteY3" fmla="*/ 3524518 h 5499381"/>
              <a:gd name="connsiteX4" fmla="*/ 9371779 w 9516002"/>
              <a:gd name="connsiteY4" fmla="*/ 3430012 h 5499381"/>
              <a:gd name="connsiteX5" fmla="*/ 6555285 w 9516002"/>
              <a:gd name="connsiteY5" fmla="*/ 3962574 h 5499381"/>
              <a:gd name="connsiteX6" fmla="*/ 4749537 w 9516002"/>
              <a:gd name="connsiteY6" fmla="*/ 2244306 h 5499381"/>
              <a:gd name="connsiteX7" fmla="*/ 3742709 w 9516002"/>
              <a:gd name="connsiteY7" fmla="*/ 2468271 h 5499381"/>
              <a:gd name="connsiteX8" fmla="*/ 3041316 w 9516002"/>
              <a:gd name="connsiteY8" fmla="*/ 1757848 h 5499381"/>
              <a:gd name="connsiteX9" fmla="*/ 2375170 w 9516002"/>
              <a:gd name="connsiteY9" fmla="*/ 1899707 h 5499381"/>
              <a:gd name="connsiteX10" fmla="*/ 1188283 w 9516002"/>
              <a:gd name="connsiteY10" fmla="*/ 695087 h 5499381"/>
              <a:gd name="connsiteX11" fmla="*/ 247492 w 9516002"/>
              <a:gd name="connsiteY11" fmla="*/ 397664 h 5499381"/>
              <a:gd name="connsiteX12" fmla="*/ 1746317 w 9516002"/>
              <a:gd name="connsiteY12" fmla="*/ 79609 h 5499381"/>
              <a:gd name="connsiteX13" fmla="*/ 2966908 w 9516002"/>
              <a:gd name="connsiteY13" fmla="*/ 103208 h 5499381"/>
              <a:gd name="connsiteX14" fmla="*/ 3113746 w 9516002"/>
              <a:gd name="connsiteY14" fmla="*/ 42575 h 5499381"/>
              <a:gd name="connsiteX15" fmla="*/ 3492301 w 9516002"/>
              <a:gd name="connsiteY15" fmla="*/ 47527 h 5499381"/>
              <a:gd name="connsiteX16" fmla="*/ 3801468 w 9516002"/>
              <a:gd name="connsiteY16" fmla="*/ 97127 h 5499381"/>
              <a:gd name="connsiteX17" fmla="*/ 3831804 w 9516002"/>
              <a:gd name="connsiteY17" fmla="*/ 75459 h 5499381"/>
              <a:gd name="connsiteX18" fmla="*/ 3493779 w 9516002"/>
              <a:gd name="connsiteY18" fmla="*/ 14788 h 5499381"/>
              <a:gd name="connsiteX19" fmla="*/ 3102178 w 9516002"/>
              <a:gd name="connsiteY19" fmla="*/ 0 h 5499381"/>
              <a:gd name="connsiteX20" fmla="*/ 2966168 w 9516002"/>
              <a:gd name="connsiteY20" fmla="*/ 43717 h 5499381"/>
              <a:gd name="connsiteX21" fmla="*/ 1724983 w 9516002"/>
              <a:gd name="connsiteY21" fmla="*/ 33669 h 5499381"/>
              <a:gd name="connsiteX22" fmla="*/ 0 w 9516002"/>
              <a:gd name="connsiteY22" fmla="*/ 404331 h 5499381"/>
              <a:gd name="connsiteX23" fmla="*/ 1122563 w 9516002"/>
              <a:gd name="connsiteY23" fmla="*/ 761550 h 5499381"/>
              <a:gd name="connsiteX24" fmla="*/ 2340454 w 9516002"/>
              <a:gd name="connsiteY24" fmla="*/ 2001744 h 5499381"/>
              <a:gd name="connsiteX25" fmla="*/ 2994353 w 9516002"/>
              <a:gd name="connsiteY25" fmla="*/ 1851556 h 5499381"/>
              <a:gd name="connsiteX26" fmla="*/ 3701327 w 9516002"/>
              <a:gd name="connsiteY26" fmla="*/ 2575572 h 5499381"/>
              <a:gd name="connsiteX27" fmla="*/ 4730834 w 9516002"/>
              <a:gd name="connsiteY27" fmla="*/ 2333499 h 5499381"/>
              <a:gd name="connsiteX28" fmla="*/ 7505150 w 9516002"/>
              <a:gd name="connsiteY28" fmla="*/ 5074986 h 5499381"/>
              <a:gd name="connsiteX29" fmla="*/ 6357273 w 9516002"/>
              <a:gd name="connsiteY29" fmla="*/ 5409537 h 5499381"/>
              <a:gd name="connsiteX30" fmla="*/ 6469578 w 9516002"/>
              <a:gd name="connsiteY30" fmla="*/ 5499381 h 5499381"/>
              <a:gd name="connsiteX0" fmla="*/ 6469578 w 9516002"/>
              <a:gd name="connsiteY0" fmla="*/ 5499381 h 5499381"/>
              <a:gd name="connsiteX1" fmla="*/ 7742764 w 9516002"/>
              <a:gd name="connsiteY1" fmla="*/ 5140005 h 5499381"/>
              <a:gd name="connsiteX2" fmla="*/ 6719013 w 9516002"/>
              <a:gd name="connsiteY2" fmla="*/ 4083746 h 5499381"/>
              <a:gd name="connsiteX3" fmla="*/ 9516002 w 9516002"/>
              <a:gd name="connsiteY3" fmla="*/ 3524518 h 5499381"/>
              <a:gd name="connsiteX4" fmla="*/ 9371779 w 9516002"/>
              <a:gd name="connsiteY4" fmla="*/ 3430012 h 5499381"/>
              <a:gd name="connsiteX5" fmla="*/ 6555285 w 9516002"/>
              <a:gd name="connsiteY5" fmla="*/ 3962574 h 5499381"/>
              <a:gd name="connsiteX6" fmla="*/ 4749537 w 9516002"/>
              <a:gd name="connsiteY6" fmla="*/ 2244306 h 5499381"/>
              <a:gd name="connsiteX7" fmla="*/ 3742709 w 9516002"/>
              <a:gd name="connsiteY7" fmla="*/ 2468271 h 5499381"/>
              <a:gd name="connsiteX8" fmla="*/ 3041316 w 9516002"/>
              <a:gd name="connsiteY8" fmla="*/ 1757848 h 5499381"/>
              <a:gd name="connsiteX9" fmla="*/ 2375170 w 9516002"/>
              <a:gd name="connsiteY9" fmla="*/ 1899707 h 5499381"/>
              <a:gd name="connsiteX10" fmla="*/ 1188283 w 9516002"/>
              <a:gd name="connsiteY10" fmla="*/ 695087 h 5499381"/>
              <a:gd name="connsiteX11" fmla="*/ 247492 w 9516002"/>
              <a:gd name="connsiteY11" fmla="*/ 397664 h 5499381"/>
              <a:gd name="connsiteX12" fmla="*/ 1746317 w 9516002"/>
              <a:gd name="connsiteY12" fmla="*/ 79609 h 5499381"/>
              <a:gd name="connsiteX13" fmla="*/ 2966908 w 9516002"/>
              <a:gd name="connsiteY13" fmla="*/ 103208 h 5499381"/>
              <a:gd name="connsiteX14" fmla="*/ 3113746 w 9516002"/>
              <a:gd name="connsiteY14" fmla="*/ 42575 h 5499381"/>
              <a:gd name="connsiteX15" fmla="*/ 3492301 w 9516002"/>
              <a:gd name="connsiteY15" fmla="*/ 47527 h 5499381"/>
              <a:gd name="connsiteX16" fmla="*/ 3765784 w 9516002"/>
              <a:gd name="connsiteY16" fmla="*/ 106048 h 5499381"/>
              <a:gd name="connsiteX17" fmla="*/ 3831804 w 9516002"/>
              <a:gd name="connsiteY17" fmla="*/ 75459 h 5499381"/>
              <a:gd name="connsiteX18" fmla="*/ 3493779 w 9516002"/>
              <a:gd name="connsiteY18" fmla="*/ 14788 h 5499381"/>
              <a:gd name="connsiteX19" fmla="*/ 3102178 w 9516002"/>
              <a:gd name="connsiteY19" fmla="*/ 0 h 5499381"/>
              <a:gd name="connsiteX20" fmla="*/ 2966168 w 9516002"/>
              <a:gd name="connsiteY20" fmla="*/ 43717 h 5499381"/>
              <a:gd name="connsiteX21" fmla="*/ 1724983 w 9516002"/>
              <a:gd name="connsiteY21" fmla="*/ 33669 h 5499381"/>
              <a:gd name="connsiteX22" fmla="*/ 0 w 9516002"/>
              <a:gd name="connsiteY22" fmla="*/ 404331 h 5499381"/>
              <a:gd name="connsiteX23" fmla="*/ 1122563 w 9516002"/>
              <a:gd name="connsiteY23" fmla="*/ 761550 h 5499381"/>
              <a:gd name="connsiteX24" fmla="*/ 2340454 w 9516002"/>
              <a:gd name="connsiteY24" fmla="*/ 2001744 h 5499381"/>
              <a:gd name="connsiteX25" fmla="*/ 2994353 w 9516002"/>
              <a:gd name="connsiteY25" fmla="*/ 1851556 h 5499381"/>
              <a:gd name="connsiteX26" fmla="*/ 3701327 w 9516002"/>
              <a:gd name="connsiteY26" fmla="*/ 2575572 h 5499381"/>
              <a:gd name="connsiteX27" fmla="*/ 4730834 w 9516002"/>
              <a:gd name="connsiteY27" fmla="*/ 2333499 h 5499381"/>
              <a:gd name="connsiteX28" fmla="*/ 7505150 w 9516002"/>
              <a:gd name="connsiteY28" fmla="*/ 5074986 h 5499381"/>
              <a:gd name="connsiteX29" fmla="*/ 6357273 w 9516002"/>
              <a:gd name="connsiteY29" fmla="*/ 5409537 h 5499381"/>
              <a:gd name="connsiteX30" fmla="*/ 6469578 w 9516002"/>
              <a:gd name="connsiteY30" fmla="*/ 5499381 h 5499381"/>
              <a:gd name="connsiteX0" fmla="*/ 6469578 w 9516002"/>
              <a:gd name="connsiteY0" fmla="*/ 5499381 h 5499381"/>
              <a:gd name="connsiteX1" fmla="*/ 7742764 w 9516002"/>
              <a:gd name="connsiteY1" fmla="*/ 5140005 h 5499381"/>
              <a:gd name="connsiteX2" fmla="*/ 6719013 w 9516002"/>
              <a:gd name="connsiteY2" fmla="*/ 4083746 h 5499381"/>
              <a:gd name="connsiteX3" fmla="*/ 9516002 w 9516002"/>
              <a:gd name="connsiteY3" fmla="*/ 3524518 h 5499381"/>
              <a:gd name="connsiteX4" fmla="*/ 9371779 w 9516002"/>
              <a:gd name="connsiteY4" fmla="*/ 3430012 h 5499381"/>
              <a:gd name="connsiteX5" fmla="*/ 6555285 w 9516002"/>
              <a:gd name="connsiteY5" fmla="*/ 3962574 h 5499381"/>
              <a:gd name="connsiteX6" fmla="*/ 4749537 w 9516002"/>
              <a:gd name="connsiteY6" fmla="*/ 2244306 h 5499381"/>
              <a:gd name="connsiteX7" fmla="*/ 3742709 w 9516002"/>
              <a:gd name="connsiteY7" fmla="*/ 2468271 h 5499381"/>
              <a:gd name="connsiteX8" fmla="*/ 3041316 w 9516002"/>
              <a:gd name="connsiteY8" fmla="*/ 1757848 h 5499381"/>
              <a:gd name="connsiteX9" fmla="*/ 2375170 w 9516002"/>
              <a:gd name="connsiteY9" fmla="*/ 1899707 h 5499381"/>
              <a:gd name="connsiteX10" fmla="*/ 1188283 w 9516002"/>
              <a:gd name="connsiteY10" fmla="*/ 695087 h 5499381"/>
              <a:gd name="connsiteX11" fmla="*/ 247492 w 9516002"/>
              <a:gd name="connsiteY11" fmla="*/ 397664 h 5499381"/>
              <a:gd name="connsiteX12" fmla="*/ 1746317 w 9516002"/>
              <a:gd name="connsiteY12" fmla="*/ 79609 h 5499381"/>
              <a:gd name="connsiteX13" fmla="*/ 2966908 w 9516002"/>
              <a:gd name="connsiteY13" fmla="*/ 103208 h 5499381"/>
              <a:gd name="connsiteX14" fmla="*/ 3113746 w 9516002"/>
              <a:gd name="connsiteY14" fmla="*/ 42575 h 5499381"/>
              <a:gd name="connsiteX15" fmla="*/ 3492301 w 9516002"/>
              <a:gd name="connsiteY15" fmla="*/ 47527 h 5499381"/>
              <a:gd name="connsiteX16" fmla="*/ 3774705 w 9516002"/>
              <a:gd name="connsiteY16" fmla="*/ 101588 h 5499381"/>
              <a:gd name="connsiteX17" fmla="*/ 3831804 w 9516002"/>
              <a:gd name="connsiteY17" fmla="*/ 75459 h 5499381"/>
              <a:gd name="connsiteX18" fmla="*/ 3493779 w 9516002"/>
              <a:gd name="connsiteY18" fmla="*/ 14788 h 5499381"/>
              <a:gd name="connsiteX19" fmla="*/ 3102178 w 9516002"/>
              <a:gd name="connsiteY19" fmla="*/ 0 h 5499381"/>
              <a:gd name="connsiteX20" fmla="*/ 2966168 w 9516002"/>
              <a:gd name="connsiteY20" fmla="*/ 43717 h 5499381"/>
              <a:gd name="connsiteX21" fmla="*/ 1724983 w 9516002"/>
              <a:gd name="connsiteY21" fmla="*/ 33669 h 5499381"/>
              <a:gd name="connsiteX22" fmla="*/ 0 w 9516002"/>
              <a:gd name="connsiteY22" fmla="*/ 404331 h 5499381"/>
              <a:gd name="connsiteX23" fmla="*/ 1122563 w 9516002"/>
              <a:gd name="connsiteY23" fmla="*/ 761550 h 5499381"/>
              <a:gd name="connsiteX24" fmla="*/ 2340454 w 9516002"/>
              <a:gd name="connsiteY24" fmla="*/ 2001744 h 5499381"/>
              <a:gd name="connsiteX25" fmla="*/ 2994353 w 9516002"/>
              <a:gd name="connsiteY25" fmla="*/ 1851556 h 5499381"/>
              <a:gd name="connsiteX26" fmla="*/ 3701327 w 9516002"/>
              <a:gd name="connsiteY26" fmla="*/ 2575572 h 5499381"/>
              <a:gd name="connsiteX27" fmla="*/ 4730834 w 9516002"/>
              <a:gd name="connsiteY27" fmla="*/ 2333499 h 5499381"/>
              <a:gd name="connsiteX28" fmla="*/ 7505150 w 9516002"/>
              <a:gd name="connsiteY28" fmla="*/ 5074986 h 5499381"/>
              <a:gd name="connsiteX29" fmla="*/ 6357273 w 9516002"/>
              <a:gd name="connsiteY29" fmla="*/ 5409537 h 5499381"/>
              <a:gd name="connsiteX30" fmla="*/ 6469578 w 9516002"/>
              <a:gd name="connsiteY30" fmla="*/ 5499381 h 5499381"/>
              <a:gd name="connsiteX0" fmla="*/ 6469578 w 9516002"/>
              <a:gd name="connsiteY0" fmla="*/ 5499381 h 5499381"/>
              <a:gd name="connsiteX1" fmla="*/ 7742764 w 9516002"/>
              <a:gd name="connsiteY1" fmla="*/ 5140005 h 5499381"/>
              <a:gd name="connsiteX2" fmla="*/ 6719013 w 9516002"/>
              <a:gd name="connsiteY2" fmla="*/ 4083746 h 5499381"/>
              <a:gd name="connsiteX3" fmla="*/ 9516002 w 9516002"/>
              <a:gd name="connsiteY3" fmla="*/ 3524518 h 5499381"/>
              <a:gd name="connsiteX4" fmla="*/ 9371779 w 9516002"/>
              <a:gd name="connsiteY4" fmla="*/ 3430012 h 5499381"/>
              <a:gd name="connsiteX5" fmla="*/ 6555285 w 9516002"/>
              <a:gd name="connsiteY5" fmla="*/ 3962574 h 5499381"/>
              <a:gd name="connsiteX6" fmla="*/ 4749537 w 9516002"/>
              <a:gd name="connsiteY6" fmla="*/ 2244306 h 5499381"/>
              <a:gd name="connsiteX7" fmla="*/ 3742709 w 9516002"/>
              <a:gd name="connsiteY7" fmla="*/ 2468271 h 5499381"/>
              <a:gd name="connsiteX8" fmla="*/ 3041316 w 9516002"/>
              <a:gd name="connsiteY8" fmla="*/ 1757848 h 5499381"/>
              <a:gd name="connsiteX9" fmla="*/ 2375170 w 9516002"/>
              <a:gd name="connsiteY9" fmla="*/ 1899707 h 5499381"/>
              <a:gd name="connsiteX10" fmla="*/ 1188283 w 9516002"/>
              <a:gd name="connsiteY10" fmla="*/ 695087 h 5499381"/>
              <a:gd name="connsiteX11" fmla="*/ 247492 w 9516002"/>
              <a:gd name="connsiteY11" fmla="*/ 397664 h 5499381"/>
              <a:gd name="connsiteX12" fmla="*/ 1746317 w 9516002"/>
              <a:gd name="connsiteY12" fmla="*/ 79609 h 5499381"/>
              <a:gd name="connsiteX13" fmla="*/ 2966908 w 9516002"/>
              <a:gd name="connsiteY13" fmla="*/ 103208 h 5499381"/>
              <a:gd name="connsiteX14" fmla="*/ 3113746 w 9516002"/>
              <a:gd name="connsiteY14" fmla="*/ 42575 h 5499381"/>
              <a:gd name="connsiteX15" fmla="*/ 3492301 w 9516002"/>
              <a:gd name="connsiteY15" fmla="*/ 47527 h 5499381"/>
              <a:gd name="connsiteX16" fmla="*/ 3774705 w 9516002"/>
              <a:gd name="connsiteY16" fmla="*/ 101588 h 5499381"/>
              <a:gd name="connsiteX17" fmla="*/ 3831804 w 9516002"/>
              <a:gd name="connsiteY17" fmla="*/ 75459 h 5499381"/>
              <a:gd name="connsiteX18" fmla="*/ 3493779 w 9516002"/>
              <a:gd name="connsiteY18" fmla="*/ 14788 h 5499381"/>
              <a:gd name="connsiteX19" fmla="*/ 3102178 w 9516002"/>
              <a:gd name="connsiteY19" fmla="*/ 0 h 5499381"/>
              <a:gd name="connsiteX20" fmla="*/ 2966168 w 9516002"/>
              <a:gd name="connsiteY20" fmla="*/ 43717 h 5499381"/>
              <a:gd name="connsiteX21" fmla="*/ 1724983 w 9516002"/>
              <a:gd name="connsiteY21" fmla="*/ 33669 h 5499381"/>
              <a:gd name="connsiteX22" fmla="*/ 0 w 9516002"/>
              <a:gd name="connsiteY22" fmla="*/ 404331 h 5499381"/>
              <a:gd name="connsiteX23" fmla="*/ 1122563 w 9516002"/>
              <a:gd name="connsiteY23" fmla="*/ 761550 h 5499381"/>
              <a:gd name="connsiteX24" fmla="*/ 2340454 w 9516002"/>
              <a:gd name="connsiteY24" fmla="*/ 2001744 h 5499381"/>
              <a:gd name="connsiteX25" fmla="*/ 2994353 w 9516002"/>
              <a:gd name="connsiteY25" fmla="*/ 1851556 h 5499381"/>
              <a:gd name="connsiteX26" fmla="*/ 3701327 w 9516002"/>
              <a:gd name="connsiteY26" fmla="*/ 2575572 h 5499381"/>
              <a:gd name="connsiteX27" fmla="*/ 4730834 w 9516002"/>
              <a:gd name="connsiteY27" fmla="*/ 2333499 h 5499381"/>
              <a:gd name="connsiteX28" fmla="*/ 7505150 w 9516002"/>
              <a:gd name="connsiteY28" fmla="*/ 5074986 h 5499381"/>
              <a:gd name="connsiteX29" fmla="*/ 6357273 w 9516002"/>
              <a:gd name="connsiteY29" fmla="*/ 5409537 h 5499381"/>
              <a:gd name="connsiteX30" fmla="*/ 6469578 w 9516002"/>
              <a:gd name="connsiteY30" fmla="*/ 5499381 h 5499381"/>
              <a:gd name="connsiteX0" fmla="*/ 6469578 w 9516002"/>
              <a:gd name="connsiteY0" fmla="*/ 5499381 h 5499381"/>
              <a:gd name="connsiteX1" fmla="*/ 7742764 w 9516002"/>
              <a:gd name="connsiteY1" fmla="*/ 5140005 h 5499381"/>
              <a:gd name="connsiteX2" fmla="*/ 6653698 w 9516002"/>
              <a:gd name="connsiteY2" fmla="*/ 4046423 h 5499381"/>
              <a:gd name="connsiteX3" fmla="*/ 9516002 w 9516002"/>
              <a:gd name="connsiteY3" fmla="*/ 3524518 h 5499381"/>
              <a:gd name="connsiteX4" fmla="*/ 9371779 w 9516002"/>
              <a:gd name="connsiteY4" fmla="*/ 3430012 h 5499381"/>
              <a:gd name="connsiteX5" fmla="*/ 6555285 w 9516002"/>
              <a:gd name="connsiteY5" fmla="*/ 3962574 h 5499381"/>
              <a:gd name="connsiteX6" fmla="*/ 4749537 w 9516002"/>
              <a:gd name="connsiteY6" fmla="*/ 2244306 h 5499381"/>
              <a:gd name="connsiteX7" fmla="*/ 3742709 w 9516002"/>
              <a:gd name="connsiteY7" fmla="*/ 2468271 h 5499381"/>
              <a:gd name="connsiteX8" fmla="*/ 3041316 w 9516002"/>
              <a:gd name="connsiteY8" fmla="*/ 1757848 h 5499381"/>
              <a:gd name="connsiteX9" fmla="*/ 2375170 w 9516002"/>
              <a:gd name="connsiteY9" fmla="*/ 1899707 h 5499381"/>
              <a:gd name="connsiteX10" fmla="*/ 1188283 w 9516002"/>
              <a:gd name="connsiteY10" fmla="*/ 695087 h 5499381"/>
              <a:gd name="connsiteX11" fmla="*/ 247492 w 9516002"/>
              <a:gd name="connsiteY11" fmla="*/ 397664 h 5499381"/>
              <a:gd name="connsiteX12" fmla="*/ 1746317 w 9516002"/>
              <a:gd name="connsiteY12" fmla="*/ 79609 h 5499381"/>
              <a:gd name="connsiteX13" fmla="*/ 2966908 w 9516002"/>
              <a:gd name="connsiteY13" fmla="*/ 103208 h 5499381"/>
              <a:gd name="connsiteX14" fmla="*/ 3113746 w 9516002"/>
              <a:gd name="connsiteY14" fmla="*/ 42575 h 5499381"/>
              <a:gd name="connsiteX15" fmla="*/ 3492301 w 9516002"/>
              <a:gd name="connsiteY15" fmla="*/ 47527 h 5499381"/>
              <a:gd name="connsiteX16" fmla="*/ 3774705 w 9516002"/>
              <a:gd name="connsiteY16" fmla="*/ 101588 h 5499381"/>
              <a:gd name="connsiteX17" fmla="*/ 3831804 w 9516002"/>
              <a:gd name="connsiteY17" fmla="*/ 75459 h 5499381"/>
              <a:gd name="connsiteX18" fmla="*/ 3493779 w 9516002"/>
              <a:gd name="connsiteY18" fmla="*/ 14788 h 5499381"/>
              <a:gd name="connsiteX19" fmla="*/ 3102178 w 9516002"/>
              <a:gd name="connsiteY19" fmla="*/ 0 h 5499381"/>
              <a:gd name="connsiteX20" fmla="*/ 2966168 w 9516002"/>
              <a:gd name="connsiteY20" fmla="*/ 43717 h 5499381"/>
              <a:gd name="connsiteX21" fmla="*/ 1724983 w 9516002"/>
              <a:gd name="connsiteY21" fmla="*/ 33669 h 5499381"/>
              <a:gd name="connsiteX22" fmla="*/ 0 w 9516002"/>
              <a:gd name="connsiteY22" fmla="*/ 404331 h 5499381"/>
              <a:gd name="connsiteX23" fmla="*/ 1122563 w 9516002"/>
              <a:gd name="connsiteY23" fmla="*/ 761550 h 5499381"/>
              <a:gd name="connsiteX24" fmla="*/ 2340454 w 9516002"/>
              <a:gd name="connsiteY24" fmla="*/ 2001744 h 5499381"/>
              <a:gd name="connsiteX25" fmla="*/ 2994353 w 9516002"/>
              <a:gd name="connsiteY25" fmla="*/ 1851556 h 5499381"/>
              <a:gd name="connsiteX26" fmla="*/ 3701327 w 9516002"/>
              <a:gd name="connsiteY26" fmla="*/ 2575572 h 5499381"/>
              <a:gd name="connsiteX27" fmla="*/ 4730834 w 9516002"/>
              <a:gd name="connsiteY27" fmla="*/ 2333499 h 5499381"/>
              <a:gd name="connsiteX28" fmla="*/ 7505150 w 9516002"/>
              <a:gd name="connsiteY28" fmla="*/ 5074986 h 5499381"/>
              <a:gd name="connsiteX29" fmla="*/ 6357273 w 9516002"/>
              <a:gd name="connsiteY29" fmla="*/ 5409537 h 5499381"/>
              <a:gd name="connsiteX30" fmla="*/ 6469578 w 9516002"/>
              <a:gd name="connsiteY30" fmla="*/ 5499381 h 5499381"/>
              <a:gd name="connsiteX0" fmla="*/ 6469578 w 9488010"/>
              <a:gd name="connsiteY0" fmla="*/ 5499381 h 5499381"/>
              <a:gd name="connsiteX1" fmla="*/ 7742764 w 9488010"/>
              <a:gd name="connsiteY1" fmla="*/ 5140005 h 5499381"/>
              <a:gd name="connsiteX2" fmla="*/ 6653698 w 9488010"/>
              <a:gd name="connsiteY2" fmla="*/ 4046423 h 5499381"/>
              <a:gd name="connsiteX3" fmla="*/ 9488010 w 9488010"/>
              <a:gd name="connsiteY3" fmla="*/ 3477865 h 5499381"/>
              <a:gd name="connsiteX4" fmla="*/ 9371779 w 9488010"/>
              <a:gd name="connsiteY4" fmla="*/ 3430012 h 5499381"/>
              <a:gd name="connsiteX5" fmla="*/ 6555285 w 9488010"/>
              <a:gd name="connsiteY5" fmla="*/ 3962574 h 5499381"/>
              <a:gd name="connsiteX6" fmla="*/ 4749537 w 9488010"/>
              <a:gd name="connsiteY6" fmla="*/ 2244306 h 5499381"/>
              <a:gd name="connsiteX7" fmla="*/ 3742709 w 9488010"/>
              <a:gd name="connsiteY7" fmla="*/ 2468271 h 5499381"/>
              <a:gd name="connsiteX8" fmla="*/ 3041316 w 9488010"/>
              <a:gd name="connsiteY8" fmla="*/ 1757848 h 5499381"/>
              <a:gd name="connsiteX9" fmla="*/ 2375170 w 9488010"/>
              <a:gd name="connsiteY9" fmla="*/ 1899707 h 5499381"/>
              <a:gd name="connsiteX10" fmla="*/ 1188283 w 9488010"/>
              <a:gd name="connsiteY10" fmla="*/ 695087 h 5499381"/>
              <a:gd name="connsiteX11" fmla="*/ 247492 w 9488010"/>
              <a:gd name="connsiteY11" fmla="*/ 397664 h 5499381"/>
              <a:gd name="connsiteX12" fmla="*/ 1746317 w 9488010"/>
              <a:gd name="connsiteY12" fmla="*/ 79609 h 5499381"/>
              <a:gd name="connsiteX13" fmla="*/ 2966908 w 9488010"/>
              <a:gd name="connsiteY13" fmla="*/ 103208 h 5499381"/>
              <a:gd name="connsiteX14" fmla="*/ 3113746 w 9488010"/>
              <a:gd name="connsiteY14" fmla="*/ 42575 h 5499381"/>
              <a:gd name="connsiteX15" fmla="*/ 3492301 w 9488010"/>
              <a:gd name="connsiteY15" fmla="*/ 47527 h 5499381"/>
              <a:gd name="connsiteX16" fmla="*/ 3774705 w 9488010"/>
              <a:gd name="connsiteY16" fmla="*/ 101588 h 5499381"/>
              <a:gd name="connsiteX17" fmla="*/ 3831804 w 9488010"/>
              <a:gd name="connsiteY17" fmla="*/ 75459 h 5499381"/>
              <a:gd name="connsiteX18" fmla="*/ 3493779 w 9488010"/>
              <a:gd name="connsiteY18" fmla="*/ 14788 h 5499381"/>
              <a:gd name="connsiteX19" fmla="*/ 3102178 w 9488010"/>
              <a:gd name="connsiteY19" fmla="*/ 0 h 5499381"/>
              <a:gd name="connsiteX20" fmla="*/ 2966168 w 9488010"/>
              <a:gd name="connsiteY20" fmla="*/ 43717 h 5499381"/>
              <a:gd name="connsiteX21" fmla="*/ 1724983 w 9488010"/>
              <a:gd name="connsiteY21" fmla="*/ 33669 h 5499381"/>
              <a:gd name="connsiteX22" fmla="*/ 0 w 9488010"/>
              <a:gd name="connsiteY22" fmla="*/ 404331 h 5499381"/>
              <a:gd name="connsiteX23" fmla="*/ 1122563 w 9488010"/>
              <a:gd name="connsiteY23" fmla="*/ 761550 h 5499381"/>
              <a:gd name="connsiteX24" fmla="*/ 2340454 w 9488010"/>
              <a:gd name="connsiteY24" fmla="*/ 2001744 h 5499381"/>
              <a:gd name="connsiteX25" fmla="*/ 2994353 w 9488010"/>
              <a:gd name="connsiteY25" fmla="*/ 1851556 h 5499381"/>
              <a:gd name="connsiteX26" fmla="*/ 3701327 w 9488010"/>
              <a:gd name="connsiteY26" fmla="*/ 2575572 h 5499381"/>
              <a:gd name="connsiteX27" fmla="*/ 4730834 w 9488010"/>
              <a:gd name="connsiteY27" fmla="*/ 2333499 h 5499381"/>
              <a:gd name="connsiteX28" fmla="*/ 7505150 w 9488010"/>
              <a:gd name="connsiteY28" fmla="*/ 5074986 h 5499381"/>
              <a:gd name="connsiteX29" fmla="*/ 6357273 w 9488010"/>
              <a:gd name="connsiteY29" fmla="*/ 5409537 h 5499381"/>
              <a:gd name="connsiteX30" fmla="*/ 6469578 w 9488010"/>
              <a:gd name="connsiteY30" fmla="*/ 5499381 h 5499381"/>
              <a:gd name="connsiteX0" fmla="*/ 6469578 w 9488010"/>
              <a:gd name="connsiteY0" fmla="*/ 5499381 h 5499381"/>
              <a:gd name="connsiteX1" fmla="*/ 7742764 w 9488010"/>
              <a:gd name="connsiteY1" fmla="*/ 5140005 h 5499381"/>
              <a:gd name="connsiteX2" fmla="*/ 6653698 w 9488010"/>
              <a:gd name="connsiteY2" fmla="*/ 4046423 h 5499381"/>
              <a:gd name="connsiteX3" fmla="*/ 9488010 w 9488010"/>
              <a:gd name="connsiteY3" fmla="*/ 3477865 h 5499381"/>
              <a:gd name="connsiteX4" fmla="*/ 9371779 w 9488010"/>
              <a:gd name="connsiteY4" fmla="*/ 3430012 h 5499381"/>
              <a:gd name="connsiteX5" fmla="*/ 6555285 w 9488010"/>
              <a:gd name="connsiteY5" fmla="*/ 3962574 h 5499381"/>
              <a:gd name="connsiteX6" fmla="*/ 4749537 w 9488010"/>
              <a:gd name="connsiteY6" fmla="*/ 2244306 h 5499381"/>
              <a:gd name="connsiteX7" fmla="*/ 3742709 w 9488010"/>
              <a:gd name="connsiteY7" fmla="*/ 2468271 h 5499381"/>
              <a:gd name="connsiteX8" fmla="*/ 3041316 w 9488010"/>
              <a:gd name="connsiteY8" fmla="*/ 1757848 h 5499381"/>
              <a:gd name="connsiteX9" fmla="*/ 2375170 w 9488010"/>
              <a:gd name="connsiteY9" fmla="*/ 1899707 h 5499381"/>
              <a:gd name="connsiteX10" fmla="*/ 1188283 w 9488010"/>
              <a:gd name="connsiteY10" fmla="*/ 695087 h 5499381"/>
              <a:gd name="connsiteX11" fmla="*/ 247492 w 9488010"/>
              <a:gd name="connsiteY11" fmla="*/ 397664 h 5499381"/>
              <a:gd name="connsiteX12" fmla="*/ 1746317 w 9488010"/>
              <a:gd name="connsiteY12" fmla="*/ 79609 h 5499381"/>
              <a:gd name="connsiteX13" fmla="*/ 2966908 w 9488010"/>
              <a:gd name="connsiteY13" fmla="*/ 103208 h 5499381"/>
              <a:gd name="connsiteX14" fmla="*/ 3113746 w 9488010"/>
              <a:gd name="connsiteY14" fmla="*/ 42575 h 5499381"/>
              <a:gd name="connsiteX15" fmla="*/ 3492301 w 9488010"/>
              <a:gd name="connsiteY15" fmla="*/ 47527 h 5499381"/>
              <a:gd name="connsiteX16" fmla="*/ 3774705 w 9488010"/>
              <a:gd name="connsiteY16" fmla="*/ 101588 h 5499381"/>
              <a:gd name="connsiteX17" fmla="*/ 3831804 w 9488010"/>
              <a:gd name="connsiteY17" fmla="*/ 75459 h 5499381"/>
              <a:gd name="connsiteX18" fmla="*/ 3493779 w 9488010"/>
              <a:gd name="connsiteY18" fmla="*/ 14788 h 5499381"/>
              <a:gd name="connsiteX19" fmla="*/ 3102178 w 9488010"/>
              <a:gd name="connsiteY19" fmla="*/ 0 h 5499381"/>
              <a:gd name="connsiteX20" fmla="*/ 2966168 w 9488010"/>
              <a:gd name="connsiteY20" fmla="*/ 43717 h 5499381"/>
              <a:gd name="connsiteX21" fmla="*/ 1724983 w 9488010"/>
              <a:gd name="connsiteY21" fmla="*/ 33669 h 5499381"/>
              <a:gd name="connsiteX22" fmla="*/ 0 w 9488010"/>
              <a:gd name="connsiteY22" fmla="*/ 404331 h 5499381"/>
              <a:gd name="connsiteX23" fmla="*/ 1122563 w 9488010"/>
              <a:gd name="connsiteY23" fmla="*/ 761550 h 5499381"/>
              <a:gd name="connsiteX24" fmla="*/ 2340454 w 9488010"/>
              <a:gd name="connsiteY24" fmla="*/ 2001744 h 5499381"/>
              <a:gd name="connsiteX25" fmla="*/ 2994353 w 9488010"/>
              <a:gd name="connsiteY25" fmla="*/ 1851556 h 5499381"/>
              <a:gd name="connsiteX26" fmla="*/ 3701327 w 9488010"/>
              <a:gd name="connsiteY26" fmla="*/ 2575572 h 5499381"/>
              <a:gd name="connsiteX27" fmla="*/ 4684181 w 9488010"/>
              <a:gd name="connsiteY27" fmla="*/ 2333499 h 5499381"/>
              <a:gd name="connsiteX28" fmla="*/ 7505150 w 9488010"/>
              <a:gd name="connsiteY28" fmla="*/ 5074986 h 5499381"/>
              <a:gd name="connsiteX29" fmla="*/ 6357273 w 9488010"/>
              <a:gd name="connsiteY29" fmla="*/ 5409537 h 5499381"/>
              <a:gd name="connsiteX30" fmla="*/ 6469578 w 9488010"/>
              <a:gd name="connsiteY30" fmla="*/ 5499381 h 5499381"/>
              <a:gd name="connsiteX0" fmla="*/ 6469578 w 9488010"/>
              <a:gd name="connsiteY0" fmla="*/ 5499381 h 5499381"/>
              <a:gd name="connsiteX1" fmla="*/ 7742764 w 9488010"/>
              <a:gd name="connsiteY1" fmla="*/ 5140005 h 5499381"/>
              <a:gd name="connsiteX2" fmla="*/ 6653698 w 9488010"/>
              <a:gd name="connsiteY2" fmla="*/ 4046423 h 5499381"/>
              <a:gd name="connsiteX3" fmla="*/ 9488010 w 9488010"/>
              <a:gd name="connsiteY3" fmla="*/ 3477865 h 5499381"/>
              <a:gd name="connsiteX4" fmla="*/ 9371779 w 9488010"/>
              <a:gd name="connsiteY4" fmla="*/ 3430012 h 5499381"/>
              <a:gd name="connsiteX5" fmla="*/ 6555285 w 9488010"/>
              <a:gd name="connsiteY5" fmla="*/ 3962574 h 5499381"/>
              <a:gd name="connsiteX6" fmla="*/ 4749537 w 9488010"/>
              <a:gd name="connsiteY6" fmla="*/ 2244306 h 5499381"/>
              <a:gd name="connsiteX7" fmla="*/ 3742709 w 9488010"/>
              <a:gd name="connsiteY7" fmla="*/ 2468271 h 5499381"/>
              <a:gd name="connsiteX8" fmla="*/ 3041316 w 9488010"/>
              <a:gd name="connsiteY8" fmla="*/ 1757848 h 5499381"/>
              <a:gd name="connsiteX9" fmla="*/ 2375170 w 9488010"/>
              <a:gd name="connsiteY9" fmla="*/ 1899707 h 5499381"/>
              <a:gd name="connsiteX10" fmla="*/ 1188283 w 9488010"/>
              <a:gd name="connsiteY10" fmla="*/ 695087 h 5499381"/>
              <a:gd name="connsiteX11" fmla="*/ 247492 w 9488010"/>
              <a:gd name="connsiteY11" fmla="*/ 397664 h 5499381"/>
              <a:gd name="connsiteX12" fmla="*/ 1746317 w 9488010"/>
              <a:gd name="connsiteY12" fmla="*/ 79609 h 5499381"/>
              <a:gd name="connsiteX13" fmla="*/ 2966908 w 9488010"/>
              <a:gd name="connsiteY13" fmla="*/ 103208 h 5499381"/>
              <a:gd name="connsiteX14" fmla="*/ 3113746 w 9488010"/>
              <a:gd name="connsiteY14" fmla="*/ 42575 h 5499381"/>
              <a:gd name="connsiteX15" fmla="*/ 3492301 w 9488010"/>
              <a:gd name="connsiteY15" fmla="*/ 47527 h 5499381"/>
              <a:gd name="connsiteX16" fmla="*/ 3774705 w 9488010"/>
              <a:gd name="connsiteY16" fmla="*/ 101588 h 5499381"/>
              <a:gd name="connsiteX17" fmla="*/ 3831804 w 9488010"/>
              <a:gd name="connsiteY17" fmla="*/ 75459 h 5499381"/>
              <a:gd name="connsiteX18" fmla="*/ 3493779 w 9488010"/>
              <a:gd name="connsiteY18" fmla="*/ 14788 h 5499381"/>
              <a:gd name="connsiteX19" fmla="*/ 3102178 w 9488010"/>
              <a:gd name="connsiteY19" fmla="*/ 0 h 5499381"/>
              <a:gd name="connsiteX20" fmla="*/ 2966168 w 9488010"/>
              <a:gd name="connsiteY20" fmla="*/ 43717 h 5499381"/>
              <a:gd name="connsiteX21" fmla="*/ 1724983 w 9488010"/>
              <a:gd name="connsiteY21" fmla="*/ 33669 h 5499381"/>
              <a:gd name="connsiteX22" fmla="*/ 0 w 9488010"/>
              <a:gd name="connsiteY22" fmla="*/ 404331 h 5499381"/>
              <a:gd name="connsiteX23" fmla="*/ 1122563 w 9488010"/>
              <a:gd name="connsiteY23" fmla="*/ 761550 h 5499381"/>
              <a:gd name="connsiteX24" fmla="*/ 2340454 w 9488010"/>
              <a:gd name="connsiteY24" fmla="*/ 2001744 h 5499381"/>
              <a:gd name="connsiteX25" fmla="*/ 2994353 w 9488010"/>
              <a:gd name="connsiteY25" fmla="*/ 1851556 h 5499381"/>
              <a:gd name="connsiteX26" fmla="*/ 3701327 w 9488010"/>
              <a:gd name="connsiteY26" fmla="*/ 2575572 h 5499381"/>
              <a:gd name="connsiteX27" fmla="*/ 4712173 w 9488010"/>
              <a:gd name="connsiteY27" fmla="*/ 2333499 h 5499381"/>
              <a:gd name="connsiteX28" fmla="*/ 7505150 w 9488010"/>
              <a:gd name="connsiteY28" fmla="*/ 5074986 h 5499381"/>
              <a:gd name="connsiteX29" fmla="*/ 6357273 w 9488010"/>
              <a:gd name="connsiteY29" fmla="*/ 5409537 h 5499381"/>
              <a:gd name="connsiteX30" fmla="*/ 6469578 w 9488010"/>
              <a:gd name="connsiteY30" fmla="*/ 5499381 h 5499381"/>
              <a:gd name="connsiteX0" fmla="*/ 6469578 w 9488010"/>
              <a:gd name="connsiteY0" fmla="*/ 5499381 h 5499381"/>
              <a:gd name="connsiteX1" fmla="*/ 7742764 w 9488010"/>
              <a:gd name="connsiteY1" fmla="*/ 5140005 h 5499381"/>
              <a:gd name="connsiteX2" fmla="*/ 6653698 w 9488010"/>
              <a:gd name="connsiteY2" fmla="*/ 4046423 h 5499381"/>
              <a:gd name="connsiteX3" fmla="*/ 9488010 w 9488010"/>
              <a:gd name="connsiteY3" fmla="*/ 3477865 h 5499381"/>
              <a:gd name="connsiteX4" fmla="*/ 9371779 w 9488010"/>
              <a:gd name="connsiteY4" fmla="*/ 3430012 h 5499381"/>
              <a:gd name="connsiteX5" fmla="*/ 6555285 w 9488010"/>
              <a:gd name="connsiteY5" fmla="*/ 3962574 h 5499381"/>
              <a:gd name="connsiteX6" fmla="*/ 4749537 w 9488010"/>
              <a:gd name="connsiteY6" fmla="*/ 2244306 h 5499381"/>
              <a:gd name="connsiteX7" fmla="*/ 3742709 w 9488010"/>
              <a:gd name="connsiteY7" fmla="*/ 2468271 h 5499381"/>
              <a:gd name="connsiteX8" fmla="*/ 3041316 w 9488010"/>
              <a:gd name="connsiteY8" fmla="*/ 1757848 h 5499381"/>
              <a:gd name="connsiteX9" fmla="*/ 2375170 w 9488010"/>
              <a:gd name="connsiteY9" fmla="*/ 1899707 h 5499381"/>
              <a:gd name="connsiteX10" fmla="*/ 1188283 w 9488010"/>
              <a:gd name="connsiteY10" fmla="*/ 695087 h 5499381"/>
              <a:gd name="connsiteX11" fmla="*/ 172847 w 9488010"/>
              <a:gd name="connsiteY11" fmla="*/ 397664 h 5499381"/>
              <a:gd name="connsiteX12" fmla="*/ 1746317 w 9488010"/>
              <a:gd name="connsiteY12" fmla="*/ 79609 h 5499381"/>
              <a:gd name="connsiteX13" fmla="*/ 2966908 w 9488010"/>
              <a:gd name="connsiteY13" fmla="*/ 103208 h 5499381"/>
              <a:gd name="connsiteX14" fmla="*/ 3113746 w 9488010"/>
              <a:gd name="connsiteY14" fmla="*/ 42575 h 5499381"/>
              <a:gd name="connsiteX15" fmla="*/ 3492301 w 9488010"/>
              <a:gd name="connsiteY15" fmla="*/ 47527 h 5499381"/>
              <a:gd name="connsiteX16" fmla="*/ 3774705 w 9488010"/>
              <a:gd name="connsiteY16" fmla="*/ 101588 h 5499381"/>
              <a:gd name="connsiteX17" fmla="*/ 3831804 w 9488010"/>
              <a:gd name="connsiteY17" fmla="*/ 75459 h 5499381"/>
              <a:gd name="connsiteX18" fmla="*/ 3493779 w 9488010"/>
              <a:gd name="connsiteY18" fmla="*/ 14788 h 5499381"/>
              <a:gd name="connsiteX19" fmla="*/ 3102178 w 9488010"/>
              <a:gd name="connsiteY19" fmla="*/ 0 h 5499381"/>
              <a:gd name="connsiteX20" fmla="*/ 2966168 w 9488010"/>
              <a:gd name="connsiteY20" fmla="*/ 43717 h 5499381"/>
              <a:gd name="connsiteX21" fmla="*/ 1724983 w 9488010"/>
              <a:gd name="connsiteY21" fmla="*/ 33669 h 5499381"/>
              <a:gd name="connsiteX22" fmla="*/ 0 w 9488010"/>
              <a:gd name="connsiteY22" fmla="*/ 404331 h 5499381"/>
              <a:gd name="connsiteX23" fmla="*/ 1122563 w 9488010"/>
              <a:gd name="connsiteY23" fmla="*/ 761550 h 5499381"/>
              <a:gd name="connsiteX24" fmla="*/ 2340454 w 9488010"/>
              <a:gd name="connsiteY24" fmla="*/ 2001744 h 5499381"/>
              <a:gd name="connsiteX25" fmla="*/ 2994353 w 9488010"/>
              <a:gd name="connsiteY25" fmla="*/ 1851556 h 5499381"/>
              <a:gd name="connsiteX26" fmla="*/ 3701327 w 9488010"/>
              <a:gd name="connsiteY26" fmla="*/ 2575572 h 5499381"/>
              <a:gd name="connsiteX27" fmla="*/ 4712173 w 9488010"/>
              <a:gd name="connsiteY27" fmla="*/ 2333499 h 5499381"/>
              <a:gd name="connsiteX28" fmla="*/ 7505150 w 9488010"/>
              <a:gd name="connsiteY28" fmla="*/ 5074986 h 5499381"/>
              <a:gd name="connsiteX29" fmla="*/ 6357273 w 9488010"/>
              <a:gd name="connsiteY29" fmla="*/ 5409537 h 5499381"/>
              <a:gd name="connsiteX30" fmla="*/ 6469578 w 9488010"/>
              <a:gd name="connsiteY30" fmla="*/ 5499381 h 5499381"/>
              <a:gd name="connsiteX0" fmla="*/ 6469578 w 9488010"/>
              <a:gd name="connsiteY0" fmla="*/ 5499381 h 5499381"/>
              <a:gd name="connsiteX1" fmla="*/ 7742764 w 9488010"/>
              <a:gd name="connsiteY1" fmla="*/ 5140005 h 5499381"/>
              <a:gd name="connsiteX2" fmla="*/ 6653698 w 9488010"/>
              <a:gd name="connsiteY2" fmla="*/ 4046423 h 5499381"/>
              <a:gd name="connsiteX3" fmla="*/ 9488010 w 9488010"/>
              <a:gd name="connsiteY3" fmla="*/ 3477865 h 5499381"/>
              <a:gd name="connsiteX4" fmla="*/ 9371779 w 9488010"/>
              <a:gd name="connsiteY4" fmla="*/ 3430012 h 5499381"/>
              <a:gd name="connsiteX5" fmla="*/ 6555285 w 9488010"/>
              <a:gd name="connsiteY5" fmla="*/ 3962574 h 5499381"/>
              <a:gd name="connsiteX6" fmla="*/ 4749537 w 9488010"/>
              <a:gd name="connsiteY6" fmla="*/ 2244306 h 5499381"/>
              <a:gd name="connsiteX7" fmla="*/ 3742709 w 9488010"/>
              <a:gd name="connsiteY7" fmla="*/ 2468271 h 5499381"/>
              <a:gd name="connsiteX8" fmla="*/ 3041316 w 9488010"/>
              <a:gd name="connsiteY8" fmla="*/ 1757848 h 5499381"/>
              <a:gd name="connsiteX9" fmla="*/ 2375170 w 9488010"/>
              <a:gd name="connsiteY9" fmla="*/ 1899707 h 5499381"/>
              <a:gd name="connsiteX10" fmla="*/ 1188283 w 9488010"/>
              <a:gd name="connsiteY10" fmla="*/ 695087 h 5499381"/>
              <a:gd name="connsiteX11" fmla="*/ 194194 w 9488010"/>
              <a:gd name="connsiteY11" fmla="*/ 411896 h 5499381"/>
              <a:gd name="connsiteX12" fmla="*/ 1746317 w 9488010"/>
              <a:gd name="connsiteY12" fmla="*/ 79609 h 5499381"/>
              <a:gd name="connsiteX13" fmla="*/ 2966908 w 9488010"/>
              <a:gd name="connsiteY13" fmla="*/ 103208 h 5499381"/>
              <a:gd name="connsiteX14" fmla="*/ 3113746 w 9488010"/>
              <a:gd name="connsiteY14" fmla="*/ 42575 h 5499381"/>
              <a:gd name="connsiteX15" fmla="*/ 3492301 w 9488010"/>
              <a:gd name="connsiteY15" fmla="*/ 47527 h 5499381"/>
              <a:gd name="connsiteX16" fmla="*/ 3774705 w 9488010"/>
              <a:gd name="connsiteY16" fmla="*/ 101588 h 5499381"/>
              <a:gd name="connsiteX17" fmla="*/ 3831804 w 9488010"/>
              <a:gd name="connsiteY17" fmla="*/ 75459 h 5499381"/>
              <a:gd name="connsiteX18" fmla="*/ 3493779 w 9488010"/>
              <a:gd name="connsiteY18" fmla="*/ 14788 h 5499381"/>
              <a:gd name="connsiteX19" fmla="*/ 3102178 w 9488010"/>
              <a:gd name="connsiteY19" fmla="*/ 0 h 5499381"/>
              <a:gd name="connsiteX20" fmla="*/ 2966168 w 9488010"/>
              <a:gd name="connsiteY20" fmla="*/ 43717 h 5499381"/>
              <a:gd name="connsiteX21" fmla="*/ 1724983 w 9488010"/>
              <a:gd name="connsiteY21" fmla="*/ 33669 h 5499381"/>
              <a:gd name="connsiteX22" fmla="*/ 0 w 9488010"/>
              <a:gd name="connsiteY22" fmla="*/ 404331 h 5499381"/>
              <a:gd name="connsiteX23" fmla="*/ 1122563 w 9488010"/>
              <a:gd name="connsiteY23" fmla="*/ 761550 h 5499381"/>
              <a:gd name="connsiteX24" fmla="*/ 2340454 w 9488010"/>
              <a:gd name="connsiteY24" fmla="*/ 2001744 h 5499381"/>
              <a:gd name="connsiteX25" fmla="*/ 2994353 w 9488010"/>
              <a:gd name="connsiteY25" fmla="*/ 1851556 h 5499381"/>
              <a:gd name="connsiteX26" fmla="*/ 3701327 w 9488010"/>
              <a:gd name="connsiteY26" fmla="*/ 2575572 h 5499381"/>
              <a:gd name="connsiteX27" fmla="*/ 4712173 w 9488010"/>
              <a:gd name="connsiteY27" fmla="*/ 2333499 h 5499381"/>
              <a:gd name="connsiteX28" fmla="*/ 7505150 w 9488010"/>
              <a:gd name="connsiteY28" fmla="*/ 5074986 h 5499381"/>
              <a:gd name="connsiteX29" fmla="*/ 6357273 w 9488010"/>
              <a:gd name="connsiteY29" fmla="*/ 5409537 h 5499381"/>
              <a:gd name="connsiteX30" fmla="*/ 6469578 w 9488010"/>
              <a:gd name="connsiteY30" fmla="*/ 5499381 h 5499381"/>
              <a:gd name="connsiteX0" fmla="*/ 6469578 w 9488010"/>
              <a:gd name="connsiteY0" fmla="*/ 5499381 h 5499381"/>
              <a:gd name="connsiteX1" fmla="*/ 7742764 w 9488010"/>
              <a:gd name="connsiteY1" fmla="*/ 5140005 h 5499381"/>
              <a:gd name="connsiteX2" fmla="*/ 6653698 w 9488010"/>
              <a:gd name="connsiteY2" fmla="*/ 4046423 h 5499381"/>
              <a:gd name="connsiteX3" fmla="*/ 9488010 w 9488010"/>
              <a:gd name="connsiteY3" fmla="*/ 3477865 h 5499381"/>
              <a:gd name="connsiteX4" fmla="*/ 9371779 w 9488010"/>
              <a:gd name="connsiteY4" fmla="*/ 3430012 h 5499381"/>
              <a:gd name="connsiteX5" fmla="*/ 6555285 w 9488010"/>
              <a:gd name="connsiteY5" fmla="*/ 3962574 h 5499381"/>
              <a:gd name="connsiteX6" fmla="*/ 4749537 w 9488010"/>
              <a:gd name="connsiteY6" fmla="*/ 2244306 h 5499381"/>
              <a:gd name="connsiteX7" fmla="*/ 3742709 w 9488010"/>
              <a:gd name="connsiteY7" fmla="*/ 2468271 h 5499381"/>
              <a:gd name="connsiteX8" fmla="*/ 3041316 w 9488010"/>
              <a:gd name="connsiteY8" fmla="*/ 1757848 h 5499381"/>
              <a:gd name="connsiteX9" fmla="*/ 2375170 w 9488010"/>
              <a:gd name="connsiteY9" fmla="*/ 1899707 h 5499381"/>
              <a:gd name="connsiteX10" fmla="*/ 1188283 w 9488010"/>
              <a:gd name="connsiteY10" fmla="*/ 695087 h 5499381"/>
              <a:gd name="connsiteX11" fmla="*/ 183520 w 9488010"/>
              <a:gd name="connsiteY11" fmla="*/ 411896 h 5499381"/>
              <a:gd name="connsiteX12" fmla="*/ 1746317 w 9488010"/>
              <a:gd name="connsiteY12" fmla="*/ 79609 h 5499381"/>
              <a:gd name="connsiteX13" fmla="*/ 2966908 w 9488010"/>
              <a:gd name="connsiteY13" fmla="*/ 103208 h 5499381"/>
              <a:gd name="connsiteX14" fmla="*/ 3113746 w 9488010"/>
              <a:gd name="connsiteY14" fmla="*/ 42575 h 5499381"/>
              <a:gd name="connsiteX15" fmla="*/ 3492301 w 9488010"/>
              <a:gd name="connsiteY15" fmla="*/ 47527 h 5499381"/>
              <a:gd name="connsiteX16" fmla="*/ 3774705 w 9488010"/>
              <a:gd name="connsiteY16" fmla="*/ 101588 h 5499381"/>
              <a:gd name="connsiteX17" fmla="*/ 3831804 w 9488010"/>
              <a:gd name="connsiteY17" fmla="*/ 75459 h 5499381"/>
              <a:gd name="connsiteX18" fmla="*/ 3493779 w 9488010"/>
              <a:gd name="connsiteY18" fmla="*/ 14788 h 5499381"/>
              <a:gd name="connsiteX19" fmla="*/ 3102178 w 9488010"/>
              <a:gd name="connsiteY19" fmla="*/ 0 h 5499381"/>
              <a:gd name="connsiteX20" fmla="*/ 2966168 w 9488010"/>
              <a:gd name="connsiteY20" fmla="*/ 43717 h 5499381"/>
              <a:gd name="connsiteX21" fmla="*/ 1724983 w 9488010"/>
              <a:gd name="connsiteY21" fmla="*/ 33669 h 5499381"/>
              <a:gd name="connsiteX22" fmla="*/ 0 w 9488010"/>
              <a:gd name="connsiteY22" fmla="*/ 404331 h 5499381"/>
              <a:gd name="connsiteX23" fmla="*/ 1122563 w 9488010"/>
              <a:gd name="connsiteY23" fmla="*/ 761550 h 5499381"/>
              <a:gd name="connsiteX24" fmla="*/ 2340454 w 9488010"/>
              <a:gd name="connsiteY24" fmla="*/ 2001744 h 5499381"/>
              <a:gd name="connsiteX25" fmla="*/ 2994353 w 9488010"/>
              <a:gd name="connsiteY25" fmla="*/ 1851556 h 5499381"/>
              <a:gd name="connsiteX26" fmla="*/ 3701327 w 9488010"/>
              <a:gd name="connsiteY26" fmla="*/ 2575572 h 5499381"/>
              <a:gd name="connsiteX27" fmla="*/ 4712173 w 9488010"/>
              <a:gd name="connsiteY27" fmla="*/ 2333499 h 5499381"/>
              <a:gd name="connsiteX28" fmla="*/ 7505150 w 9488010"/>
              <a:gd name="connsiteY28" fmla="*/ 5074986 h 5499381"/>
              <a:gd name="connsiteX29" fmla="*/ 6357273 w 9488010"/>
              <a:gd name="connsiteY29" fmla="*/ 5409537 h 5499381"/>
              <a:gd name="connsiteX30" fmla="*/ 6469578 w 9488010"/>
              <a:gd name="connsiteY30" fmla="*/ 5499381 h 5499381"/>
              <a:gd name="connsiteX0" fmla="*/ 6469578 w 9488010"/>
              <a:gd name="connsiteY0" fmla="*/ 5499381 h 5499381"/>
              <a:gd name="connsiteX1" fmla="*/ 7742764 w 9488010"/>
              <a:gd name="connsiteY1" fmla="*/ 5140005 h 5499381"/>
              <a:gd name="connsiteX2" fmla="*/ 6653698 w 9488010"/>
              <a:gd name="connsiteY2" fmla="*/ 4046423 h 5499381"/>
              <a:gd name="connsiteX3" fmla="*/ 9488010 w 9488010"/>
              <a:gd name="connsiteY3" fmla="*/ 3477865 h 5499381"/>
              <a:gd name="connsiteX4" fmla="*/ 9371779 w 9488010"/>
              <a:gd name="connsiteY4" fmla="*/ 3430012 h 5499381"/>
              <a:gd name="connsiteX5" fmla="*/ 6555285 w 9488010"/>
              <a:gd name="connsiteY5" fmla="*/ 3962574 h 5499381"/>
              <a:gd name="connsiteX6" fmla="*/ 4749537 w 9488010"/>
              <a:gd name="connsiteY6" fmla="*/ 2244306 h 5499381"/>
              <a:gd name="connsiteX7" fmla="*/ 3742709 w 9488010"/>
              <a:gd name="connsiteY7" fmla="*/ 2468271 h 5499381"/>
              <a:gd name="connsiteX8" fmla="*/ 3041316 w 9488010"/>
              <a:gd name="connsiteY8" fmla="*/ 1757848 h 5499381"/>
              <a:gd name="connsiteX9" fmla="*/ 2375170 w 9488010"/>
              <a:gd name="connsiteY9" fmla="*/ 1899707 h 5499381"/>
              <a:gd name="connsiteX10" fmla="*/ 1188283 w 9488010"/>
              <a:gd name="connsiteY10" fmla="*/ 695087 h 5499381"/>
              <a:gd name="connsiteX11" fmla="*/ 183520 w 9488010"/>
              <a:gd name="connsiteY11" fmla="*/ 411896 h 5499381"/>
              <a:gd name="connsiteX12" fmla="*/ 1746317 w 9488010"/>
              <a:gd name="connsiteY12" fmla="*/ 79609 h 5499381"/>
              <a:gd name="connsiteX13" fmla="*/ 2966908 w 9488010"/>
              <a:gd name="connsiteY13" fmla="*/ 103208 h 5499381"/>
              <a:gd name="connsiteX14" fmla="*/ 3113746 w 9488010"/>
              <a:gd name="connsiteY14" fmla="*/ 42575 h 5499381"/>
              <a:gd name="connsiteX15" fmla="*/ 3492301 w 9488010"/>
              <a:gd name="connsiteY15" fmla="*/ 47527 h 5499381"/>
              <a:gd name="connsiteX16" fmla="*/ 3774705 w 9488010"/>
              <a:gd name="connsiteY16" fmla="*/ 101588 h 5499381"/>
              <a:gd name="connsiteX17" fmla="*/ 3831804 w 9488010"/>
              <a:gd name="connsiteY17" fmla="*/ 75459 h 5499381"/>
              <a:gd name="connsiteX18" fmla="*/ 3493779 w 9488010"/>
              <a:gd name="connsiteY18" fmla="*/ 14788 h 5499381"/>
              <a:gd name="connsiteX19" fmla="*/ 3102178 w 9488010"/>
              <a:gd name="connsiteY19" fmla="*/ 0 h 5499381"/>
              <a:gd name="connsiteX20" fmla="*/ 2966168 w 9488010"/>
              <a:gd name="connsiteY20" fmla="*/ 43717 h 5499381"/>
              <a:gd name="connsiteX21" fmla="*/ 1724983 w 9488010"/>
              <a:gd name="connsiteY21" fmla="*/ 33669 h 5499381"/>
              <a:gd name="connsiteX22" fmla="*/ 0 w 9488010"/>
              <a:gd name="connsiteY22" fmla="*/ 404331 h 5499381"/>
              <a:gd name="connsiteX23" fmla="*/ 1122563 w 9488010"/>
              <a:gd name="connsiteY23" fmla="*/ 740202 h 5499381"/>
              <a:gd name="connsiteX24" fmla="*/ 2340454 w 9488010"/>
              <a:gd name="connsiteY24" fmla="*/ 2001744 h 5499381"/>
              <a:gd name="connsiteX25" fmla="*/ 2994353 w 9488010"/>
              <a:gd name="connsiteY25" fmla="*/ 1851556 h 5499381"/>
              <a:gd name="connsiteX26" fmla="*/ 3701327 w 9488010"/>
              <a:gd name="connsiteY26" fmla="*/ 2575572 h 5499381"/>
              <a:gd name="connsiteX27" fmla="*/ 4712173 w 9488010"/>
              <a:gd name="connsiteY27" fmla="*/ 2333499 h 5499381"/>
              <a:gd name="connsiteX28" fmla="*/ 7505150 w 9488010"/>
              <a:gd name="connsiteY28" fmla="*/ 5074986 h 5499381"/>
              <a:gd name="connsiteX29" fmla="*/ 6357273 w 9488010"/>
              <a:gd name="connsiteY29" fmla="*/ 5409537 h 5499381"/>
              <a:gd name="connsiteX30" fmla="*/ 6469578 w 9488010"/>
              <a:gd name="connsiteY30" fmla="*/ 5499381 h 5499381"/>
              <a:gd name="connsiteX0" fmla="*/ 6515832 w 9534264"/>
              <a:gd name="connsiteY0" fmla="*/ 5499381 h 5499381"/>
              <a:gd name="connsiteX1" fmla="*/ 7789018 w 9534264"/>
              <a:gd name="connsiteY1" fmla="*/ 5140005 h 5499381"/>
              <a:gd name="connsiteX2" fmla="*/ 6699952 w 9534264"/>
              <a:gd name="connsiteY2" fmla="*/ 4046423 h 5499381"/>
              <a:gd name="connsiteX3" fmla="*/ 9534264 w 9534264"/>
              <a:gd name="connsiteY3" fmla="*/ 3477865 h 5499381"/>
              <a:gd name="connsiteX4" fmla="*/ 9418033 w 9534264"/>
              <a:gd name="connsiteY4" fmla="*/ 3430012 h 5499381"/>
              <a:gd name="connsiteX5" fmla="*/ 6601539 w 9534264"/>
              <a:gd name="connsiteY5" fmla="*/ 3962574 h 5499381"/>
              <a:gd name="connsiteX6" fmla="*/ 4795791 w 9534264"/>
              <a:gd name="connsiteY6" fmla="*/ 2244306 h 5499381"/>
              <a:gd name="connsiteX7" fmla="*/ 3788963 w 9534264"/>
              <a:gd name="connsiteY7" fmla="*/ 2468271 h 5499381"/>
              <a:gd name="connsiteX8" fmla="*/ 3087570 w 9534264"/>
              <a:gd name="connsiteY8" fmla="*/ 1757848 h 5499381"/>
              <a:gd name="connsiteX9" fmla="*/ 2421424 w 9534264"/>
              <a:gd name="connsiteY9" fmla="*/ 1899707 h 5499381"/>
              <a:gd name="connsiteX10" fmla="*/ 1234537 w 9534264"/>
              <a:gd name="connsiteY10" fmla="*/ 695087 h 5499381"/>
              <a:gd name="connsiteX11" fmla="*/ 229774 w 9534264"/>
              <a:gd name="connsiteY11" fmla="*/ 411896 h 5499381"/>
              <a:gd name="connsiteX12" fmla="*/ 1792571 w 9534264"/>
              <a:gd name="connsiteY12" fmla="*/ 79609 h 5499381"/>
              <a:gd name="connsiteX13" fmla="*/ 3013162 w 9534264"/>
              <a:gd name="connsiteY13" fmla="*/ 103208 h 5499381"/>
              <a:gd name="connsiteX14" fmla="*/ 3160000 w 9534264"/>
              <a:gd name="connsiteY14" fmla="*/ 42575 h 5499381"/>
              <a:gd name="connsiteX15" fmla="*/ 3538555 w 9534264"/>
              <a:gd name="connsiteY15" fmla="*/ 47527 h 5499381"/>
              <a:gd name="connsiteX16" fmla="*/ 3820959 w 9534264"/>
              <a:gd name="connsiteY16" fmla="*/ 101588 h 5499381"/>
              <a:gd name="connsiteX17" fmla="*/ 3878058 w 9534264"/>
              <a:gd name="connsiteY17" fmla="*/ 75459 h 5499381"/>
              <a:gd name="connsiteX18" fmla="*/ 3540033 w 9534264"/>
              <a:gd name="connsiteY18" fmla="*/ 14788 h 5499381"/>
              <a:gd name="connsiteX19" fmla="*/ 3148432 w 9534264"/>
              <a:gd name="connsiteY19" fmla="*/ 0 h 5499381"/>
              <a:gd name="connsiteX20" fmla="*/ 3012422 w 9534264"/>
              <a:gd name="connsiteY20" fmla="*/ 43717 h 5499381"/>
              <a:gd name="connsiteX21" fmla="*/ 1771237 w 9534264"/>
              <a:gd name="connsiteY21" fmla="*/ 33669 h 5499381"/>
              <a:gd name="connsiteX22" fmla="*/ 0 w 9534264"/>
              <a:gd name="connsiteY22" fmla="*/ 415005 h 5499381"/>
              <a:gd name="connsiteX23" fmla="*/ 1168817 w 9534264"/>
              <a:gd name="connsiteY23" fmla="*/ 740202 h 5499381"/>
              <a:gd name="connsiteX24" fmla="*/ 2386708 w 9534264"/>
              <a:gd name="connsiteY24" fmla="*/ 2001744 h 5499381"/>
              <a:gd name="connsiteX25" fmla="*/ 3040607 w 9534264"/>
              <a:gd name="connsiteY25" fmla="*/ 1851556 h 5499381"/>
              <a:gd name="connsiteX26" fmla="*/ 3747581 w 9534264"/>
              <a:gd name="connsiteY26" fmla="*/ 2575572 h 5499381"/>
              <a:gd name="connsiteX27" fmla="*/ 4758427 w 9534264"/>
              <a:gd name="connsiteY27" fmla="*/ 2333499 h 5499381"/>
              <a:gd name="connsiteX28" fmla="*/ 7551404 w 9534264"/>
              <a:gd name="connsiteY28" fmla="*/ 5074986 h 5499381"/>
              <a:gd name="connsiteX29" fmla="*/ 6403527 w 9534264"/>
              <a:gd name="connsiteY29" fmla="*/ 5409537 h 5499381"/>
              <a:gd name="connsiteX30" fmla="*/ 6515832 w 9534264"/>
              <a:gd name="connsiteY30" fmla="*/ 5499381 h 5499381"/>
              <a:gd name="connsiteX0" fmla="*/ 6515832 w 9534264"/>
              <a:gd name="connsiteY0" fmla="*/ 5499381 h 5499381"/>
              <a:gd name="connsiteX1" fmla="*/ 7789018 w 9534264"/>
              <a:gd name="connsiteY1" fmla="*/ 5140005 h 5499381"/>
              <a:gd name="connsiteX2" fmla="*/ 6699952 w 9534264"/>
              <a:gd name="connsiteY2" fmla="*/ 4046423 h 5499381"/>
              <a:gd name="connsiteX3" fmla="*/ 9534264 w 9534264"/>
              <a:gd name="connsiteY3" fmla="*/ 3477865 h 5499381"/>
              <a:gd name="connsiteX4" fmla="*/ 9418033 w 9534264"/>
              <a:gd name="connsiteY4" fmla="*/ 3430012 h 5499381"/>
              <a:gd name="connsiteX5" fmla="*/ 6601539 w 9534264"/>
              <a:gd name="connsiteY5" fmla="*/ 3962574 h 5499381"/>
              <a:gd name="connsiteX6" fmla="*/ 4795791 w 9534264"/>
              <a:gd name="connsiteY6" fmla="*/ 2244306 h 5499381"/>
              <a:gd name="connsiteX7" fmla="*/ 3788963 w 9534264"/>
              <a:gd name="connsiteY7" fmla="*/ 2468271 h 5499381"/>
              <a:gd name="connsiteX8" fmla="*/ 3087570 w 9534264"/>
              <a:gd name="connsiteY8" fmla="*/ 1757848 h 5499381"/>
              <a:gd name="connsiteX9" fmla="*/ 2421424 w 9534264"/>
              <a:gd name="connsiteY9" fmla="*/ 1899707 h 5499381"/>
              <a:gd name="connsiteX10" fmla="*/ 1234537 w 9534264"/>
              <a:gd name="connsiteY10" fmla="*/ 695087 h 5499381"/>
              <a:gd name="connsiteX11" fmla="*/ 229774 w 9534264"/>
              <a:gd name="connsiteY11" fmla="*/ 411896 h 5499381"/>
              <a:gd name="connsiteX12" fmla="*/ 1792571 w 9534264"/>
              <a:gd name="connsiteY12" fmla="*/ 79609 h 5499381"/>
              <a:gd name="connsiteX13" fmla="*/ 3013162 w 9534264"/>
              <a:gd name="connsiteY13" fmla="*/ 103208 h 5499381"/>
              <a:gd name="connsiteX14" fmla="*/ 3160000 w 9534264"/>
              <a:gd name="connsiteY14" fmla="*/ 42575 h 5499381"/>
              <a:gd name="connsiteX15" fmla="*/ 3538555 w 9534264"/>
              <a:gd name="connsiteY15" fmla="*/ 47527 h 5499381"/>
              <a:gd name="connsiteX16" fmla="*/ 3820959 w 9534264"/>
              <a:gd name="connsiteY16" fmla="*/ 101588 h 5499381"/>
              <a:gd name="connsiteX17" fmla="*/ 3878058 w 9534264"/>
              <a:gd name="connsiteY17" fmla="*/ 75459 h 5499381"/>
              <a:gd name="connsiteX18" fmla="*/ 3540033 w 9534264"/>
              <a:gd name="connsiteY18" fmla="*/ 14788 h 5499381"/>
              <a:gd name="connsiteX19" fmla="*/ 3148432 w 9534264"/>
              <a:gd name="connsiteY19" fmla="*/ 0 h 5499381"/>
              <a:gd name="connsiteX20" fmla="*/ 3012422 w 9534264"/>
              <a:gd name="connsiteY20" fmla="*/ 43717 h 5499381"/>
              <a:gd name="connsiteX21" fmla="*/ 1771237 w 9534264"/>
              <a:gd name="connsiteY21" fmla="*/ 33669 h 5499381"/>
              <a:gd name="connsiteX22" fmla="*/ 0 w 9534264"/>
              <a:gd name="connsiteY22" fmla="*/ 415005 h 5499381"/>
              <a:gd name="connsiteX23" fmla="*/ 1168817 w 9534264"/>
              <a:gd name="connsiteY23" fmla="*/ 740202 h 5499381"/>
              <a:gd name="connsiteX24" fmla="*/ 2386708 w 9534264"/>
              <a:gd name="connsiteY24" fmla="*/ 2001744 h 5499381"/>
              <a:gd name="connsiteX25" fmla="*/ 3040607 w 9534264"/>
              <a:gd name="connsiteY25" fmla="*/ 1851556 h 5499381"/>
              <a:gd name="connsiteX26" fmla="*/ 3747581 w 9534264"/>
              <a:gd name="connsiteY26" fmla="*/ 2575572 h 5499381"/>
              <a:gd name="connsiteX27" fmla="*/ 4758427 w 9534264"/>
              <a:gd name="connsiteY27" fmla="*/ 2333499 h 5499381"/>
              <a:gd name="connsiteX28" fmla="*/ 7551404 w 9534264"/>
              <a:gd name="connsiteY28" fmla="*/ 5074986 h 5499381"/>
              <a:gd name="connsiteX29" fmla="*/ 6403527 w 9534264"/>
              <a:gd name="connsiteY29" fmla="*/ 5409537 h 5499381"/>
              <a:gd name="connsiteX30" fmla="*/ 6515832 w 9534264"/>
              <a:gd name="connsiteY30" fmla="*/ 5499381 h 5499381"/>
              <a:gd name="connsiteX0" fmla="*/ 6515832 w 9534264"/>
              <a:gd name="connsiteY0" fmla="*/ 5499381 h 5499381"/>
              <a:gd name="connsiteX1" fmla="*/ 7789018 w 9534264"/>
              <a:gd name="connsiteY1" fmla="*/ 5140005 h 5499381"/>
              <a:gd name="connsiteX2" fmla="*/ 6699952 w 9534264"/>
              <a:gd name="connsiteY2" fmla="*/ 4046423 h 5499381"/>
              <a:gd name="connsiteX3" fmla="*/ 9534264 w 9534264"/>
              <a:gd name="connsiteY3" fmla="*/ 3477865 h 5499381"/>
              <a:gd name="connsiteX4" fmla="*/ 9418033 w 9534264"/>
              <a:gd name="connsiteY4" fmla="*/ 3430012 h 5499381"/>
              <a:gd name="connsiteX5" fmla="*/ 6601539 w 9534264"/>
              <a:gd name="connsiteY5" fmla="*/ 3962574 h 5499381"/>
              <a:gd name="connsiteX6" fmla="*/ 4795791 w 9534264"/>
              <a:gd name="connsiteY6" fmla="*/ 2244306 h 5499381"/>
              <a:gd name="connsiteX7" fmla="*/ 3788963 w 9534264"/>
              <a:gd name="connsiteY7" fmla="*/ 2468271 h 5499381"/>
              <a:gd name="connsiteX8" fmla="*/ 3087570 w 9534264"/>
              <a:gd name="connsiteY8" fmla="*/ 1757848 h 5499381"/>
              <a:gd name="connsiteX9" fmla="*/ 2421424 w 9534264"/>
              <a:gd name="connsiteY9" fmla="*/ 1899707 h 5499381"/>
              <a:gd name="connsiteX10" fmla="*/ 1234537 w 9534264"/>
              <a:gd name="connsiteY10" fmla="*/ 695087 h 5499381"/>
              <a:gd name="connsiteX11" fmla="*/ 229774 w 9534264"/>
              <a:gd name="connsiteY11" fmla="*/ 411896 h 5499381"/>
              <a:gd name="connsiteX12" fmla="*/ 1792571 w 9534264"/>
              <a:gd name="connsiteY12" fmla="*/ 79609 h 5499381"/>
              <a:gd name="connsiteX13" fmla="*/ 3013162 w 9534264"/>
              <a:gd name="connsiteY13" fmla="*/ 103208 h 5499381"/>
              <a:gd name="connsiteX14" fmla="*/ 3160000 w 9534264"/>
              <a:gd name="connsiteY14" fmla="*/ 42575 h 5499381"/>
              <a:gd name="connsiteX15" fmla="*/ 3538555 w 9534264"/>
              <a:gd name="connsiteY15" fmla="*/ 47527 h 5499381"/>
              <a:gd name="connsiteX16" fmla="*/ 3820959 w 9534264"/>
              <a:gd name="connsiteY16" fmla="*/ 101588 h 5499381"/>
              <a:gd name="connsiteX17" fmla="*/ 3878058 w 9534264"/>
              <a:gd name="connsiteY17" fmla="*/ 75459 h 5499381"/>
              <a:gd name="connsiteX18" fmla="*/ 3540033 w 9534264"/>
              <a:gd name="connsiteY18" fmla="*/ 14788 h 5499381"/>
              <a:gd name="connsiteX19" fmla="*/ 3148432 w 9534264"/>
              <a:gd name="connsiteY19" fmla="*/ 0 h 5499381"/>
              <a:gd name="connsiteX20" fmla="*/ 3012422 w 9534264"/>
              <a:gd name="connsiteY20" fmla="*/ 43717 h 5499381"/>
              <a:gd name="connsiteX21" fmla="*/ 1771237 w 9534264"/>
              <a:gd name="connsiteY21" fmla="*/ 33669 h 5499381"/>
              <a:gd name="connsiteX22" fmla="*/ 0 w 9534264"/>
              <a:gd name="connsiteY22" fmla="*/ 415005 h 5499381"/>
              <a:gd name="connsiteX23" fmla="*/ 1168817 w 9534264"/>
              <a:gd name="connsiteY23" fmla="*/ 740202 h 5499381"/>
              <a:gd name="connsiteX24" fmla="*/ 2386708 w 9534264"/>
              <a:gd name="connsiteY24" fmla="*/ 2001744 h 5499381"/>
              <a:gd name="connsiteX25" fmla="*/ 3040607 w 9534264"/>
              <a:gd name="connsiteY25" fmla="*/ 1851556 h 5499381"/>
              <a:gd name="connsiteX26" fmla="*/ 3747581 w 9534264"/>
              <a:gd name="connsiteY26" fmla="*/ 2575572 h 5499381"/>
              <a:gd name="connsiteX27" fmla="*/ 4758427 w 9534264"/>
              <a:gd name="connsiteY27" fmla="*/ 2333499 h 5499381"/>
              <a:gd name="connsiteX28" fmla="*/ 7551404 w 9534264"/>
              <a:gd name="connsiteY28" fmla="*/ 5074986 h 5499381"/>
              <a:gd name="connsiteX29" fmla="*/ 6403527 w 9534264"/>
              <a:gd name="connsiteY29" fmla="*/ 5409537 h 5499381"/>
              <a:gd name="connsiteX30" fmla="*/ 6515832 w 9534264"/>
              <a:gd name="connsiteY30" fmla="*/ 5499381 h 5499381"/>
              <a:gd name="connsiteX0" fmla="*/ 6515832 w 9534264"/>
              <a:gd name="connsiteY0" fmla="*/ 5499381 h 5499381"/>
              <a:gd name="connsiteX1" fmla="*/ 7789018 w 9534264"/>
              <a:gd name="connsiteY1" fmla="*/ 5140005 h 5499381"/>
              <a:gd name="connsiteX2" fmla="*/ 6699952 w 9534264"/>
              <a:gd name="connsiteY2" fmla="*/ 4046423 h 5499381"/>
              <a:gd name="connsiteX3" fmla="*/ 9534264 w 9534264"/>
              <a:gd name="connsiteY3" fmla="*/ 3477865 h 5499381"/>
              <a:gd name="connsiteX4" fmla="*/ 9418033 w 9534264"/>
              <a:gd name="connsiteY4" fmla="*/ 3430012 h 5499381"/>
              <a:gd name="connsiteX5" fmla="*/ 6601539 w 9534264"/>
              <a:gd name="connsiteY5" fmla="*/ 3962574 h 5499381"/>
              <a:gd name="connsiteX6" fmla="*/ 4795791 w 9534264"/>
              <a:gd name="connsiteY6" fmla="*/ 2244306 h 5499381"/>
              <a:gd name="connsiteX7" fmla="*/ 3788963 w 9534264"/>
              <a:gd name="connsiteY7" fmla="*/ 2468271 h 5499381"/>
              <a:gd name="connsiteX8" fmla="*/ 3087570 w 9534264"/>
              <a:gd name="connsiteY8" fmla="*/ 1757848 h 5499381"/>
              <a:gd name="connsiteX9" fmla="*/ 2421424 w 9534264"/>
              <a:gd name="connsiteY9" fmla="*/ 1899707 h 5499381"/>
              <a:gd name="connsiteX10" fmla="*/ 1234537 w 9534264"/>
              <a:gd name="connsiteY10" fmla="*/ 695087 h 5499381"/>
              <a:gd name="connsiteX11" fmla="*/ 229774 w 9534264"/>
              <a:gd name="connsiteY11" fmla="*/ 411896 h 5499381"/>
              <a:gd name="connsiteX12" fmla="*/ 1792571 w 9534264"/>
              <a:gd name="connsiteY12" fmla="*/ 79609 h 5499381"/>
              <a:gd name="connsiteX13" fmla="*/ 3013162 w 9534264"/>
              <a:gd name="connsiteY13" fmla="*/ 103208 h 5499381"/>
              <a:gd name="connsiteX14" fmla="*/ 3160000 w 9534264"/>
              <a:gd name="connsiteY14" fmla="*/ 42575 h 5499381"/>
              <a:gd name="connsiteX15" fmla="*/ 3538555 w 9534264"/>
              <a:gd name="connsiteY15" fmla="*/ 47527 h 5499381"/>
              <a:gd name="connsiteX16" fmla="*/ 3820959 w 9534264"/>
              <a:gd name="connsiteY16" fmla="*/ 101588 h 5499381"/>
              <a:gd name="connsiteX17" fmla="*/ 3878058 w 9534264"/>
              <a:gd name="connsiteY17" fmla="*/ 75459 h 5499381"/>
              <a:gd name="connsiteX18" fmla="*/ 3540033 w 9534264"/>
              <a:gd name="connsiteY18" fmla="*/ 14788 h 5499381"/>
              <a:gd name="connsiteX19" fmla="*/ 3148432 w 9534264"/>
              <a:gd name="connsiteY19" fmla="*/ 0 h 5499381"/>
              <a:gd name="connsiteX20" fmla="*/ 3012422 w 9534264"/>
              <a:gd name="connsiteY20" fmla="*/ 43717 h 5499381"/>
              <a:gd name="connsiteX21" fmla="*/ 1771237 w 9534264"/>
              <a:gd name="connsiteY21" fmla="*/ 33669 h 5499381"/>
              <a:gd name="connsiteX22" fmla="*/ 0 w 9534264"/>
              <a:gd name="connsiteY22" fmla="*/ 415005 h 5499381"/>
              <a:gd name="connsiteX23" fmla="*/ 1168817 w 9534264"/>
              <a:gd name="connsiteY23" fmla="*/ 740202 h 5499381"/>
              <a:gd name="connsiteX24" fmla="*/ 2386708 w 9534264"/>
              <a:gd name="connsiteY24" fmla="*/ 2001744 h 5499381"/>
              <a:gd name="connsiteX25" fmla="*/ 3040607 w 9534264"/>
              <a:gd name="connsiteY25" fmla="*/ 1851556 h 5499381"/>
              <a:gd name="connsiteX26" fmla="*/ 3747581 w 9534264"/>
              <a:gd name="connsiteY26" fmla="*/ 2575572 h 5499381"/>
              <a:gd name="connsiteX27" fmla="*/ 4758427 w 9534264"/>
              <a:gd name="connsiteY27" fmla="*/ 2333499 h 5499381"/>
              <a:gd name="connsiteX28" fmla="*/ 7551404 w 9534264"/>
              <a:gd name="connsiteY28" fmla="*/ 5074986 h 5499381"/>
              <a:gd name="connsiteX29" fmla="*/ 6403527 w 9534264"/>
              <a:gd name="connsiteY29" fmla="*/ 5409537 h 5499381"/>
              <a:gd name="connsiteX30" fmla="*/ 6515832 w 9534264"/>
              <a:gd name="connsiteY30" fmla="*/ 5499381 h 5499381"/>
              <a:gd name="connsiteX0" fmla="*/ 6480663 w 9534264"/>
              <a:gd name="connsiteY0" fmla="*/ 5484308 h 5484308"/>
              <a:gd name="connsiteX1" fmla="*/ 7789018 w 9534264"/>
              <a:gd name="connsiteY1" fmla="*/ 5140005 h 5484308"/>
              <a:gd name="connsiteX2" fmla="*/ 6699952 w 9534264"/>
              <a:gd name="connsiteY2" fmla="*/ 4046423 h 5484308"/>
              <a:gd name="connsiteX3" fmla="*/ 9534264 w 9534264"/>
              <a:gd name="connsiteY3" fmla="*/ 3477865 h 5484308"/>
              <a:gd name="connsiteX4" fmla="*/ 9418033 w 9534264"/>
              <a:gd name="connsiteY4" fmla="*/ 3430012 h 5484308"/>
              <a:gd name="connsiteX5" fmla="*/ 6601539 w 9534264"/>
              <a:gd name="connsiteY5" fmla="*/ 3962574 h 5484308"/>
              <a:gd name="connsiteX6" fmla="*/ 4795791 w 9534264"/>
              <a:gd name="connsiteY6" fmla="*/ 2244306 h 5484308"/>
              <a:gd name="connsiteX7" fmla="*/ 3788963 w 9534264"/>
              <a:gd name="connsiteY7" fmla="*/ 2468271 h 5484308"/>
              <a:gd name="connsiteX8" fmla="*/ 3087570 w 9534264"/>
              <a:gd name="connsiteY8" fmla="*/ 1757848 h 5484308"/>
              <a:gd name="connsiteX9" fmla="*/ 2421424 w 9534264"/>
              <a:gd name="connsiteY9" fmla="*/ 1899707 h 5484308"/>
              <a:gd name="connsiteX10" fmla="*/ 1234537 w 9534264"/>
              <a:gd name="connsiteY10" fmla="*/ 695087 h 5484308"/>
              <a:gd name="connsiteX11" fmla="*/ 229774 w 9534264"/>
              <a:gd name="connsiteY11" fmla="*/ 411896 h 5484308"/>
              <a:gd name="connsiteX12" fmla="*/ 1792571 w 9534264"/>
              <a:gd name="connsiteY12" fmla="*/ 79609 h 5484308"/>
              <a:gd name="connsiteX13" fmla="*/ 3013162 w 9534264"/>
              <a:gd name="connsiteY13" fmla="*/ 103208 h 5484308"/>
              <a:gd name="connsiteX14" fmla="*/ 3160000 w 9534264"/>
              <a:gd name="connsiteY14" fmla="*/ 42575 h 5484308"/>
              <a:gd name="connsiteX15" fmla="*/ 3538555 w 9534264"/>
              <a:gd name="connsiteY15" fmla="*/ 47527 h 5484308"/>
              <a:gd name="connsiteX16" fmla="*/ 3820959 w 9534264"/>
              <a:gd name="connsiteY16" fmla="*/ 101588 h 5484308"/>
              <a:gd name="connsiteX17" fmla="*/ 3878058 w 9534264"/>
              <a:gd name="connsiteY17" fmla="*/ 75459 h 5484308"/>
              <a:gd name="connsiteX18" fmla="*/ 3540033 w 9534264"/>
              <a:gd name="connsiteY18" fmla="*/ 14788 h 5484308"/>
              <a:gd name="connsiteX19" fmla="*/ 3148432 w 9534264"/>
              <a:gd name="connsiteY19" fmla="*/ 0 h 5484308"/>
              <a:gd name="connsiteX20" fmla="*/ 3012422 w 9534264"/>
              <a:gd name="connsiteY20" fmla="*/ 43717 h 5484308"/>
              <a:gd name="connsiteX21" fmla="*/ 1771237 w 9534264"/>
              <a:gd name="connsiteY21" fmla="*/ 33669 h 5484308"/>
              <a:gd name="connsiteX22" fmla="*/ 0 w 9534264"/>
              <a:gd name="connsiteY22" fmla="*/ 415005 h 5484308"/>
              <a:gd name="connsiteX23" fmla="*/ 1168817 w 9534264"/>
              <a:gd name="connsiteY23" fmla="*/ 740202 h 5484308"/>
              <a:gd name="connsiteX24" fmla="*/ 2386708 w 9534264"/>
              <a:gd name="connsiteY24" fmla="*/ 2001744 h 5484308"/>
              <a:gd name="connsiteX25" fmla="*/ 3040607 w 9534264"/>
              <a:gd name="connsiteY25" fmla="*/ 1851556 h 5484308"/>
              <a:gd name="connsiteX26" fmla="*/ 3747581 w 9534264"/>
              <a:gd name="connsiteY26" fmla="*/ 2575572 h 5484308"/>
              <a:gd name="connsiteX27" fmla="*/ 4758427 w 9534264"/>
              <a:gd name="connsiteY27" fmla="*/ 2333499 h 5484308"/>
              <a:gd name="connsiteX28" fmla="*/ 7551404 w 9534264"/>
              <a:gd name="connsiteY28" fmla="*/ 5074986 h 5484308"/>
              <a:gd name="connsiteX29" fmla="*/ 6403527 w 9534264"/>
              <a:gd name="connsiteY29" fmla="*/ 5409537 h 5484308"/>
              <a:gd name="connsiteX30" fmla="*/ 6480663 w 9534264"/>
              <a:gd name="connsiteY30" fmla="*/ 5484308 h 5484308"/>
              <a:gd name="connsiteX0" fmla="*/ 6480663 w 9534264"/>
              <a:gd name="connsiteY0" fmla="*/ 5484308 h 5484308"/>
              <a:gd name="connsiteX1" fmla="*/ 7789018 w 9534264"/>
              <a:gd name="connsiteY1" fmla="*/ 5140005 h 5484308"/>
              <a:gd name="connsiteX2" fmla="*/ 6699952 w 9534264"/>
              <a:gd name="connsiteY2" fmla="*/ 4046423 h 5484308"/>
              <a:gd name="connsiteX3" fmla="*/ 9534264 w 9534264"/>
              <a:gd name="connsiteY3" fmla="*/ 3477865 h 5484308"/>
              <a:gd name="connsiteX4" fmla="*/ 9418033 w 9534264"/>
              <a:gd name="connsiteY4" fmla="*/ 3430012 h 5484308"/>
              <a:gd name="connsiteX5" fmla="*/ 6601539 w 9534264"/>
              <a:gd name="connsiteY5" fmla="*/ 3962574 h 5484308"/>
              <a:gd name="connsiteX6" fmla="*/ 4795791 w 9534264"/>
              <a:gd name="connsiteY6" fmla="*/ 2244306 h 5484308"/>
              <a:gd name="connsiteX7" fmla="*/ 3788963 w 9534264"/>
              <a:gd name="connsiteY7" fmla="*/ 2468271 h 5484308"/>
              <a:gd name="connsiteX8" fmla="*/ 3087570 w 9534264"/>
              <a:gd name="connsiteY8" fmla="*/ 1757848 h 5484308"/>
              <a:gd name="connsiteX9" fmla="*/ 2421424 w 9534264"/>
              <a:gd name="connsiteY9" fmla="*/ 1899707 h 5484308"/>
              <a:gd name="connsiteX10" fmla="*/ 1234537 w 9534264"/>
              <a:gd name="connsiteY10" fmla="*/ 695087 h 5484308"/>
              <a:gd name="connsiteX11" fmla="*/ 229774 w 9534264"/>
              <a:gd name="connsiteY11" fmla="*/ 411896 h 5484308"/>
              <a:gd name="connsiteX12" fmla="*/ 1792571 w 9534264"/>
              <a:gd name="connsiteY12" fmla="*/ 79609 h 5484308"/>
              <a:gd name="connsiteX13" fmla="*/ 3013162 w 9534264"/>
              <a:gd name="connsiteY13" fmla="*/ 103208 h 5484308"/>
              <a:gd name="connsiteX14" fmla="*/ 3160000 w 9534264"/>
              <a:gd name="connsiteY14" fmla="*/ 42575 h 5484308"/>
              <a:gd name="connsiteX15" fmla="*/ 3538555 w 9534264"/>
              <a:gd name="connsiteY15" fmla="*/ 47527 h 5484308"/>
              <a:gd name="connsiteX16" fmla="*/ 3820959 w 9534264"/>
              <a:gd name="connsiteY16" fmla="*/ 101588 h 5484308"/>
              <a:gd name="connsiteX17" fmla="*/ 3878058 w 9534264"/>
              <a:gd name="connsiteY17" fmla="*/ 75459 h 5484308"/>
              <a:gd name="connsiteX18" fmla="*/ 3540033 w 9534264"/>
              <a:gd name="connsiteY18" fmla="*/ 14788 h 5484308"/>
              <a:gd name="connsiteX19" fmla="*/ 3148432 w 9534264"/>
              <a:gd name="connsiteY19" fmla="*/ 0 h 5484308"/>
              <a:gd name="connsiteX20" fmla="*/ 3012422 w 9534264"/>
              <a:gd name="connsiteY20" fmla="*/ 43717 h 5484308"/>
              <a:gd name="connsiteX21" fmla="*/ 1771237 w 9534264"/>
              <a:gd name="connsiteY21" fmla="*/ 33669 h 5484308"/>
              <a:gd name="connsiteX22" fmla="*/ 0 w 9534264"/>
              <a:gd name="connsiteY22" fmla="*/ 415005 h 5484308"/>
              <a:gd name="connsiteX23" fmla="*/ 1168817 w 9534264"/>
              <a:gd name="connsiteY23" fmla="*/ 740202 h 5484308"/>
              <a:gd name="connsiteX24" fmla="*/ 2386708 w 9534264"/>
              <a:gd name="connsiteY24" fmla="*/ 2001744 h 5484308"/>
              <a:gd name="connsiteX25" fmla="*/ 3040607 w 9534264"/>
              <a:gd name="connsiteY25" fmla="*/ 1851556 h 5484308"/>
              <a:gd name="connsiteX26" fmla="*/ 3747581 w 9534264"/>
              <a:gd name="connsiteY26" fmla="*/ 2575572 h 5484308"/>
              <a:gd name="connsiteX27" fmla="*/ 4758427 w 9534264"/>
              <a:gd name="connsiteY27" fmla="*/ 2333499 h 5484308"/>
              <a:gd name="connsiteX28" fmla="*/ 7560735 w 9534264"/>
              <a:gd name="connsiteY28" fmla="*/ 5084316 h 5484308"/>
              <a:gd name="connsiteX29" fmla="*/ 6403527 w 9534264"/>
              <a:gd name="connsiteY29" fmla="*/ 5409537 h 5484308"/>
              <a:gd name="connsiteX30" fmla="*/ 6480663 w 9534264"/>
              <a:gd name="connsiteY30" fmla="*/ 5484308 h 548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534264" h="5484308">
                <a:moveTo>
                  <a:pt x="6480663" y="5484308"/>
                </a:moveTo>
                <a:lnTo>
                  <a:pt x="7789018" y="5140005"/>
                </a:lnTo>
                <a:lnTo>
                  <a:pt x="6699952" y="4046423"/>
                </a:lnTo>
                <a:lnTo>
                  <a:pt x="9534264" y="3477865"/>
                </a:lnTo>
                <a:lnTo>
                  <a:pt x="9418033" y="3430012"/>
                </a:lnTo>
                <a:lnTo>
                  <a:pt x="6601539" y="3962574"/>
                </a:lnTo>
                <a:lnTo>
                  <a:pt x="4795791" y="2244306"/>
                </a:lnTo>
                <a:lnTo>
                  <a:pt x="3788963" y="2468271"/>
                </a:lnTo>
                <a:lnTo>
                  <a:pt x="3087570" y="1757848"/>
                </a:lnTo>
                <a:lnTo>
                  <a:pt x="2421424" y="1899707"/>
                </a:lnTo>
                <a:lnTo>
                  <a:pt x="1234537" y="695087"/>
                </a:lnTo>
                <a:lnTo>
                  <a:pt x="229774" y="411896"/>
                </a:lnTo>
                <a:lnTo>
                  <a:pt x="1792571" y="79609"/>
                </a:lnTo>
                <a:lnTo>
                  <a:pt x="3013162" y="103208"/>
                </a:lnTo>
                <a:lnTo>
                  <a:pt x="3160000" y="42575"/>
                </a:lnTo>
                <a:lnTo>
                  <a:pt x="3538555" y="47527"/>
                </a:lnTo>
                <a:lnTo>
                  <a:pt x="3820959" y="101588"/>
                </a:lnTo>
                <a:cubicBezTo>
                  <a:pt x="3845864" y="87408"/>
                  <a:pt x="3857236" y="91270"/>
                  <a:pt x="3878058" y="75459"/>
                </a:cubicBezTo>
                <a:cubicBezTo>
                  <a:pt x="3575234" y="17214"/>
                  <a:pt x="3664264" y="27789"/>
                  <a:pt x="3540033" y="14788"/>
                </a:cubicBezTo>
                <a:lnTo>
                  <a:pt x="3148432" y="0"/>
                </a:lnTo>
                <a:lnTo>
                  <a:pt x="3012422" y="43717"/>
                </a:lnTo>
                <a:lnTo>
                  <a:pt x="1771237" y="33669"/>
                </a:lnTo>
                <a:lnTo>
                  <a:pt x="0" y="415005"/>
                </a:lnTo>
                <a:lnTo>
                  <a:pt x="1168817" y="740202"/>
                </a:lnTo>
                <a:lnTo>
                  <a:pt x="2386708" y="2001744"/>
                </a:lnTo>
                <a:lnTo>
                  <a:pt x="3040607" y="1851556"/>
                </a:lnTo>
                <a:lnTo>
                  <a:pt x="3747581" y="2575572"/>
                </a:lnTo>
                <a:lnTo>
                  <a:pt x="4758427" y="2333499"/>
                </a:lnTo>
                <a:lnTo>
                  <a:pt x="7560735" y="5084316"/>
                </a:lnTo>
                <a:lnTo>
                  <a:pt x="6403527" y="5409537"/>
                </a:lnTo>
                <a:lnTo>
                  <a:pt x="6480663" y="5484308"/>
                </a:lnTo>
                <a:close/>
              </a:path>
            </a:pathLst>
          </a:custGeom>
          <a:solidFill>
            <a:srgbClr val="C00000">
              <a:alpha val="50196"/>
            </a:srgb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799" dirty="0">
              <a:solidFill>
                <a:prstClr val="white"/>
              </a:solidFill>
              <a:latin typeface="Calibri" panose="020F0502020204030204"/>
            </a:endParaRPr>
          </a:p>
        </p:txBody>
      </p:sp>
      <p:grpSp>
        <p:nvGrpSpPr>
          <p:cNvPr id="35" name="Groep 34"/>
          <p:cNvGrpSpPr/>
          <p:nvPr/>
        </p:nvGrpSpPr>
        <p:grpSpPr>
          <a:xfrm>
            <a:off x="5667556" y="4239949"/>
            <a:ext cx="1439625" cy="553132"/>
            <a:chOff x="2927480" y="946297"/>
            <a:chExt cx="1440000" cy="553276"/>
          </a:xfrm>
        </p:grpSpPr>
        <p:sp>
          <p:nvSpPr>
            <p:cNvPr id="36" name="Vrije vorm 19"/>
            <p:cNvSpPr/>
            <p:nvPr/>
          </p:nvSpPr>
          <p:spPr>
            <a:xfrm flipV="1">
              <a:off x="2927480" y="1042355"/>
              <a:ext cx="221315" cy="457218"/>
            </a:xfrm>
            <a:custGeom>
              <a:avLst/>
              <a:gdLst>
                <a:gd name="connsiteX0" fmla="*/ 0 w 560070"/>
                <a:gd name="connsiteY0" fmla="*/ 251460 h 640080"/>
                <a:gd name="connsiteX1" fmla="*/ 560070 w 560070"/>
                <a:gd name="connsiteY1" fmla="*/ 0 h 640080"/>
                <a:gd name="connsiteX2" fmla="*/ 560070 w 560070"/>
                <a:gd name="connsiteY2" fmla="*/ 411480 h 640080"/>
                <a:gd name="connsiteX3" fmla="*/ 11430 w 560070"/>
                <a:gd name="connsiteY3" fmla="*/ 640080 h 640080"/>
                <a:gd name="connsiteX4" fmla="*/ 0 w 560070"/>
                <a:gd name="connsiteY4" fmla="*/ 617220 h 640080"/>
                <a:gd name="connsiteX0" fmla="*/ 0 w 560070"/>
                <a:gd name="connsiteY0" fmla="*/ 251460 h 617220"/>
                <a:gd name="connsiteX1" fmla="*/ 560070 w 560070"/>
                <a:gd name="connsiteY1" fmla="*/ 0 h 617220"/>
                <a:gd name="connsiteX2" fmla="*/ 560070 w 560070"/>
                <a:gd name="connsiteY2" fmla="*/ 411480 h 617220"/>
                <a:gd name="connsiteX3" fmla="*/ 33666 w 560070"/>
                <a:gd name="connsiteY3" fmla="*/ 503907 h 617220"/>
                <a:gd name="connsiteX4" fmla="*/ 0 w 560070"/>
                <a:gd name="connsiteY4" fmla="*/ 617220 h 617220"/>
                <a:gd name="connsiteX0" fmla="*/ 0 w 560070"/>
                <a:gd name="connsiteY0" fmla="*/ 251460 h 506984"/>
                <a:gd name="connsiteX1" fmla="*/ 560070 w 560070"/>
                <a:gd name="connsiteY1" fmla="*/ 0 h 506984"/>
                <a:gd name="connsiteX2" fmla="*/ 560070 w 560070"/>
                <a:gd name="connsiteY2" fmla="*/ 411480 h 506984"/>
                <a:gd name="connsiteX3" fmla="*/ 33666 w 560070"/>
                <a:gd name="connsiteY3" fmla="*/ 503907 h 506984"/>
                <a:gd name="connsiteX4" fmla="*/ 144544 w 560070"/>
                <a:gd name="connsiteY4" fmla="*/ 506984 h 506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070" h="506984">
                  <a:moveTo>
                    <a:pt x="0" y="251460"/>
                  </a:moveTo>
                  <a:lnTo>
                    <a:pt x="560070" y="0"/>
                  </a:lnTo>
                  <a:lnTo>
                    <a:pt x="560070" y="411480"/>
                  </a:lnTo>
                  <a:lnTo>
                    <a:pt x="33666" y="503907"/>
                  </a:lnTo>
                  <a:lnTo>
                    <a:pt x="144544" y="506984"/>
                  </a:lnTo>
                </a:path>
              </a:pathLst>
            </a:cu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999">
                <a:solidFill>
                  <a:prstClr val="white"/>
                </a:solidFill>
                <a:latin typeface="Calibri" panose="020F0502020204030204"/>
              </a:endParaRPr>
            </a:p>
          </p:txBody>
        </p:sp>
        <p:sp>
          <p:nvSpPr>
            <p:cNvPr id="37" name="Rechthoek 36"/>
            <p:cNvSpPr/>
            <p:nvPr/>
          </p:nvSpPr>
          <p:spPr>
            <a:xfrm>
              <a:off x="2927480" y="946297"/>
              <a:ext cx="1440000" cy="324000"/>
            </a:xfrm>
            <a:prstGeom prst="rect">
              <a:avLst/>
            </a:prstGeom>
            <a:solidFill>
              <a:schemeClr val="tx2"/>
            </a:solidFill>
          </p:spPr>
          <p:txBody>
            <a:bodyPr vert="horz" lIns="71981" tIns="179953" rIns="71981" bIns="143963" rtlCol="0" anchor="ctr">
              <a:noAutofit/>
            </a:bodyPr>
            <a:lstStyle/>
            <a:p>
              <a:pPr algn="ctr" defTabSz="914104">
                <a:lnSpc>
                  <a:spcPct val="80000"/>
                </a:lnSpc>
                <a:spcBef>
                  <a:spcPct val="0"/>
                </a:spcBef>
              </a:pPr>
              <a:r>
                <a:rPr lang="en-US" sz="1100" dirty="0">
                  <a:solidFill>
                    <a:prstClr val="white"/>
                  </a:solidFill>
                </a:rPr>
                <a:t>COOL PORT</a:t>
              </a:r>
            </a:p>
          </p:txBody>
        </p:sp>
      </p:grpSp>
      <p:sp>
        <p:nvSpPr>
          <p:cNvPr id="81" name="Vrije vorm 80"/>
          <p:cNvSpPr/>
          <p:nvPr/>
        </p:nvSpPr>
        <p:spPr>
          <a:xfrm>
            <a:off x="7842020" y="4727719"/>
            <a:ext cx="3466607" cy="1420900"/>
          </a:xfrm>
          <a:custGeom>
            <a:avLst/>
            <a:gdLst>
              <a:gd name="connsiteX0" fmla="*/ 1490749 w 2676699"/>
              <a:gd name="connsiteY0" fmla="*/ 0 h 1307869"/>
              <a:gd name="connsiteX1" fmla="*/ 2676699 w 2676699"/>
              <a:gd name="connsiteY1" fmla="*/ 831273 h 1307869"/>
              <a:gd name="connsiteX2" fmla="*/ 897775 w 2676699"/>
              <a:gd name="connsiteY2" fmla="*/ 1307869 h 1307869"/>
              <a:gd name="connsiteX3" fmla="*/ 0 w 2676699"/>
              <a:gd name="connsiteY3" fmla="*/ 360219 h 1307869"/>
              <a:gd name="connsiteX4" fmla="*/ 1490749 w 2676699"/>
              <a:gd name="connsiteY4" fmla="*/ 0 h 1307869"/>
              <a:gd name="connsiteX0" fmla="*/ 1512916 w 2676699"/>
              <a:gd name="connsiteY0" fmla="*/ 0 h 1241367"/>
              <a:gd name="connsiteX1" fmla="*/ 2676699 w 2676699"/>
              <a:gd name="connsiteY1" fmla="*/ 764771 h 1241367"/>
              <a:gd name="connsiteX2" fmla="*/ 897775 w 2676699"/>
              <a:gd name="connsiteY2" fmla="*/ 1241367 h 1241367"/>
              <a:gd name="connsiteX3" fmla="*/ 0 w 2676699"/>
              <a:gd name="connsiteY3" fmla="*/ 293717 h 1241367"/>
              <a:gd name="connsiteX4" fmla="*/ 1512916 w 2676699"/>
              <a:gd name="connsiteY4" fmla="*/ 0 h 1241367"/>
              <a:gd name="connsiteX0" fmla="*/ 1668087 w 2831870"/>
              <a:gd name="connsiteY0" fmla="*/ 0 h 1241367"/>
              <a:gd name="connsiteX1" fmla="*/ 2831870 w 2831870"/>
              <a:gd name="connsiteY1" fmla="*/ 764771 h 1241367"/>
              <a:gd name="connsiteX2" fmla="*/ 1052946 w 2831870"/>
              <a:gd name="connsiteY2" fmla="*/ 1241367 h 1241367"/>
              <a:gd name="connsiteX3" fmla="*/ 0 w 2831870"/>
              <a:gd name="connsiteY3" fmla="*/ 326967 h 1241367"/>
              <a:gd name="connsiteX4" fmla="*/ 1668087 w 2831870"/>
              <a:gd name="connsiteY4" fmla="*/ 0 h 1241367"/>
              <a:gd name="connsiteX0" fmla="*/ 1715899 w 2879682"/>
              <a:gd name="connsiteY0" fmla="*/ 0 h 1241367"/>
              <a:gd name="connsiteX1" fmla="*/ 2879682 w 2879682"/>
              <a:gd name="connsiteY1" fmla="*/ 764771 h 1241367"/>
              <a:gd name="connsiteX2" fmla="*/ 1100758 w 2879682"/>
              <a:gd name="connsiteY2" fmla="*/ 1241367 h 1241367"/>
              <a:gd name="connsiteX3" fmla="*/ 0 w 2879682"/>
              <a:gd name="connsiteY3" fmla="*/ 344896 h 1241367"/>
              <a:gd name="connsiteX4" fmla="*/ 1715899 w 2879682"/>
              <a:gd name="connsiteY4" fmla="*/ 0 h 1241367"/>
              <a:gd name="connsiteX0" fmla="*/ 1715899 w 2879682"/>
              <a:gd name="connsiteY0" fmla="*/ 0 h 1253320"/>
              <a:gd name="connsiteX1" fmla="*/ 2879682 w 2879682"/>
              <a:gd name="connsiteY1" fmla="*/ 764771 h 1253320"/>
              <a:gd name="connsiteX2" fmla="*/ 1106735 w 2879682"/>
              <a:gd name="connsiteY2" fmla="*/ 1253320 h 1253320"/>
              <a:gd name="connsiteX3" fmla="*/ 0 w 2879682"/>
              <a:gd name="connsiteY3" fmla="*/ 344896 h 1253320"/>
              <a:gd name="connsiteX4" fmla="*/ 1715899 w 2879682"/>
              <a:gd name="connsiteY4" fmla="*/ 0 h 1253320"/>
              <a:gd name="connsiteX0" fmla="*/ 1763710 w 2879682"/>
              <a:gd name="connsiteY0" fmla="*/ 0 h 1139767"/>
              <a:gd name="connsiteX1" fmla="*/ 2879682 w 2879682"/>
              <a:gd name="connsiteY1" fmla="*/ 651218 h 1139767"/>
              <a:gd name="connsiteX2" fmla="*/ 1106735 w 2879682"/>
              <a:gd name="connsiteY2" fmla="*/ 1139767 h 1139767"/>
              <a:gd name="connsiteX3" fmla="*/ 0 w 2879682"/>
              <a:gd name="connsiteY3" fmla="*/ 231343 h 1139767"/>
              <a:gd name="connsiteX4" fmla="*/ 1763710 w 2879682"/>
              <a:gd name="connsiteY4" fmla="*/ 0 h 1139767"/>
              <a:gd name="connsiteX0" fmla="*/ 1745780 w 2879682"/>
              <a:gd name="connsiteY0" fmla="*/ 0 h 1253320"/>
              <a:gd name="connsiteX1" fmla="*/ 2879682 w 2879682"/>
              <a:gd name="connsiteY1" fmla="*/ 764771 h 1253320"/>
              <a:gd name="connsiteX2" fmla="*/ 1106735 w 2879682"/>
              <a:gd name="connsiteY2" fmla="*/ 1253320 h 1253320"/>
              <a:gd name="connsiteX3" fmla="*/ 0 w 2879682"/>
              <a:gd name="connsiteY3" fmla="*/ 344896 h 1253320"/>
              <a:gd name="connsiteX4" fmla="*/ 1745780 w 2879682"/>
              <a:gd name="connsiteY4" fmla="*/ 0 h 1253320"/>
              <a:gd name="connsiteX0" fmla="*/ 2286955 w 3420857"/>
              <a:gd name="connsiteY0" fmla="*/ 0 h 1253320"/>
              <a:gd name="connsiteX1" fmla="*/ 3420857 w 3420857"/>
              <a:gd name="connsiteY1" fmla="*/ 764771 h 1253320"/>
              <a:gd name="connsiteX2" fmla="*/ 1647910 w 3420857"/>
              <a:gd name="connsiteY2" fmla="*/ 1253320 h 1253320"/>
              <a:gd name="connsiteX3" fmla="*/ 0 w 3420857"/>
              <a:gd name="connsiteY3" fmla="*/ 475525 h 1253320"/>
              <a:gd name="connsiteX4" fmla="*/ 2286955 w 3420857"/>
              <a:gd name="connsiteY4" fmla="*/ 0 h 1253320"/>
              <a:gd name="connsiteX0" fmla="*/ 2286955 w 3420857"/>
              <a:gd name="connsiteY0" fmla="*/ 0 h 1411940"/>
              <a:gd name="connsiteX1" fmla="*/ 3420857 w 3420857"/>
              <a:gd name="connsiteY1" fmla="*/ 764771 h 1411940"/>
              <a:gd name="connsiteX2" fmla="*/ 1050751 w 3420857"/>
              <a:gd name="connsiteY2" fmla="*/ 1411940 h 1411940"/>
              <a:gd name="connsiteX3" fmla="*/ 0 w 3420857"/>
              <a:gd name="connsiteY3" fmla="*/ 475525 h 1411940"/>
              <a:gd name="connsiteX4" fmla="*/ 2286955 w 3420857"/>
              <a:gd name="connsiteY4" fmla="*/ 0 h 1411940"/>
              <a:gd name="connsiteX0" fmla="*/ 2333608 w 3467510"/>
              <a:gd name="connsiteY0" fmla="*/ 0 h 1411940"/>
              <a:gd name="connsiteX1" fmla="*/ 3467510 w 3467510"/>
              <a:gd name="connsiteY1" fmla="*/ 764771 h 1411940"/>
              <a:gd name="connsiteX2" fmla="*/ 1097404 w 3467510"/>
              <a:gd name="connsiteY2" fmla="*/ 1411940 h 1411940"/>
              <a:gd name="connsiteX3" fmla="*/ 0 w 3467510"/>
              <a:gd name="connsiteY3" fmla="*/ 466195 h 1411940"/>
              <a:gd name="connsiteX4" fmla="*/ 2333608 w 3467510"/>
              <a:gd name="connsiteY4" fmla="*/ 0 h 1411940"/>
              <a:gd name="connsiteX0" fmla="*/ 2333608 w 3467510"/>
              <a:gd name="connsiteY0" fmla="*/ 0 h 1421270"/>
              <a:gd name="connsiteX1" fmla="*/ 3467510 w 3467510"/>
              <a:gd name="connsiteY1" fmla="*/ 774101 h 1421270"/>
              <a:gd name="connsiteX2" fmla="*/ 1097404 w 3467510"/>
              <a:gd name="connsiteY2" fmla="*/ 1421270 h 1421270"/>
              <a:gd name="connsiteX3" fmla="*/ 0 w 3467510"/>
              <a:gd name="connsiteY3" fmla="*/ 475525 h 1421270"/>
              <a:gd name="connsiteX4" fmla="*/ 2333608 w 3467510"/>
              <a:gd name="connsiteY4" fmla="*/ 0 h 1421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7510" h="1421270">
                <a:moveTo>
                  <a:pt x="2333608" y="0"/>
                </a:moveTo>
                <a:lnTo>
                  <a:pt x="3467510" y="774101"/>
                </a:lnTo>
                <a:lnTo>
                  <a:pt x="1097404" y="1421270"/>
                </a:lnTo>
                <a:lnTo>
                  <a:pt x="0" y="475525"/>
                </a:lnTo>
                <a:lnTo>
                  <a:pt x="2333608" y="0"/>
                </a:lnTo>
                <a:close/>
              </a:path>
            </a:pathLst>
          </a:custGeom>
          <a:solidFill>
            <a:srgbClr val="FFD800">
              <a:alpha val="50196"/>
            </a:srgbClr>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799">
              <a:solidFill>
                <a:prstClr val="white"/>
              </a:solidFill>
              <a:latin typeface="Calibri" panose="020F0502020204030204"/>
            </a:endParaRPr>
          </a:p>
        </p:txBody>
      </p:sp>
      <p:grpSp>
        <p:nvGrpSpPr>
          <p:cNvPr id="82" name="Groep 81"/>
          <p:cNvGrpSpPr/>
          <p:nvPr/>
        </p:nvGrpSpPr>
        <p:grpSpPr>
          <a:xfrm>
            <a:off x="9010972" y="5018225"/>
            <a:ext cx="1439625" cy="553132"/>
            <a:chOff x="2927480" y="946297"/>
            <a:chExt cx="1440000" cy="553276"/>
          </a:xfrm>
        </p:grpSpPr>
        <p:sp>
          <p:nvSpPr>
            <p:cNvPr id="95" name="Vrije vorm 19"/>
            <p:cNvSpPr/>
            <p:nvPr/>
          </p:nvSpPr>
          <p:spPr>
            <a:xfrm flipV="1">
              <a:off x="2927480" y="1042355"/>
              <a:ext cx="221315" cy="457218"/>
            </a:xfrm>
            <a:custGeom>
              <a:avLst/>
              <a:gdLst>
                <a:gd name="connsiteX0" fmla="*/ 0 w 560070"/>
                <a:gd name="connsiteY0" fmla="*/ 251460 h 640080"/>
                <a:gd name="connsiteX1" fmla="*/ 560070 w 560070"/>
                <a:gd name="connsiteY1" fmla="*/ 0 h 640080"/>
                <a:gd name="connsiteX2" fmla="*/ 560070 w 560070"/>
                <a:gd name="connsiteY2" fmla="*/ 411480 h 640080"/>
                <a:gd name="connsiteX3" fmla="*/ 11430 w 560070"/>
                <a:gd name="connsiteY3" fmla="*/ 640080 h 640080"/>
                <a:gd name="connsiteX4" fmla="*/ 0 w 560070"/>
                <a:gd name="connsiteY4" fmla="*/ 617220 h 640080"/>
                <a:gd name="connsiteX0" fmla="*/ 0 w 560070"/>
                <a:gd name="connsiteY0" fmla="*/ 251460 h 617220"/>
                <a:gd name="connsiteX1" fmla="*/ 560070 w 560070"/>
                <a:gd name="connsiteY1" fmla="*/ 0 h 617220"/>
                <a:gd name="connsiteX2" fmla="*/ 560070 w 560070"/>
                <a:gd name="connsiteY2" fmla="*/ 411480 h 617220"/>
                <a:gd name="connsiteX3" fmla="*/ 33666 w 560070"/>
                <a:gd name="connsiteY3" fmla="*/ 503907 h 617220"/>
                <a:gd name="connsiteX4" fmla="*/ 0 w 560070"/>
                <a:gd name="connsiteY4" fmla="*/ 617220 h 617220"/>
                <a:gd name="connsiteX0" fmla="*/ 0 w 560070"/>
                <a:gd name="connsiteY0" fmla="*/ 251460 h 506984"/>
                <a:gd name="connsiteX1" fmla="*/ 560070 w 560070"/>
                <a:gd name="connsiteY1" fmla="*/ 0 h 506984"/>
                <a:gd name="connsiteX2" fmla="*/ 560070 w 560070"/>
                <a:gd name="connsiteY2" fmla="*/ 411480 h 506984"/>
                <a:gd name="connsiteX3" fmla="*/ 33666 w 560070"/>
                <a:gd name="connsiteY3" fmla="*/ 503907 h 506984"/>
                <a:gd name="connsiteX4" fmla="*/ 144544 w 560070"/>
                <a:gd name="connsiteY4" fmla="*/ 506984 h 506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070" h="506984">
                  <a:moveTo>
                    <a:pt x="0" y="251460"/>
                  </a:moveTo>
                  <a:lnTo>
                    <a:pt x="560070" y="0"/>
                  </a:lnTo>
                  <a:lnTo>
                    <a:pt x="560070" y="411480"/>
                  </a:lnTo>
                  <a:lnTo>
                    <a:pt x="33666" y="503907"/>
                  </a:lnTo>
                  <a:lnTo>
                    <a:pt x="144544" y="506984"/>
                  </a:lnTo>
                </a:path>
              </a:pathLst>
            </a:cu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999">
                <a:solidFill>
                  <a:prstClr val="white"/>
                </a:solidFill>
                <a:latin typeface="Calibri" panose="020F0502020204030204"/>
              </a:endParaRPr>
            </a:p>
          </p:txBody>
        </p:sp>
        <p:sp>
          <p:nvSpPr>
            <p:cNvPr id="99" name="Rechthoek 98"/>
            <p:cNvSpPr/>
            <p:nvPr/>
          </p:nvSpPr>
          <p:spPr>
            <a:xfrm>
              <a:off x="2927480" y="946297"/>
              <a:ext cx="1440000" cy="324000"/>
            </a:xfrm>
            <a:prstGeom prst="rect">
              <a:avLst/>
            </a:prstGeom>
            <a:solidFill>
              <a:schemeClr val="tx2"/>
            </a:solidFill>
          </p:spPr>
          <p:txBody>
            <a:bodyPr vert="horz" lIns="71981" tIns="179953" rIns="71981" bIns="143963" rtlCol="0" anchor="ctr">
              <a:noAutofit/>
            </a:bodyPr>
            <a:lstStyle/>
            <a:p>
              <a:pPr algn="ctr" defTabSz="914104">
                <a:lnSpc>
                  <a:spcPct val="80000"/>
                </a:lnSpc>
                <a:spcBef>
                  <a:spcPct val="0"/>
                </a:spcBef>
              </a:pPr>
              <a:r>
                <a:rPr lang="nl-NL" sz="1100" cap="all" dirty="0">
                  <a:solidFill>
                    <a:prstClr val="white"/>
                  </a:solidFill>
                </a:rPr>
                <a:t>CENTRAL Gate</a:t>
              </a:r>
            </a:p>
          </p:txBody>
        </p:sp>
      </p:grpSp>
      <p:sp>
        <p:nvSpPr>
          <p:cNvPr id="100" name="Vrije vorm 99"/>
          <p:cNvSpPr/>
          <p:nvPr/>
        </p:nvSpPr>
        <p:spPr>
          <a:xfrm>
            <a:off x="6765689" y="6616170"/>
            <a:ext cx="568639" cy="327055"/>
          </a:xfrm>
          <a:custGeom>
            <a:avLst/>
            <a:gdLst>
              <a:gd name="connsiteX0" fmla="*/ 221226 w 523568"/>
              <a:gd name="connsiteY0" fmla="*/ 0 h 317090"/>
              <a:gd name="connsiteX1" fmla="*/ 0 w 523568"/>
              <a:gd name="connsiteY1" fmla="*/ 73742 h 317090"/>
              <a:gd name="connsiteX2" fmla="*/ 176981 w 523568"/>
              <a:gd name="connsiteY2" fmla="*/ 317090 h 317090"/>
              <a:gd name="connsiteX3" fmla="*/ 523568 w 523568"/>
              <a:gd name="connsiteY3" fmla="*/ 317090 h 317090"/>
              <a:gd name="connsiteX4" fmla="*/ 221226 w 523568"/>
              <a:gd name="connsiteY4" fmla="*/ 0 h 317090"/>
              <a:gd name="connsiteX0" fmla="*/ 221226 w 523568"/>
              <a:gd name="connsiteY0" fmla="*/ 0 h 317090"/>
              <a:gd name="connsiteX1" fmla="*/ 0 w 523568"/>
              <a:gd name="connsiteY1" fmla="*/ 73742 h 317090"/>
              <a:gd name="connsiteX2" fmla="*/ 222198 w 523568"/>
              <a:gd name="connsiteY2" fmla="*/ 307042 h 317090"/>
              <a:gd name="connsiteX3" fmla="*/ 523568 w 523568"/>
              <a:gd name="connsiteY3" fmla="*/ 317090 h 317090"/>
              <a:gd name="connsiteX4" fmla="*/ 221226 w 523568"/>
              <a:gd name="connsiteY4" fmla="*/ 0 h 317090"/>
              <a:gd name="connsiteX0" fmla="*/ 266444 w 568786"/>
              <a:gd name="connsiteY0" fmla="*/ 0 h 317090"/>
              <a:gd name="connsiteX1" fmla="*/ 0 w 568786"/>
              <a:gd name="connsiteY1" fmla="*/ 63694 h 317090"/>
              <a:gd name="connsiteX2" fmla="*/ 267416 w 568786"/>
              <a:gd name="connsiteY2" fmla="*/ 307042 h 317090"/>
              <a:gd name="connsiteX3" fmla="*/ 568786 w 568786"/>
              <a:gd name="connsiteY3" fmla="*/ 317090 h 317090"/>
              <a:gd name="connsiteX4" fmla="*/ 266444 w 568786"/>
              <a:gd name="connsiteY4" fmla="*/ 0 h 317090"/>
              <a:gd name="connsiteX0" fmla="*/ 256396 w 568786"/>
              <a:gd name="connsiteY0" fmla="*/ 0 h 327139"/>
              <a:gd name="connsiteX1" fmla="*/ 0 w 568786"/>
              <a:gd name="connsiteY1" fmla="*/ 73743 h 327139"/>
              <a:gd name="connsiteX2" fmla="*/ 267416 w 568786"/>
              <a:gd name="connsiteY2" fmla="*/ 317091 h 327139"/>
              <a:gd name="connsiteX3" fmla="*/ 568786 w 568786"/>
              <a:gd name="connsiteY3" fmla="*/ 327139 h 327139"/>
              <a:gd name="connsiteX4" fmla="*/ 256396 w 568786"/>
              <a:gd name="connsiteY4" fmla="*/ 0 h 3271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786" h="327139">
                <a:moveTo>
                  <a:pt x="256396" y="0"/>
                </a:moveTo>
                <a:lnTo>
                  <a:pt x="0" y="73743"/>
                </a:lnTo>
                <a:lnTo>
                  <a:pt x="267416" y="317091"/>
                </a:lnTo>
                <a:lnTo>
                  <a:pt x="568786" y="327139"/>
                </a:lnTo>
                <a:lnTo>
                  <a:pt x="256396" y="0"/>
                </a:lnTo>
                <a:close/>
              </a:path>
            </a:pathLst>
          </a:custGeom>
          <a:solidFill>
            <a:srgbClr val="C00000">
              <a:alpha val="50196"/>
            </a:srgb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799">
              <a:solidFill>
                <a:prstClr val="white"/>
              </a:solidFill>
              <a:latin typeface="Calibri" panose="020F0502020204030204"/>
            </a:endParaRPr>
          </a:p>
        </p:txBody>
      </p:sp>
      <p:sp>
        <p:nvSpPr>
          <p:cNvPr id="107" name="Vrije vorm 106"/>
          <p:cNvSpPr/>
          <p:nvPr/>
        </p:nvSpPr>
        <p:spPr>
          <a:xfrm>
            <a:off x="2285934" y="4079200"/>
            <a:ext cx="3590293" cy="2943183"/>
          </a:xfrm>
          <a:custGeom>
            <a:avLst/>
            <a:gdLst>
              <a:gd name="connsiteX0" fmla="*/ 5869459 w 5869459"/>
              <a:gd name="connsiteY0" fmla="*/ 4324865 h 4361936"/>
              <a:gd name="connsiteX1" fmla="*/ 0 w 5869459"/>
              <a:gd name="connsiteY1" fmla="*/ 0 h 4361936"/>
              <a:gd name="connsiteX2" fmla="*/ 0 w 5869459"/>
              <a:gd name="connsiteY2" fmla="*/ 543698 h 4361936"/>
              <a:gd name="connsiteX3" fmla="*/ 5165124 w 5869459"/>
              <a:gd name="connsiteY3" fmla="*/ 4361936 h 4361936"/>
              <a:gd name="connsiteX4" fmla="*/ 5869459 w 5869459"/>
              <a:gd name="connsiteY4" fmla="*/ 4324865 h 4361936"/>
              <a:gd name="connsiteX0" fmla="*/ 5869459 w 5869459"/>
              <a:gd name="connsiteY0" fmla="*/ 4324865 h 4361936"/>
              <a:gd name="connsiteX1" fmla="*/ 0 w 5869459"/>
              <a:gd name="connsiteY1" fmla="*/ 0 h 4361936"/>
              <a:gd name="connsiteX2" fmla="*/ 0 w 5869459"/>
              <a:gd name="connsiteY2" fmla="*/ 543698 h 4361936"/>
              <a:gd name="connsiteX3" fmla="*/ 5165124 w 5869459"/>
              <a:gd name="connsiteY3" fmla="*/ 4361936 h 4361936"/>
              <a:gd name="connsiteX4" fmla="*/ 5869459 w 5869459"/>
              <a:gd name="connsiteY4" fmla="*/ 4324865 h 4361936"/>
              <a:gd name="connsiteX0" fmla="*/ 5869459 w 5869459"/>
              <a:gd name="connsiteY0" fmla="*/ 4324865 h 4361936"/>
              <a:gd name="connsiteX1" fmla="*/ 0 w 5869459"/>
              <a:gd name="connsiteY1" fmla="*/ 0 h 4361936"/>
              <a:gd name="connsiteX2" fmla="*/ 0 w 5869459"/>
              <a:gd name="connsiteY2" fmla="*/ 543698 h 4361936"/>
              <a:gd name="connsiteX3" fmla="*/ 5165124 w 5869459"/>
              <a:gd name="connsiteY3" fmla="*/ 4361936 h 4361936"/>
              <a:gd name="connsiteX4" fmla="*/ 5869459 w 5869459"/>
              <a:gd name="connsiteY4" fmla="*/ 4324865 h 4361936"/>
              <a:gd name="connsiteX0" fmla="*/ 5869459 w 5869459"/>
              <a:gd name="connsiteY0" fmla="*/ 4324865 h 4361936"/>
              <a:gd name="connsiteX1" fmla="*/ 0 w 5869459"/>
              <a:gd name="connsiteY1" fmla="*/ 0 h 4361936"/>
              <a:gd name="connsiteX2" fmla="*/ 0 w 5869459"/>
              <a:gd name="connsiteY2" fmla="*/ 543698 h 4361936"/>
              <a:gd name="connsiteX3" fmla="*/ 5165124 w 5869459"/>
              <a:gd name="connsiteY3" fmla="*/ 4361936 h 4361936"/>
              <a:gd name="connsiteX4" fmla="*/ 5869459 w 5869459"/>
              <a:gd name="connsiteY4" fmla="*/ 4324865 h 4361936"/>
              <a:gd name="connsiteX0" fmla="*/ 5869459 w 5869459"/>
              <a:gd name="connsiteY0" fmla="*/ 4324865 h 4361936"/>
              <a:gd name="connsiteX1" fmla="*/ 0 w 5869459"/>
              <a:gd name="connsiteY1" fmla="*/ 0 h 4361936"/>
              <a:gd name="connsiteX2" fmla="*/ 0 w 5869459"/>
              <a:gd name="connsiteY2" fmla="*/ 543698 h 4361936"/>
              <a:gd name="connsiteX3" fmla="*/ 5165124 w 5869459"/>
              <a:gd name="connsiteY3" fmla="*/ 4361936 h 4361936"/>
              <a:gd name="connsiteX4" fmla="*/ 5869459 w 5869459"/>
              <a:gd name="connsiteY4" fmla="*/ 4324865 h 4361936"/>
              <a:gd name="connsiteX0" fmla="*/ 5869459 w 5869459"/>
              <a:gd name="connsiteY0" fmla="*/ 4324865 h 4349579"/>
              <a:gd name="connsiteX1" fmla="*/ 0 w 5869459"/>
              <a:gd name="connsiteY1" fmla="*/ 0 h 4349579"/>
              <a:gd name="connsiteX2" fmla="*/ 0 w 5869459"/>
              <a:gd name="connsiteY2" fmla="*/ 543698 h 4349579"/>
              <a:gd name="connsiteX3" fmla="*/ 5053914 w 5869459"/>
              <a:gd name="connsiteY3" fmla="*/ 4349579 h 4349579"/>
              <a:gd name="connsiteX4" fmla="*/ 5869459 w 5869459"/>
              <a:gd name="connsiteY4" fmla="*/ 4324865 h 4349579"/>
              <a:gd name="connsiteX0" fmla="*/ 5869459 w 5869459"/>
              <a:gd name="connsiteY0" fmla="*/ 4324865 h 4349579"/>
              <a:gd name="connsiteX1" fmla="*/ 0 w 5869459"/>
              <a:gd name="connsiteY1" fmla="*/ 0 h 4349579"/>
              <a:gd name="connsiteX2" fmla="*/ 0 w 5869459"/>
              <a:gd name="connsiteY2" fmla="*/ 543698 h 4349579"/>
              <a:gd name="connsiteX3" fmla="*/ 5053914 w 5869459"/>
              <a:gd name="connsiteY3" fmla="*/ 4349579 h 4349579"/>
              <a:gd name="connsiteX4" fmla="*/ 5869459 w 5869459"/>
              <a:gd name="connsiteY4" fmla="*/ 4324865 h 4349579"/>
              <a:gd name="connsiteX0" fmla="*/ 5869459 w 5869459"/>
              <a:gd name="connsiteY0" fmla="*/ 4324865 h 4349579"/>
              <a:gd name="connsiteX1" fmla="*/ 0 w 5869459"/>
              <a:gd name="connsiteY1" fmla="*/ 0 h 4349579"/>
              <a:gd name="connsiteX2" fmla="*/ 0 w 5869459"/>
              <a:gd name="connsiteY2" fmla="*/ 543698 h 4349579"/>
              <a:gd name="connsiteX3" fmla="*/ 5053914 w 5869459"/>
              <a:gd name="connsiteY3" fmla="*/ 4349579 h 4349579"/>
              <a:gd name="connsiteX4" fmla="*/ 5869459 w 5869459"/>
              <a:gd name="connsiteY4" fmla="*/ 4324865 h 4349579"/>
              <a:gd name="connsiteX0" fmla="*/ 5869459 w 5869459"/>
              <a:gd name="connsiteY0" fmla="*/ 4324865 h 4349579"/>
              <a:gd name="connsiteX1" fmla="*/ 0 w 5869459"/>
              <a:gd name="connsiteY1" fmla="*/ 0 h 4349579"/>
              <a:gd name="connsiteX2" fmla="*/ 0 w 5869459"/>
              <a:gd name="connsiteY2" fmla="*/ 543698 h 4349579"/>
              <a:gd name="connsiteX3" fmla="*/ 5053914 w 5869459"/>
              <a:gd name="connsiteY3" fmla="*/ 4349579 h 4349579"/>
              <a:gd name="connsiteX4" fmla="*/ 5869459 w 5869459"/>
              <a:gd name="connsiteY4" fmla="*/ 4324865 h 4349579"/>
              <a:gd name="connsiteX0" fmla="*/ 5916112 w 5916112"/>
              <a:gd name="connsiteY0" fmla="*/ 4324865 h 4349579"/>
              <a:gd name="connsiteX1" fmla="*/ 46653 w 5916112"/>
              <a:gd name="connsiteY1" fmla="*/ 0 h 4349579"/>
              <a:gd name="connsiteX2" fmla="*/ 0 w 5916112"/>
              <a:gd name="connsiteY2" fmla="*/ 525037 h 4349579"/>
              <a:gd name="connsiteX3" fmla="*/ 5100567 w 5916112"/>
              <a:gd name="connsiteY3" fmla="*/ 4349579 h 4349579"/>
              <a:gd name="connsiteX4" fmla="*/ 5916112 w 5916112"/>
              <a:gd name="connsiteY4" fmla="*/ 4324865 h 4349579"/>
              <a:gd name="connsiteX0" fmla="*/ 5981426 w 5981426"/>
              <a:gd name="connsiteY0" fmla="*/ 4390179 h 4414893"/>
              <a:gd name="connsiteX1" fmla="*/ 0 w 5981426"/>
              <a:gd name="connsiteY1" fmla="*/ 0 h 4414893"/>
              <a:gd name="connsiteX2" fmla="*/ 65314 w 5981426"/>
              <a:gd name="connsiteY2" fmla="*/ 590351 h 4414893"/>
              <a:gd name="connsiteX3" fmla="*/ 5165881 w 5981426"/>
              <a:gd name="connsiteY3" fmla="*/ 4414893 h 4414893"/>
              <a:gd name="connsiteX4" fmla="*/ 5981426 w 5981426"/>
              <a:gd name="connsiteY4" fmla="*/ 4390179 h 4414893"/>
              <a:gd name="connsiteX0" fmla="*/ 5981426 w 5981426"/>
              <a:gd name="connsiteY0" fmla="*/ 4390179 h 4414893"/>
              <a:gd name="connsiteX1" fmla="*/ 0 w 5981426"/>
              <a:gd name="connsiteY1" fmla="*/ 0 h 4414893"/>
              <a:gd name="connsiteX2" fmla="*/ 65314 w 5981426"/>
              <a:gd name="connsiteY2" fmla="*/ 590351 h 4414893"/>
              <a:gd name="connsiteX3" fmla="*/ 5165881 w 5981426"/>
              <a:gd name="connsiteY3" fmla="*/ 4414893 h 4414893"/>
              <a:gd name="connsiteX4" fmla="*/ 5981426 w 5981426"/>
              <a:gd name="connsiteY4" fmla="*/ 4390179 h 4414893"/>
              <a:gd name="connsiteX0" fmla="*/ 5962765 w 5962765"/>
              <a:gd name="connsiteY0" fmla="*/ 4436832 h 4436832"/>
              <a:gd name="connsiteX1" fmla="*/ 0 w 5962765"/>
              <a:gd name="connsiteY1" fmla="*/ 0 h 4436832"/>
              <a:gd name="connsiteX2" fmla="*/ 65314 w 5962765"/>
              <a:gd name="connsiteY2" fmla="*/ 590351 h 4436832"/>
              <a:gd name="connsiteX3" fmla="*/ 5165881 w 5962765"/>
              <a:gd name="connsiteY3" fmla="*/ 4414893 h 4436832"/>
              <a:gd name="connsiteX4" fmla="*/ 5962765 w 5962765"/>
              <a:gd name="connsiteY4" fmla="*/ 4436832 h 4436832"/>
              <a:gd name="connsiteX0" fmla="*/ 5962765 w 5962765"/>
              <a:gd name="connsiteY0" fmla="*/ 4436832 h 4480207"/>
              <a:gd name="connsiteX1" fmla="*/ 0 w 5962765"/>
              <a:gd name="connsiteY1" fmla="*/ 0 h 4480207"/>
              <a:gd name="connsiteX2" fmla="*/ 65314 w 5962765"/>
              <a:gd name="connsiteY2" fmla="*/ 590351 h 4480207"/>
              <a:gd name="connsiteX3" fmla="*/ 5203203 w 5962765"/>
              <a:gd name="connsiteY3" fmla="*/ 4480207 h 4480207"/>
              <a:gd name="connsiteX4" fmla="*/ 5962765 w 5962765"/>
              <a:gd name="connsiteY4" fmla="*/ 4436832 h 4480207"/>
              <a:gd name="connsiteX0" fmla="*/ 6000087 w 6000087"/>
              <a:gd name="connsiteY0" fmla="*/ 4492816 h 4492816"/>
              <a:gd name="connsiteX1" fmla="*/ 0 w 6000087"/>
              <a:gd name="connsiteY1" fmla="*/ 0 h 4492816"/>
              <a:gd name="connsiteX2" fmla="*/ 65314 w 6000087"/>
              <a:gd name="connsiteY2" fmla="*/ 590351 h 4492816"/>
              <a:gd name="connsiteX3" fmla="*/ 5203203 w 6000087"/>
              <a:gd name="connsiteY3" fmla="*/ 4480207 h 4492816"/>
              <a:gd name="connsiteX4" fmla="*/ 6000087 w 6000087"/>
              <a:gd name="connsiteY4" fmla="*/ 4492816 h 4492816"/>
              <a:gd name="connsiteX0" fmla="*/ 6000087 w 6000087"/>
              <a:gd name="connsiteY0" fmla="*/ 4492816 h 4492816"/>
              <a:gd name="connsiteX1" fmla="*/ 0 w 6000087"/>
              <a:gd name="connsiteY1" fmla="*/ 0 h 4492816"/>
              <a:gd name="connsiteX2" fmla="*/ 65314 w 6000087"/>
              <a:gd name="connsiteY2" fmla="*/ 590351 h 4492816"/>
              <a:gd name="connsiteX3" fmla="*/ 5203203 w 6000087"/>
              <a:gd name="connsiteY3" fmla="*/ 4480207 h 4492816"/>
              <a:gd name="connsiteX4" fmla="*/ 6000087 w 6000087"/>
              <a:gd name="connsiteY4" fmla="*/ 4492816 h 4492816"/>
              <a:gd name="connsiteX0" fmla="*/ 6018749 w 6018749"/>
              <a:gd name="connsiteY0" fmla="*/ 4492816 h 4492816"/>
              <a:gd name="connsiteX1" fmla="*/ 18662 w 6018749"/>
              <a:gd name="connsiteY1" fmla="*/ 0 h 4492816"/>
              <a:gd name="connsiteX2" fmla="*/ 0 w 6018749"/>
              <a:gd name="connsiteY2" fmla="*/ 599682 h 4492816"/>
              <a:gd name="connsiteX3" fmla="*/ 5221865 w 6018749"/>
              <a:gd name="connsiteY3" fmla="*/ 4480207 h 4492816"/>
              <a:gd name="connsiteX4" fmla="*/ 6018749 w 6018749"/>
              <a:gd name="connsiteY4" fmla="*/ 4492816 h 4492816"/>
              <a:gd name="connsiteX0" fmla="*/ 6018749 w 6018749"/>
              <a:gd name="connsiteY0" fmla="*/ 4492816 h 4492816"/>
              <a:gd name="connsiteX1" fmla="*/ 18662 w 6018749"/>
              <a:gd name="connsiteY1" fmla="*/ 0 h 4492816"/>
              <a:gd name="connsiteX2" fmla="*/ 0 w 6018749"/>
              <a:gd name="connsiteY2" fmla="*/ 599682 h 4492816"/>
              <a:gd name="connsiteX3" fmla="*/ 5221865 w 6018749"/>
              <a:gd name="connsiteY3" fmla="*/ 4480207 h 4492816"/>
              <a:gd name="connsiteX4" fmla="*/ 6018749 w 6018749"/>
              <a:gd name="connsiteY4" fmla="*/ 4492816 h 4492816"/>
              <a:gd name="connsiteX0" fmla="*/ 6000087 w 6000087"/>
              <a:gd name="connsiteY0" fmla="*/ 4492816 h 4492816"/>
              <a:gd name="connsiteX1" fmla="*/ 0 w 6000087"/>
              <a:gd name="connsiteY1" fmla="*/ 0 h 4492816"/>
              <a:gd name="connsiteX2" fmla="*/ 9330 w 6000087"/>
              <a:gd name="connsiteY2" fmla="*/ 525037 h 4492816"/>
              <a:gd name="connsiteX3" fmla="*/ 5203203 w 6000087"/>
              <a:gd name="connsiteY3" fmla="*/ 4480207 h 4492816"/>
              <a:gd name="connsiteX4" fmla="*/ 6000087 w 6000087"/>
              <a:gd name="connsiteY4" fmla="*/ 4492816 h 4492816"/>
              <a:gd name="connsiteX0" fmla="*/ 6000087 w 6000087"/>
              <a:gd name="connsiteY0" fmla="*/ 4492816 h 4492816"/>
              <a:gd name="connsiteX1" fmla="*/ 0 w 6000087"/>
              <a:gd name="connsiteY1" fmla="*/ 0 h 4492816"/>
              <a:gd name="connsiteX2" fmla="*/ 9330 w 6000087"/>
              <a:gd name="connsiteY2" fmla="*/ 525037 h 4492816"/>
              <a:gd name="connsiteX3" fmla="*/ 5203203 w 6000087"/>
              <a:gd name="connsiteY3" fmla="*/ 4480207 h 4492816"/>
              <a:gd name="connsiteX4" fmla="*/ 6000087 w 6000087"/>
              <a:gd name="connsiteY4" fmla="*/ 4492816 h 4492816"/>
              <a:gd name="connsiteX0" fmla="*/ 5990757 w 5990757"/>
              <a:gd name="connsiteY0" fmla="*/ 4427501 h 4427501"/>
              <a:gd name="connsiteX1" fmla="*/ 0 w 5990757"/>
              <a:gd name="connsiteY1" fmla="*/ 0 h 4427501"/>
              <a:gd name="connsiteX2" fmla="*/ 0 w 5990757"/>
              <a:gd name="connsiteY2" fmla="*/ 459722 h 4427501"/>
              <a:gd name="connsiteX3" fmla="*/ 5193873 w 5990757"/>
              <a:gd name="connsiteY3" fmla="*/ 4414892 h 4427501"/>
              <a:gd name="connsiteX4" fmla="*/ 5990757 w 5990757"/>
              <a:gd name="connsiteY4" fmla="*/ 4427501 h 4427501"/>
              <a:gd name="connsiteX0" fmla="*/ 5990757 w 5990757"/>
              <a:gd name="connsiteY0" fmla="*/ 4427501 h 4427501"/>
              <a:gd name="connsiteX1" fmla="*/ 0 w 5990757"/>
              <a:gd name="connsiteY1" fmla="*/ 0 h 4427501"/>
              <a:gd name="connsiteX2" fmla="*/ 0 w 5990757"/>
              <a:gd name="connsiteY2" fmla="*/ 459722 h 4427501"/>
              <a:gd name="connsiteX3" fmla="*/ 5193873 w 5990757"/>
              <a:gd name="connsiteY3" fmla="*/ 4414892 h 4427501"/>
              <a:gd name="connsiteX4" fmla="*/ 5990757 w 5990757"/>
              <a:gd name="connsiteY4" fmla="*/ 4427501 h 4427501"/>
              <a:gd name="connsiteX0" fmla="*/ 5990757 w 5990757"/>
              <a:gd name="connsiteY0" fmla="*/ 4427501 h 4427501"/>
              <a:gd name="connsiteX1" fmla="*/ 0 w 5990757"/>
              <a:gd name="connsiteY1" fmla="*/ 0 h 4427501"/>
              <a:gd name="connsiteX2" fmla="*/ 0 w 5990757"/>
              <a:gd name="connsiteY2" fmla="*/ 459722 h 4427501"/>
              <a:gd name="connsiteX3" fmla="*/ 2315859 w 5990757"/>
              <a:gd name="connsiteY3" fmla="*/ 1730247 h 4427501"/>
              <a:gd name="connsiteX4" fmla="*/ 5193873 w 5990757"/>
              <a:gd name="connsiteY4" fmla="*/ 4414892 h 4427501"/>
              <a:gd name="connsiteX5" fmla="*/ 5990757 w 5990757"/>
              <a:gd name="connsiteY5" fmla="*/ 4427501 h 4427501"/>
              <a:gd name="connsiteX0" fmla="*/ 5990757 w 5990757"/>
              <a:gd name="connsiteY0" fmla="*/ 4427501 h 4427501"/>
              <a:gd name="connsiteX1" fmla="*/ 2853302 w 5990757"/>
              <a:gd name="connsiteY1" fmla="*/ 1528706 h 4427501"/>
              <a:gd name="connsiteX2" fmla="*/ 0 w 5990757"/>
              <a:gd name="connsiteY2" fmla="*/ 0 h 4427501"/>
              <a:gd name="connsiteX3" fmla="*/ 0 w 5990757"/>
              <a:gd name="connsiteY3" fmla="*/ 459722 h 4427501"/>
              <a:gd name="connsiteX4" fmla="*/ 2315859 w 5990757"/>
              <a:gd name="connsiteY4" fmla="*/ 1730247 h 4427501"/>
              <a:gd name="connsiteX5" fmla="*/ 5193873 w 5990757"/>
              <a:gd name="connsiteY5" fmla="*/ 4414892 h 4427501"/>
              <a:gd name="connsiteX6" fmla="*/ 5990757 w 5990757"/>
              <a:gd name="connsiteY6" fmla="*/ 4427501 h 4427501"/>
              <a:gd name="connsiteX0" fmla="*/ 5990757 w 5990757"/>
              <a:gd name="connsiteY0" fmla="*/ 4427501 h 4427501"/>
              <a:gd name="connsiteX1" fmla="*/ 2853302 w 5990757"/>
              <a:gd name="connsiteY1" fmla="*/ 1528706 h 4427501"/>
              <a:gd name="connsiteX2" fmla="*/ 0 w 5990757"/>
              <a:gd name="connsiteY2" fmla="*/ 0 h 4427501"/>
              <a:gd name="connsiteX3" fmla="*/ 0 w 5990757"/>
              <a:gd name="connsiteY3" fmla="*/ 459722 h 4427501"/>
              <a:gd name="connsiteX4" fmla="*/ 2315859 w 5990757"/>
              <a:gd name="connsiteY4" fmla="*/ 1730247 h 4427501"/>
              <a:gd name="connsiteX5" fmla="*/ 3663200 w 5990757"/>
              <a:gd name="connsiteY5" fmla="*/ 2958156 h 4427501"/>
              <a:gd name="connsiteX6" fmla="*/ 5193873 w 5990757"/>
              <a:gd name="connsiteY6" fmla="*/ 4414892 h 4427501"/>
              <a:gd name="connsiteX7" fmla="*/ 5990757 w 5990757"/>
              <a:gd name="connsiteY7" fmla="*/ 4427501 h 4427501"/>
              <a:gd name="connsiteX0" fmla="*/ 5990757 w 5990757"/>
              <a:gd name="connsiteY0" fmla="*/ 4427501 h 4427501"/>
              <a:gd name="connsiteX1" fmla="*/ 2853302 w 5990757"/>
              <a:gd name="connsiteY1" fmla="*/ 1528706 h 4427501"/>
              <a:gd name="connsiteX2" fmla="*/ 0 w 5990757"/>
              <a:gd name="connsiteY2" fmla="*/ 0 h 4427501"/>
              <a:gd name="connsiteX3" fmla="*/ 0 w 5990757"/>
              <a:gd name="connsiteY3" fmla="*/ 459722 h 4427501"/>
              <a:gd name="connsiteX4" fmla="*/ 2315859 w 5990757"/>
              <a:gd name="connsiteY4" fmla="*/ 1730247 h 4427501"/>
              <a:gd name="connsiteX5" fmla="*/ 3801293 w 5990757"/>
              <a:gd name="connsiteY5" fmla="*/ 2887243 h 4427501"/>
              <a:gd name="connsiteX6" fmla="*/ 5193873 w 5990757"/>
              <a:gd name="connsiteY6" fmla="*/ 4414892 h 4427501"/>
              <a:gd name="connsiteX7" fmla="*/ 5990757 w 5990757"/>
              <a:gd name="connsiteY7" fmla="*/ 4427501 h 4427501"/>
              <a:gd name="connsiteX0" fmla="*/ 5990757 w 5990757"/>
              <a:gd name="connsiteY0" fmla="*/ 4427501 h 4427501"/>
              <a:gd name="connsiteX1" fmla="*/ 4014031 w 5990757"/>
              <a:gd name="connsiteY1" fmla="*/ 2499089 h 4427501"/>
              <a:gd name="connsiteX2" fmla="*/ 2853302 w 5990757"/>
              <a:gd name="connsiteY2" fmla="*/ 1528706 h 4427501"/>
              <a:gd name="connsiteX3" fmla="*/ 0 w 5990757"/>
              <a:gd name="connsiteY3" fmla="*/ 0 h 4427501"/>
              <a:gd name="connsiteX4" fmla="*/ 0 w 5990757"/>
              <a:gd name="connsiteY4" fmla="*/ 459722 h 4427501"/>
              <a:gd name="connsiteX5" fmla="*/ 2315859 w 5990757"/>
              <a:gd name="connsiteY5" fmla="*/ 1730247 h 4427501"/>
              <a:gd name="connsiteX6" fmla="*/ 3801293 w 5990757"/>
              <a:gd name="connsiteY6" fmla="*/ 2887243 h 4427501"/>
              <a:gd name="connsiteX7" fmla="*/ 5193873 w 5990757"/>
              <a:gd name="connsiteY7" fmla="*/ 4414892 h 4427501"/>
              <a:gd name="connsiteX8" fmla="*/ 5990757 w 5990757"/>
              <a:gd name="connsiteY8" fmla="*/ 4427501 h 4427501"/>
              <a:gd name="connsiteX0" fmla="*/ 5990757 w 5990757"/>
              <a:gd name="connsiteY0" fmla="*/ 4427501 h 4427501"/>
              <a:gd name="connsiteX1" fmla="*/ 4308879 w 5990757"/>
              <a:gd name="connsiteY1" fmla="*/ 2756614 h 4427501"/>
              <a:gd name="connsiteX2" fmla="*/ 2853302 w 5990757"/>
              <a:gd name="connsiteY2" fmla="*/ 1528706 h 4427501"/>
              <a:gd name="connsiteX3" fmla="*/ 0 w 5990757"/>
              <a:gd name="connsiteY3" fmla="*/ 0 h 4427501"/>
              <a:gd name="connsiteX4" fmla="*/ 0 w 5990757"/>
              <a:gd name="connsiteY4" fmla="*/ 459722 h 4427501"/>
              <a:gd name="connsiteX5" fmla="*/ 2315859 w 5990757"/>
              <a:gd name="connsiteY5" fmla="*/ 1730247 h 4427501"/>
              <a:gd name="connsiteX6" fmla="*/ 3801293 w 5990757"/>
              <a:gd name="connsiteY6" fmla="*/ 2887243 h 4427501"/>
              <a:gd name="connsiteX7" fmla="*/ 5193873 w 5990757"/>
              <a:gd name="connsiteY7" fmla="*/ 4414892 h 4427501"/>
              <a:gd name="connsiteX8" fmla="*/ 5990757 w 5990757"/>
              <a:gd name="connsiteY8"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0 w 5990757"/>
              <a:gd name="connsiteY3" fmla="*/ 0 h 4427501"/>
              <a:gd name="connsiteX4" fmla="*/ 0 w 5990757"/>
              <a:gd name="connsiteY4" fmla="*/ 459722 h 4427501"/>
              <a:gd name="connsiteX5" fmla="*/ 2315859 w 5990757"/>
              <a:gd name="connsiteY5" fmla="*/ 1730247 h 4427501"/>
              <a:gd name="connsiteX6" fmla="*/ 3801293 w 5990757"/>
              <a:gd name="connsiteY6" fmla="*/ 2887243 h 4427501"/>
              <a:gd name="connsiteX7" fmla="*/ 5193873 w 5990757"/>
              <a:gd name="connsiteY7" fmla="*/ 4414892 h 4427501"/>
              <a:gd name="connsiteX8" fmla="*/ 5990757 w 5990757"/>
              <a:gd name="connsiteY8"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1398038 w 5990757"/>
              <a:gd name="connsiteY3" fmla="*/ 705020 h 4427501"/>
              <a:gd name="connsiteX4" fmla="*/ 0 w 5990757"/>
              <a:gd name="connsiteY4" fmla="*/ 0 h 4427501"/>
              <a:gd name="connsiteX5" fmla="*/ 0 w 5990757"/>
              <a:gd name="connsiteY5" fmla="*/ 459722 h 4427501"/>
              <a:gd name="connsiteX6" fmla="*/ 2315859 w 5990757"/>
              <a:gd name="connsiteY6" fmla="*/ 1730247 h 4427501"/>
              <a:gd name="connsiteX7" fmla="*/ 3801293 w 5990757"/>
              <a:gd name="connsiteY7" fmla="*/ 2887243 h 4427501"/>
              <a:gd name="connsiteX8" fmla="*/ 5193873 w 5990757"/>
              <a:gd name="connsiteY8" fmla="*/ 4414892 h 4427501"/>
              <a:gd name="connsiteX9" fmla="*/ 5990757 w 5990757"/>
              <a:gd name="connsiteY9"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1393805 w 5990757"/>
              <a:gd name="connsiteY3" fmla="*/ 679620 h 4427501"/>
              <a:gd name="connsiteX4" fmla="*/ 0 w 5990757"/>
              <a:gd name="connsiteY4" fmla="*/ 0 h 4427501"/>
              <a:gd name="connsiteX5" fmla="*/ 0 w 5990757"/>
              <a:gd name="connsiteY5" fmla="*/ 459722 h 4427501"/>
              <a:gd name="connsiteX6" fmla="*/ 2315859 w 5990757"/>
              <a:gd name="connsiteY6" fmla="*/ 1730247 h 4427501"/>
              <a:gd name="connsiteX7" fmla="*/ 3801293 w 5990757"/>
              <a:gd name="connsiteY7" fmla="*/ 2887243 h 4427501"/>
              <a:gd name="connsiteX8" fmla="*/ 5193873 w 5990757"/>
              <a:gd name="connsiteY8" fmla="*/ 4414892 h 4427501"/>
              <a:gd name="connsiteX9" fmla="*/ 5990757 w 5990757"/>
              <a:gd name="connsiteY9"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1393805 w 5990757"/>
              <a:gd name="connsiteY3" fmla="*/ 679620 h 4427501"/>
              <a:gd name="connsiteX4" fmla="*/ 0 w 5990757"/>
              <a:gd name="connsiteY4" fmla="*/ 0 h 4427501"/>
              <a:gd name="connsiteX5" fmla="*/ 0 w 5990757"/>
              <a:gd name="connsiteY5" fmla="*/ 459722 h 4427501"/>
              <a:gd name="connsiteX6" fmla="*/ 1033971 w 5990757"/>
              <a:gd name="connsiteY6" fmla="*/ 980187 h 4427501"/>
              <a:gd name="connsiteX7" fmla="*/ 2315859 w 5990757"/>
              <a:gd name="connsiteY7" fmla="*/ 1730247 h 4427501"/>
              <a:gd name="connsiteX8" fmla="*/ 3801293 w 5990757"/>
              <a:gd name="connsiteY8" fmla="*/ 2887243 h 4427501"/>
              <a:gd name="connsiteX9" fmla="*/ 5193873 w 5990757"/>
              <a:gd name="connsiteY9" fmla="*/ 4414892 h 4427501"/>
              <a:gd name="connsiteX10" fmla="*/ 5990757 w 5990757"/>
              <a:gd name="connsiteY10"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1393805 w 5990757"/>
              <a:gd name="connsiteY3" fmla="*/ 679620 h 4427501"/>
              <a:gd name="connsiteX4" fmla="*/ 0 w 5990757"/>
              <a:gd name="connsiteY4" fmla="*/ 0 h 4427501"/>
              <a:gd name="connsiteX5" fmla="*/ 0 w 5990757"/>
              <a:gd name="connsiteY5" fmla="*/ 459722 h 4427501"/>
              <a:gd name="connsiteX6" fmla="*/ 1072071 w 5990757"/>
              <a:gd name="connsiteY6" fmla="*/ 916687 h 4427501"/>
              <a:gd name="connsiteX7" fmla="*/ 2315859 w 5990757"/>
              <a:gd name="connsiteY7" fmla="*/ 1730247 h 4427501"/>
              <a:gd name="connsiteX8" fmla="*/ 3801293 w 5990757"/>
              <a:gd name="connsiteY8" fmla="*/ 2887243 h 4427501"/>
              <a:gd name="connsiteX9" fmla="*/ 5193873 w 5990757"/>
              <a:gd name="connsiteY9" fmla="*/ 4414892 h 4427501"/>
              <a:gd name="connsiteX10" fmla="*/ 5990757 w 5990757"/>
              <a:gd name="connsiteY10"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1393805 w 5990757"/>
              <a:gd name="connsiteY3" fmla="*/ 679620 h 4427501"/>
              <a:gd name="connsiteX4" fmla="*/ 0 w 5990757"/>
              <a:gd name="connsiteY4" fmla="*/ 0 h 4427501"/>
              <a:gd name="connsiteX5" fmla="*/ 0 w 5990757"/>
              <a:gd name="connsiteY5" fmla="*/ 459722 h 4427501"/>
              <a:gd name="connsiteX6" fmla="*/ 1072071 w 5990757"/>
              <a:gd name="connsiteY6" fmla="*/ 916687 h 4427501"/>
              <a:gd name="connsiteX7" fmla="*/ 2315859 w 5990757"/>
              <a:gd name="connsiteY7" fmla="*/ 1730247 h 4427501"/>
              <a:gd name="connsiteX8" fmla="*/ 3801293 w 5990757"/>
              <a:gd name="connsiteY8" fmla="*/ 2887243 h 4427501"/>
              <a:gd name="connsiteX9" fmla="*/ 5193873 w 5990757"/>
              <a:gd name="connsiteY9" fmla="*/ 4414892 h 4427501"/>
              <a:gd name="connsiteX10" fmla="*/ 5990757 w 5990757"/>
              <a:gd name="connsiteY10"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1393805 w 5990757"/>
              <a:gd name="connsiteY3" fmla="*/ 679620 h 4427501"/>
              <a:gd name="connsiteX4" fmla="*/ 0 w 5990757"/>
              <a:gd name="connsiteY4" fmla="*/ 0 h 4427501"/>
              <a:gd name="connsiteX5" fmla="*/ 0 w 5990757"/>
              <a:gd name="connsiteY5" fmla="*/ 459722 h 4427501"/>
              <a:gd name="connsiteX6" fmla="*/ 1072071 w 5990757"/>
              <a:gd name="connsiteY6" fmla="*/ 916687 h 4427501"/>
              <a:gd name="connsiteX7" fmla="*/ 2253171 w 5990757"/>
              <a:gd name="connsiteY7" fmla="*/ 1687153 h 4427501"/>
              <a:gd name="connsiteX8" fmla="*/ 2315859 w 5990757"/>
              <a:gd name="connsiteY8" fmla="*/ 1730247 h 4427501"/>
              <a:gd name="connsiteX9" fmla="*/ 3801293 w 5990757"/>
              <a:gd name="connsiteY9" fmla="*/ 2887243 h 4427501"/>
              <a:gd name="connsiteX10" fmla="*/ 5193873 w 5990757"/>
              <a:gd name="connsiteY10" fmla="*/ 4414892 h 4427501"/>
              <a:gd name="connsiteX11" fmla="*/ 5990757 w 5990757"/>
              <a:gd name="connsiteY11"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2795038 w 5990757"/>
              <a:gd name="connsiteY3" fmla="*/ 1483953 h 4427501"/>
              <a:gd name="connsiteX4" fmla="*/ 1393805 w 5990757"/>
              <a:gd name="connsiteY4" fmla="*/ 679620 h 4427501"/>
              <a:gd name="connsiteX5" fmla="*/ 0 w 5990757"/>
              <a:gd name="connsiteY5" fmla="*/ 0 h 4427501"/>
              <a:gd name="connsiteX6" fmla="*/ 0 w 5990757"/>
              <a:gd name="connsiteY6" fmla="*/ 459722 h 4427501"/>
              <a:gd name="connsiteX7" fmla="*/ 1072071 w 5990757"/>
              <a:gd name="connsiteY7" fmla="*/ 916687 h 4427501"/>
              <a:gd name="connsiteX8" fmla="*/ 2253171 w 5990757"/>
              <a:gd name="connsiteY8" fmla="*/ 1687153 h 4427501"/>
              <a:gd name="connsiteX9" fmla="*/ 2315859 w 5990757"/>
              <a:gd name="connsiteY9" fmla="*/ 1730247 h 4427501"/>
              <a:gd name="connsiteX10" fmla="*/ 3801293 w 5990757"/>
              <a:gd name="connsiteY10" fmla="*/ 2887243 h 4427501"/>
              <a:gd name="connsiteX11" fmla="*/ 5193873 w 5990757"/>
              <a:gd name="connsiteY11" fmla="*/ 4414892 h 4427501"/>
              <a:gd name="connsiteX12" fmla="*/ 5990757 w 5990757"/>
              <a:gd name="connsiteY12"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2795038 w 5990757"/>
              <a:gd name="connsiteY3" fmla="*/ 1483953 h 4427501"/>
              <a:gd name="connsiteX4" fmla="*/ 1393805 w 5990757"/>
              <a:gd name="connsiteY4" fmla="*/ 679620 h 4427501"/>
              <a:gd name="connsiteX5" fmla="*/ 0 w 5990757"/>
              <a:gd name="connsiteY5" fmla="*/ 0 h 4427501"/>
              <a:gd name="connsiteX6" fmla="*/ 0 w 5990757"/>
              <a:gd name="connsiteY6" fmla="*/ 459722 h 4427501"/>
              <a:gd name="connsiteX7" fmla="*/ 1072071 w 5990757"/>
              <a:gd name="connsiteY7" fmla="*/ 916687 h 4427501"/>
              <a:gd name="connsiteX8" fmla="*/ 2253171 w 5990757"/>
              <a:gd name="connsiteY8" fmla="*/ 1687153 h 4427501"/>
              <a:gd name="connsiteX9" fmla="*/ 2315859 w 5990757"/>
              <a:gd name="connsiteY9" fmla="*/ 1730247 h 4427501"/>
              <a:gd name="connsiteX10" fmla="*/ 3801293 w 5990757"/>
              <a:gd name="connsiteY10" fmla="*/ 2887243 h 4427501"/>
              <a:gd name="connsiteX11" fmla="*/ 5193873 w 5990757"/>
              <a:gd name="connsiteY11" fmla="*/ 4414892 h 4427501"/>
              <a:gd name="connsiteX12" fmla="*/ 5990757 w 5990757"/>
              <a:gd name="connsiteY12"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2795038 w 5990757"/>
              <a:gd name="connsiteY3" fmla="*/ 1483953 h 4427501"/>
              <a:gd name="connsiteX4" fmla="*/ 1393805 w 5990757"/>
              <a:gd name="connsiteY4" fmla="*/ 679620 h 4427501"/>
              <a:gd name="connsiteX5" fmla="*/ 0 w 5990757"/>
              <a:gd name="connsiteY5" fmla="*/ 0 h 4427501"/>
              <a:gd name="connsiteX6" fmla="*/ 0 w 5990757"/>
              <a:gd name="connsiteY6" fmla="*/ 459722 h 4427501"/>
              <a:gd name="connsiteX7" fmla="*/ 1072071 w 5990757"/>
              <a:gd name="connsiteY7" fmla="*/ 916687 h 4427501"/>
              <a:gd name="connsiteX8" fmla="*/ 2253171 w 5990757"/>
              <a:gd name="connsiteY8" fmla="*/ 1687153 h 4427501"/>
              <a:gd name="connsiteX9" fmla="*/ 2315859 w 5990757"/>
              <a:gd name="connsiteY9" fmla="*/ 1730247 h 4427501"/>
              <a:gd name="connsiteX10" fmla="*/ 3801293 w 5990757"/>
              <a:gd name="connsiteY10" fmla="*/ 2887243 h 4427501"/>
              <a:gd name="connsiteX11" fmla="*/ 5193873 w 5990757"/>
              <a:gd name="connsiteY11" fmla="*/ 4414892 h 4427501"/>
              <a:gd name="connsiteX12" fmla="*/ 5990757 w 5990757"/>
              <a:gd name="connsiteY12"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2795038 w 5990757"/>
              <a:gd name="connsiteY3" fmla="*/ 1483953 h 4427501"/>
              <a:gd name="connsiteX4" fmla="*/ 1419205 w 5990757"/>
              <a:gd name="connsiteY4" fmla="*/ 666920 h 4427501"/>
              <a:gd name="connsiteX5" fmla="*/ 0 w 5990757"/>
              <a:gd name="connsiteY5" fmla="*/ 0 h 4427501"/>
              <a:gd name="connsiteX6" fmla="*/ 0 w 5990757"/>
              <a:gd name="connsiteY6" fmla="*/ 459722 h 4427501"/>
              <a:gd name="connsiteX7" fmla="*/ 1072071 w 5990757"/>
              <a:gd name="connsiteY7" fmla="*/ 916687 h 4427501"/>
              <a:gd name="connsiteX8" fmla="*/ 2253171 w 5990757"/>
              <a:gd name="connsiteY8" fmla="*/ 1687153 h 4427501"/>
              <a:gd name="connsiteX9" fmla="*/ 2315859 w 5990757"/>
              <a:gd name="connsiteY9" fmla="*/ 1730247 h 4427501"/>
              <a:gd name="connsiteX10" fmla="*/ 3801293 w 5990757"/>
              <a:gd name="connsiteY10" fmla="*/ 2887243 h 4427501"/>
              <a:gd name="connsiteX11" fmla="*/ 5193873 w 5990757"/>
              <a:gd name="connsiteY11" fmla="*/ 4414892 h 4427501"/>
              <a:gd name="connsiteX12" fmla="*/ 5990757 w 5990757"/>
              <a:gd name="connsiteY12"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2795038 w 5990757"/>
              <a:gd name="connsiteY3" fmla="*/ 1483953 h 4427501"/>
              <a:gd name="connsiteX4" fmla="*/ 1419205 w 5990757"/>
              <a:gd name="connsiteY4" fmla="*/ 666920 h 4427501"/>
              <a:gd name="connsiteX5" fmla="*/ 0 w 5990757"/>
              <a:gd name="connsiteY5" fmla="*/ 0 h 4427501"/>
              <a:gd name="connsiteX6" fmla="*/ 0 w 5990757"/>
              <a:gd name="connsiteY6" fmla="*/ 459722 h 4427501"/>
              <a:gd name="connsiteX7" fmla="*/ 1072071 w 5990757"/>
              <a:gd name="connsiteY7" fmla="*/ 916687 h 4427501"/>
              <a:gd name="connsiteX8" fmla="*/ 2253171 w 5990757"/>
              <a:gd name="connsiteY8" fmla="*/ 1687153 h 4427501"/>
              <a:gd name="connsiteX9" fmla="*/ 2315859 w 5990757"/>
              <a:gd name="connsiteY9" fmla="*/ 1730247 h 4427501"/>
              <a:gd name="connsiteX10" fmla="*/ 3801293 w 5990757"/>
              <a:gd name="connsiteY10" fmla="*/ 2887243 h 4427501"/>
              <a:gd name="connsiteX11" fmla="*/ 5193873 w 5990757"/>
              <a:gd name="connsiteY11" fmla="*/ 4414892 h 4427501"/>
              <a:gd name="connsiteX12" fmla="*/ 5990757 w 5990757"/>
              <a:gd name="connsiteY12"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2795038 w 5990757"/>
              <a:gd name="connsiteY3" fmla="*/ 1483953 h 4427501"/>
              <a:gd name="connsiteX4" fmla="*/ 1419205 w 5990757"/>
              <a:gd name="connsiteY4" fmla="*/ 666920 h 4427501"/>
              <a:gd name="connsiteX5" fmla="*/ 0 w 5990757"/>
              <a:gd name="connsiteY5" fmla="*/ 0 h 4427501"/>
              <a:gd name="connsiteX6" fmla="*/ 0 w 5990757"/>
              <a:gd name="connsiteY6" fmla="*/ 459722 h 4427501"/>
              <a:gd name="connsiteX7" fmla="*/ 1072071 w 5990757"/>
              <a:gd name="connsiteY7" fmla="*/ 916687 h 4427501"/>
              <a:gd name="connsiteX8" fmla="*/ 2253171 w 5990757"/>
              <a:gd name="connsiteY8" fmla="*/ 1687153 h 4427501"/>
              <a:gd name="connsiteX9" fmla="*/ 2315859 w 5990757"/>
              <a:gd name="connsiteY9" fmla="*/ 1730247 h 4427501"/>
              <a:gd name="connsiteX10" fmla="*/ 3801293 w 5990757"/>
              <a:gd name="connsiteY10" fmla="*/ 2887243 h 4427501"/>
              <a:gd name="connsiteX11" fmla="*/ 5193873 w 5990757"/>
              <a:gd name="connsiteY11" fmla="*/ 4414892 h 4427501"/>
              <a:gd name="connsiteX12" fmla="*/ 5990757 w 5990757"/>
              <a:gd name="connsiteY12" fmla="*/ 4427501 h 4427501"/>
              <a:gd name="connsiteX0" fmla="*/ 5994449 w 5994449"/>
              <a:gd name="connsiteY0" fmla="*/ 3978780 h 3978780"/>
              <a:gd name="connsiteX1" fmla="*/ 4443199 w 5994449"/>
              <a:gd name="connsiteY1" fmla="*/ 2371341 h 3978780"/>
              <a:gd name="connsiteX2" fmla="*/ 2856994 w 5994449"/>
              <a:gd name="connsiteY2" fmla="*/ 1079985 h 3978780"/>
              <a:gd name="connsiteX3" fmla="*/ 2798730 w 5994449"/>
              <a:gd name="connsiteY3" fmla="*/ 1035232 h 3978780"/>
              <a:gd name="connsiteX4" fmla="*/ 1422897 w 5994449"/>
              <a:gd name="connsiteY4" fmla="*/ 218199 h 3978780"/>
              <a:gd name="connsiteX5" fmla="*/ 3692 w 5994449"/>
              <a:gd name="connsiteY5" fmla="*/ 11001 h 3978780"/>
              <a:gd name="connsiteX6" fmla="*/ 1075763 w 5994449"/>
              <a:gd name="connsiteY6" fmla="*/ 467966 h 3978780"/>
              <a:gd name="connsiteX7" fmla="*/ 2256863 w 5994449"/>
              <a:gd name="connsiteY7" fmla="*/ 1238432 h 3978780"/>
              <a:gd name="connsiteX8" fmla="*/ 2319551 w 5994449"/>
              <a:gd name="connsiteY8" fmla="*/ 1281526 h 3978780"/>
              <a:gd name="connsiteX9" fmla="*/ 3804985 w 5994449"/>
              <a:gd name="connsiteY9" fmla="*/ 2438522 h 3978780"/>
              <a:gd name="connsiteX10" fmla="*/ 5197565 w 5994449"/>
              <a:gd name="connsiteY10" fmla="*/ 3966171 h 3978780"/>
              <a:gd name="connsiteX11" fmla="*/ 5994449 w 5994449"/>
              <a:gd name="connsiteY11" fmla="*/ 3978780 h 3978780"/>
              <a:gd name="connsiteX0" fmla="*/ 4964025 w 4964025"/>
              <a:gd name="connsiteY0" fmla="*/ 3787249 h 3787249"/>
              <a:gd name="connsiteX1" fmla="*/ 3412775 w 4964025"/>
              <a:gd name="connsiteY1" fmla="*/ 2179810 h 3787249"/>
              <a:gd name="connsiteX2" fmla="*/ 1826570 w 4964025"/>
              <a:gd name="connsiteY2" fmla="*/ 888454 h 3787249"/>
              <a:gd name="connsiteX3" fmla="*/ 1768306 w 4964025"/>
              <a:gd name="connsiteY3" fmla="*/ 843701 h 3787249"/>
              <a:gd name="connsiteX4" fmla="*/ 392473 w 4964025"/>
              <a:gd name="connsiteY4" fmla="*/ 26668 h 3787249"/>
              <a:gd name="connsiteX5" fmla="*/ 45339 w 4964025"/>
              <a:gd name="connsiteY5" fmla="*/ 276435 h 3787249"/>
              <a:gd name="connsiteX6" fmla="*/ 1226439 w 4964025"/>
              <a:gd name="connsiteY6" fmla="*/ 1046901 h 3787249"/>
              <a:gd name="connsiteX7" fmla="*/ 1289127 w 4964025"/>
              <a:gd name="connsiteY7" fmla="*/ 1089995 h 3787249"/>
              <a:gd name="connsiteX8" fmla="*/ 2774561 w 4964025"/>
              <a:gd name="connsiteY8" fmla="*/ 2246991 h 3787249"/>
              <a:gd name="connsiteX9" fmla="*/ 4167141 w 4964025"/>
              <a:gd name="connsiteY9" fmla="*/ 3774640 h 3787249"/>
              <a:gd name="connsiteX10" fmla="*/ 4964025 w 4964025"/>
              <a:gd name="connsiteY10" fmla="*/ 3787249 h 3787249"/>
              <a:gd name="connsiteX0" fmla="*/ 4578851 w 4578851"/>
              <a:gd name="connsiteY0" fmla="*/ 3761755 h 3761755"/>
              <a:gd name="connsiteX1" fmla="*/ 3027601 w 4578851"/>
              <a:gd name="connsiteY1" fmla="*/ 2154316 h 3761755"/>
              <a:gd name="connsiteX2" fmla="*/ 1441396 w 4578851"/>
              <a:gd name="connsiteY2" fmla="*/ 862960 h 3761755"/>
              <a:gd name="connsiteX3" fmla="*/ 1383132 w 4578851"/>
              <a:gd name="connsiteY3" fmla="*/ 818207 h 3761755"/>
              <a:gd name="connsiteX4" fmla="*/ 7299 w 4578851"/>
              <a:gd name="connsiteY4" fmla="*/ 1174 h 3761755"/>
              <a:gd name="connsiteX5" fmla="*/ 841265 w 4578851"/>
              <a:gd name="connsiteY5" fmla="*/ 1021407 h 3761755"/>
              <a:gd name="connsiteX6" fmla="*/ 903953 w 4578851"/>
              <a:gd name="connsiteY6" fmla="*/ 1064501 h 3761755"/>
              <a:gd name="connsiteX7" fmla="*/ 2389387 w 4578851"/>
              <a:gd name="connsiteY7" fmla="*/ 2221497 h 3761755"/>
              <a:gd name="connsiteX8" fmla="*/ 3781967 w 4578851"/>
              <a:gd name="connsiteY8" fmla="*/ 3749146 h 3761755"/>
              <a:gd name="connsiteX9" fmla="*/ 4578851 w 4578851"/>
              <a:gd name="connsiteY9" fmla="*/ 3761755 h 3761755"/>
              <a:gd name="connsiteX0" fmla="*/ 3764506 w 3764506"/>
              <a:gd name="connsiteY0" fmla="*/ 3018399 h 3018399"/>
              <a:gd name="connsiteX1" fmla="*/ 2213256 w 3764506"/>
              <a:gd name="connsiteY1" fmla="*/ 1410960 h 3018399"/>
              <a:gd name="connsiteX2" fmla="*/ 627051 w 3764506"/>
              <a:gd name="connsiteY2" fmla="*/ 119604 h 3018399"/>
              <a:gd name="connsiteX3" fmla="*/ 568787 w 3764506"/>
              <a:gd name="connsiteY3" fmla="*/ 74851 h 3018399"/>
              <a:gd name="connsiteX4" fmla="*/ 26920 w 3764506"/>
              <a:gd name="connsiteY4" fmla="*/ 278051 h 3018399"/>
              <a:gd name="connsiteX5" fmla="*/ 89608 w 3764506"/>
              <a:gd name="connsiteY5" fmla="*/ 321145 h 3018399"/>
              <a:gd name="connsiteX6" fmla="*/ 1575042 w 3764506"/>
              <a:gd name="connsiteY6" fmla="*/ 1478141 h 3018399"/>
              <a:gd name="connsiteX7" fmla="*/ 2967622 w 3764506"/>
              <a:gd name="connsiteY7" fmla="*/ 3005790 h 3018399"/>
              <a:gd name="connsiteX8" fmla="*/ 3764506 w 3764506"/>
              <a:gd name="connsiteY8" fmla="*/ 3018399 h 3018399"/>
              <a:gd name="connsiteX0" fmla="*/ 3764506 w 3764506"/>
              <a:gd name="connsiteY0" fmla="*/ 2958858 h 2958858"/>
              <a:gd name="connsiteX1" fmla="*/ 2213256 w 3764506"/>
              <a:gd name="connsiteY1" fmla="*/ 1351419 h 2958858"/>
              <a:gd name="connsiteX2" fmla="*/ 627051 w 3764506"/>
              <a:gd name="connsiteY2" fmla="*/ 60063 h 2958858"/>
              <a:gd name="connsiteX3" fmla="*/ 26920 w 3764506"/>
              <a:gd name="connsiteY3" fmla="*/ 218510 h 2958858"/>
              <a:gd name="connsiteX4" fmla="*/ 89608 w 3764506"/>
              <a:gd name="connsiteY4" fmla="*/ 261604 h 2958858"/>
              <a:gd name="connsiteX5" fmla="*/ 1575042 w 3764506"/>
              <a:gd name="connsiteY5" fmla="*/ 1418600 h 2958858"/>
              <a:gd name="connsiteX6" fmla="*/ 2967622 w 3764506"/>
              <a:gd name="connsiteY6" fmla="*/ 2946249 h 2958858"/>
              <a:gd name="connsiteX7" fmla="*/ 3764506 w 3764506"/>
              <a:gd name="connsiteY7" fmla="*/ 2958858 h 2958858"/>
              <a:gd name="connsiteX0" fmla="*/ 3714573 w 3714573"/>
              <a:gd name="connsiteY0" fmla="*/ 2978180 h 2978180"/>
              <a:gd name="connsiteX1" fmla="*/ 2163323 w 3714573"/>
              <a:gd name="connsiteY1" fmla="*/ 1370741 h 2978180"/>
              <a:gd name="connsiteX2" fmla="*/ 577118 w 3714573"/>
              <a:gd name="connsiteY2" fmla="*/ 79385 h 2978180"/>
              <a:gd name="connsiteX3" fmla="*/ 39675 w 3714573"/>
              <a:gd name="connsiteY3" fmla="*/ 280926 h 2978180"/>
              <a:gd name="connsiteX4" fmla="*/ 1525109 w 3714573"/>
              <a:gd name="connsiteY4" fmla="*/ 1437922 h 2978180"/>
              <a:gd name="connsiteX5" fmla="*/ 2917689 w 3714573"/>
              <a:gd name="connsiteY5" fmla="*/ 2965571 h 2978180"/>
              <a:gd name="connsiteX6" fmla="*/ 3714573 w 3714573"/>
              <a:gd name="connsiteY6" fmla="*/ 2978180 h 2978180"/>
              <a:gd name="connsiteX0" fmla="*/ 3674898 w 3674898"/>
              <a:gd name="connsiteY0" fmla="*/ 2898795 h 2898795"/>
              <a:gd name="connsiteX1" fmla="*/ 2123648 w 3674898"/>
              <a:gd name="connsiteY1" fmla="*/ 1291356 h 2898795"/>
              <a:gd name="connsiteX2" fmla="*/ 537443 w 3674898"/>
              <a:gd name="connsiteY2" fmla="*/ 0 h 2898795"/>
              <a:gd name="connsiteX3" fmla="*/ 0 w 3674898"/>
              <a:gd name="connsiteY3" fmla="*/ 201541 h 2898795"/>
              <a:gd name="connsiteX4" fmla="*/ 1485434 w 3674898"/>
              <a:gd name="connsiteY4" fmla="*/ 1358537 h 2898795"/>
              <a:gd name="connsiteX5" fmla="*/ 2878014 w 3674898"/>
              <a:gd name="connsiteY5" fmla="*/ 2886186 h 2898795"/>
              <a:gd name="connsiteX6" fmla="*/ 3674898 w 3674898"/>
              <a:gd name="connsiteY6" fmla="*/ 2898795 h 2898795"/>
              <a:gd name="connsiteX0" fmla="*/ 3674898 w 3674898"/>
              <a:gd name="connsiteY0" fmla="*/ 2898795 h 2898795"/>
              <a:gd name="connsiteX1" fmla="*/ 2123648 w 3674898"/>
              <a:gd name="connsiteY1" fmla="*/ 1291356 h 2898795"/>
              <a:gd name="connsiteX2" fmla="*/ 537443 w 3674898"/>
              <a:gd name="connsiteY2" fmla="*/ 0 h 2898795"/>
              <a:gd name="connsiteX3" fmla="*/ 0 w 3674898"/>
              <a:gd name="connsiteY3" fmla="*/ 201541 h 2898795"/>
              <a:gd name="connsiteX4" fmla="*/ 1485434 w 3674898"/>
              <a:gd name="connsiteY4" fmla="*/ 1358537 h 2898795"/>
              <a:gd name="connsiteX5" fmla="*/ 2878014 w 3674898"/>
              <a:gd name="connsiteY5" fmla="*/ 2886186 h 2898795"/>
              <a:gd name="connsiteX6" fmla="*/ 3674898 w 3674898"/>
              <a:gd name="connsiteY6" fmla="*/ 2898795 h 2898795"/>
              <a:gd name="connsiteX0" fmla="*/ 3674898 w 3674898"/>
              <a:gd name="connsiteY0" fmla="*/ 2898795 h 2898795"/>
              <a:gd name="connsiteX1" fmla="*/ 2123648 w 3674898"/>
              <a:gd name="connsiteY1" fmla="*/ 1291356 h 2898795"/>
              <a:gd name="connsiteX2" fmla="*/ 537443 w 3674898"/>
              <a:gd name="connsiteY2" fmla="*/ 0 h 2898795"/>
              <a:gd name="connsiteX3" fmla="*/ 0 w 3674898"/>
              <a:gd name="connsiteY3" fmla="*/ 201541 h 2898795"/>
              <a:gd name="connsiteX4" fmla="*/ 1485434 w 3674898"/>
              <a:gd name="connsiteY4" fmla="*/ 1358537 h 2898795"/>
              <a:gd name="connsiteX5" fmla="*/ 2961685 w 3674898"/>
              <a:gd name="connsiteY5" fmla="*/ 2892163 h 2898795"/>
              <a:gd name="connsiteX6" fmla="*/ 3674898 w 3674898"/>
              <a:gd name="connsiteY6" fmla="*/ 2898795 h 2898795"/>
              <a:gd name="connsiteX0" fmla="*/ 3674898 w 3674898"/>
              <a:gd name="connsiteY0" fmla="*/ 2898795 h 2898795"/>
              <a:gd name="connsiteX1" fmla="*/ 2123648 w 3674898"/>
              <a:gd name="connsiteY1" fmla="*/ 1291356 h 2898795"/>
              <a:gd name="connsiteX2" fmla="*/ 537443 w 3674898"/>
              <a:gd name="connsiteY2" fmla="*/ 0 h 2898795"/>
              <a:gd name="connsiteX3" fmla="*/ 0 w 3674898"/>
              <a:gd name="connsiteY3" fmla="*/ 201541 h 2898795"/>
              <a:gd name="connsiteX4" fmla="*/ 1407740 w 3674898"/>
              <a:gd name="connsiteY4" fmla="*/ 1268890 h 2898795"/>
              <a:gd name="connsiteX5" fmla="*/ 2961685 w 3674898"/>
              <a:gd name="connsiteY5" fmla="*/ 2892163 h 2898795"/>
              <a:gd name="connsiteX6" fmla="*/ 3674898 w 3674898"/>
              <a:gd name="connsiteY6" fmla="*/ 2898795 h 2898795"/>
              <a:gd name="connsiteX0" fmla="*/ 3603181 w 3603181"/>
              <a:gd name="connsiteY0" fmla="*/ 2898795 h 2898795"/>
              <a:gd name="connsiteX1" fmla="*/ 2051931 w 3603181"/>
              <a:gd name="connsiteY1" fmla="*/ 1291356 h 2898795"/>
              <a:gd name="connsiteX2" fmla="*/ 465726 w 3603181"/>
              <a:gd name="connsiteY2" fmla="*/ 0 h 2898795"/>
              <a:gd name="connsiteX3" fmla="*/ 0 w 3603181"/>
              <a:gd name="connsiteY3" fmla="*/ 213494 h 2898795"/>
              <a:gd name="connsiteX4" fmla="*/ 1336023 w 3603181"/>
              <a:gd name="connsiteY4" fmla="*/ 1268890 h 2898795"/>
              <a:gd name="connsiteX5" fmla="*/ 2889968 w 3603181"/>
              <a:gd name="connsiteY5" fmla="*/ 2892163 h 2898795"/>
              <a:gd name="connsiteX6" fmla="*/ 3603181 w 3603181"/>
              <a:gd name="connsiteY6" fmla="*/ 2898795 h 2898795"/>
              <a:gd name="connsiteX0" fmla="*/ 3603181 w 3603181"/>
              <a:gd name="connsiteY0" fmla="*/ 2898795 h 2898795"/>
              <a:gd name="connsiteX1" fmla="*/ 2051931 w 3603181"/>
              <a:gd name="connsiteY1" fmla="*/ 1291356 h 2898795"/>
              <a:gd name="connsiteX2" fmla="*/ 465726 w 3603181"/>
              <a:gd name="connsiteY2" fmla="*/ 0 h 2898795"/>
              <a:gd name="connsiteX3" fmla="*/ 0 w 3603181"/>
              <a:gd name="connsiteY3" fmla="*/ 213494 h 2898795"/>
              <a:gd name="connsiteX4" fmla="*/ 1336023 w 3603181"/>
              <a:gd name="connsiteY4" fmla="*/ 1268890 h 2898795"/>
              <a:gd name="connsiteX5" fmla="*/ 2889968 w 3603181"/>
              <a:gd name="connsiteY5" fmla="*/ 2892163 h 2898795"/>
              <a:gd name="connsiteX6" fmla="*/ 3603181 w 3603181"/>
              <a:gd name="connsiteY6" fmla="*/ 2898795 h 2898795"/>
              <a:gd name="connsiteX0" fmla="*/ 3603181 w 3603181"/>
              <a:gd name="connsiteY0" fmla="*/ 2898795 h 2898795"/>
              <a:gd name="connsiteX1" fmla="*/ 2051931 w 3603181"/>
              <a:gd name="connsiteY1" fmla="*/ 1291356 h 2898795"/>
              <a:gd name="connsiteX2" fmla="*/ 465726 w 3603181"/>
              <a:gd name="connsiteY2" fmla="*/ 0 h 2898795"/>
              <a:gd name="connsiteX3" fmla="*/ 0 w 3603181"/>
              <a:gd name="connsiteY3" fmla="*/ 213494 h 2898795"/>
              <a:gd name="connsiteX4" fmla="*/ 1336023 w 3603181"/>
              <a:gd name="connsiteY4" fmla="*/ 1268890 h 2898795"/>
              <a:gd name="connsiteX5" fmla="*/ 2889968 w 3603181"/>
              <a:gd name="connsiteY5" fmla="*/ 2892163 h 2898795"/>
              <a:gd name="connsiteX6" fmla="*/ 3603181 w 3603181"/>
              <a:gd name="connsiteY6" fmla="*/ 2898795 h 2898795"/>
              <a:gd name="connsiteX0" fmla="*/ 3591228 w 3591228"/>
              <a:gd name="connsiteY0" fmla="*/ 2862936 h 2892163"/>
              <a:gd name="connsiteX1" fmla="*/ 2051931 w 3591228"/>
              <a:gd name="connsiteY1" fmla="*/ 1291356 h 2892163"/>
              <a:gd name="connsiteX2" fmla="*/ 465726 w 3591228"/>
              <a:gd name="connsiteY2" fmla="*/ 0 h 2892163"/>
              <a:gd name="connsiteX3" fmla="*/ 0 w 3591228"/>
              <a:gd name="connsiteY3" fmla="*/ 213494 h 2892163"/>
              <a:gd name="connsiteX4" fmla="*/ 1336023 w 3591228"/>
              <a:gd name="connsiteY4" fmla="*/ 1268890 h 2892163"/>
              <a:gd name="connsiteX5" fmla="*/ 2889968 w 3591228"/>
              <a:gd name="connsiteY5" fmla="*/ 2892163 h 2892163"/>
              <a:gd name="connsiteX6" fmla="*/ 3591228 w 3591228"/>
              <a:gd name="connsiteY6" fmla="*/ 2862936 h 2892163"/>
              <a:gd name="connsiteX0" fmla="*/ 3591228 w 3591228"/>
              <a:gd name="connsiteY0" fmla="*/ 2862936 h 2892163"/>
              <a:gd name="connsiteX1" fmla="*/ 2051931 w 3591228"/>
              <a:gd name="connsiteY1" fmla="*/ 1291356 h 2892163"/>
              <a:gd name="connsiteX2" fmla="*/ 465726 w 3591228"/>
              <a:gd name="connsiteY2" fmla="*/ 0 h 2892163"/>
              <a:gd name="connsiteX3" fmla="*/ 0 w 3591228"/>
              <a:gd name="connsiteY3" fmla="*/ 213494 h 2892163"/>
              <a:gd name="connsiteX4" fmla="*/ 1336023 w 3591228"/>
              <a:gd name="connsiteY4" fmla="*/ 1268890 h 2892163"/>
              <a:gd name="connsiteX5" fmla="*/ 2889968 w 3591228"/>
              <a:gd name="connsiteY5" fmla="*/ 2892163 h 2892163"/>
              <a:gd name="connsiteX6" fmla="*/ 3591228 w 3591228"/>
              <a:gd name="connsiteY6" fmla="*/ 2862936 h 2892163"/>
              <a:gd name="connsiteX0" fmla="*/ 3591228 w 3591228"/>
              <a:gd name="connsiteY0" fmla="*/ 2862936 h 2892163"/>
              <a:gd name="connsiteX1" fmla="*/ 2051931 w 3591228"/>
              <a:gd name="connsiteY1" fmla="*/ 1291356 h 2892163"/>
              <a:gd name="connsiteX2" fmla="*/ 465726 w 3591228"/>
              <a:gd name="connsiteY2" fmla="*/ 0 h 2892163"/>
              <a:gd name="connsiteX3" fmla="*/ 0 w 3591228"/>
              <a:gd name="connsiteY3" fmla="*/ 213494 h 2892163"/>
              <a:gd name="connsiteX4" fmla="*/ 1336023 w 3591228"/>
              <a:gd name="connsiteY4" fmla="*/ 1268890 h 2892163"/>
              <a:gd name="connsiteX5" fmla="*/ 2889968 w 3591228"/>
              <a:gd name="connsiteY5" fmla="*/ 2892163 h 2892163"/>
              <a:gd name="connsiteX6" fmla="*/ 3591228 w 3591228"/>
              <a:gd name="connsiteY6" fmla="*/ 2862936 h 2892163"/>
              <a:gd name="connsiteX0" fmla="*/ 3591228 w 3591228"/>
              <a:gd name="connsiteY0" fmla="*/ 2833054 h 2862281"/>
              <a:gd name="connsiteX1" fmla="*/ 2051931 w 3591228"/>
              <a:gd name="connsiteY1" fmla="*/ 1261474 h 2862281"/>
              <a:gd name="connsiteX2" fmla="*/ 495608 w 3591228"/>
              <a:gd name="connsiteY2" fmla="*/ 0 h 2862281"/>
              <a:gd name="connsiteX3" fmla="*/ 0 w 3591228"/>
              <a:gd name="connsiteY3" fmla="*/ 183612 h 2862281"/>
              <a:gd name="connsiteX4" fmla="*/ 1336023 w 3591228"/>
              <a:gd name="connsiteY4" fmla="*/ 1239008 h 2862281"/>
              <a:gd name="connsiteX5" fmla="*/ 2889968 w 3591228"/>
              <a:gd name="connsiteY5" fmla="*/ 2862281 h 2862281"/>
              <a:gd name="connsiteX6" fmla="*/ 3591228 w 3591228"/>
              <a:gd name="connsiteY6" fmla="*/ 2833054 h 2862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91228" h="2862281">
                <a:moveTo>
                  <a:pt x="3591228" y="2833054"/>
                </a:moveTo>
                <a:cubicBezTo>
                  <a:pt x="3000888" y="2208954"/>
                  <a:pt x="2567868" y="1733650"/>
                  <a:pt x="2051931" y="1261474"/>
                </a:cubicBezTo>
                <a:cubicBezTo>
                  <a:pt x="1535994" y="789298"/>
                  <a:pt x="885408" y="253354"/>
                  <a:pt x="495608" y="0"/>
                </a:cubicBezTo>
                <a:lnTo>
                  <a:pt x="0" y="183612"/>
                </a:lnTo>
                <a:cubicBezTo>
                  <a:pt x="610533" y="629900"/>
                  <a:pt x="981859" y="911096"/>
                  <a:pt x="1336023" y="1239008"/>
                </a:cubicBezTo>
                <a:cubicBezTo>
                  <a:pt x="1690187" y="1566920"/>
                  <a:pt x="2681336" y="2557625"/>
                  <a:pt x="2889968" y="2862281"/>
                </a:cubicBezTo>
                <a:lnTo>
                  <a:pt x="3591228" y="2833054"/>
                </a:lnTo>
                <a:close/>
              </a:path>
            </a:pathLst>
          </a:custGeom>
          <a:solidFill>
            <a:schemeClr val="accent5">
              <a:alpha val="50196"/>
            </a:schemeClr>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799">
              <a:solidFill>
                <a:prstClr val="white"/>
              </a:solidFill>
              <a:latin typeface="Calibri" panose="020F0502020204030204"/>
            </a:endParaRPr>
          </a:p>
        </p:txBody>
      </p:sp>
      <p:grpSp>
        <p:nvGrpSpPr>
          <p:cNvPr id="127" name="Groep 126"/>
          <p:cNvGrpSpPr/>
          <p:nvPr/>
        </p:nvGrpSpPr>
        <p:grpSpPr>
          <a:xfrm>
            <a:off x="1945201" y="3369682"/>
            <a:ext cx="467879" cy="551137"/>
            <a:chOff x="1072822" y="1241965"/>
            <a:chExt cx="468000" cy="551281"/>
          </a:xfrm>
        </p:grpSpPr>
        <p:sp>
          <p:nvSpPr>
            <p:cNvPr id="129" name="Vrije vorm 25"/>
            <p:cNvSpPr/>
            <p:nvPr/>
          </p:nvSpPr>
          <p:spPr>
            <a:xfrm flipV="1">
              <a:off x="1072822" y="1336028"/>
              <a:ext cx="221315" cy="457218"/>
            </a:xfrm>
            <a:custGeom>
              <a:avLst/>
              <a:gdLst>
                <a:gd name="connsiteX0" fmla="*/ 0 w 560070"/>
                <a:gd name="connsiteY0" fmla="*/ 251460 h 640080"/>
                <a:gd name="connsiteX1" fmla="*/ 560070 w 560070"/>
                <a:gd name="connsiteY1" fmla="*/ 0 h 640080"/>
                <a:gd name="connsiteX2" fmla="*/ 560070 w 560070"/>
                <a:gd name="connsiteY2" fmla="*/ 411480 h 640080"/>
                <a:gd name="connsiteX3" fmla="*/ 11430 w 560070"/>
                <a:gd name="connsiteY3" fmla="*/ 640080 h 640080"/>
                <a:gd name="connsiteX4" fmla="*/ 0 w 560070"/>
                <a:gd name="connsiteY4" fmla="*/ 617220 h 640080"/>
                <a:gd name="connsiteX0" fmla="*/ 0 w 560070"/>
                <a:gd name="connsiteY0" fmla="*/ 251460 h 617220"/>
                <a:gd name="connsiteX1" fmla="*/ 560070 w 560070"/>
                <a:gd name="connsiteY1" fmla="*/ 0 h 617220"/>
                <a:gd name="connsiteX2" fmla="*/ 560070 w 560070"/>
                <a:gd name="connsiteY2" fmla="*/ 411480 h 617220"/>
                <a:gd name="connsiteX3" fmla="*/ 33666 w 560070"/>
                <a:gd name="connsiteY3" fmla="*/ 503907 h 617220"/>
                <a:gd name="connsiteX4" fmla="*/ 0 w 560070"/>
                <a:gd name="connsiteY4" fmla="*/ 617220 h 617220"/>
                <a:gd name="connsiteX0" fmla="*/ 0 w 560070"/>
                <a:gd name="connsiteY0" fmla="*/ 251460 h 506984"/>
                <a:gd name="connsiteX1" fmla="*/ 560070 w 560070"/>
                <a:gd name="connsiteY1" fmla="*/ 0 h 506984"/>
                <a:gd name="connsiteX2" fmla="*/ 560070 w 560070"/>
                <a:gd name="connsiteY2" fmla="*/ 411480 h 506984"/>
                <a:gd name="connsiteX3" fmla="*/ 33666 w 560070"/>
                <a:gd name="connsiteY3" fmla="*/ 503907 h 506984"/>
                <a:gd name="connsiteX4" fmla="*/ 144544 w 560070"/>
                <a:gd name="connsiteY4" fmla="*/ 506984 h 506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070" h="506984">
                  <a:moveTo>
                    <a:pt x="0" y="251460"/>
                  </a:moveTo>
                  <a:lnTo>
                    <a:pt x="560070" y="0"/>
                  </a:lnTo>
                  <a:lnTo>
                    <a:pt x="560070" y="411480"/>
                  </a:lnTo>
                  <a:lnTo>
                    <a:pt x="33666" y="503907"/>
                  </a:lnTo>
                  <a:lnTo>
                    <a:pt x="144544" y="506984"/>
                  </a:lnTo>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999">
                <a:solidFill>
                  <a:prstClr val="white"/>
                </a:solidFill>
                <a:latin typeface="Calibri" panose="020F0502020204030204"/>
              </a:endParaRPr>
            </a:p>
          </p:txBody>
        </p:sp>
        <p:sp>
          <p:nvSpPr>
            <p:cNvPr id="130" name="Titel 24"/>
            <p:cNvSpPr txBox="1">
              <a:spLocks/>
            </p:cNvSpPr>
            <p:nvPr/>
          </p:nvSpPr>
          <p:spPr>
            <a:xfrm>
              <a:off x="1072822" y="1241965"/>
              <a:ext cx="468000" cy="324000"/>
            </a:xfrm>
            <a:prstGeom prst="rect">
              <a:avLst/>
            </a:prstGeom>
            <a:solidFill>
              <a:schemeClr val="accent5"/>
            </a:solidFill>
          </p:spPr>
          <p:txBody>
            <a:bodyPr vert="horz" lIns="71981" tIns="179953" rIns="71981" bIns="143963" rtlCol="0" anchor="ctr">
              <a:noAutofit/>
            </a:bodyPr>
            <a:lstStyle>
              <a:defPPr>
                <a:defRPr lang="nl-NL"/>
              </a:defPPr>
              <a:lvl1pPr defTabSz="914400">
                <a:lnSpc>
                  <a:spcPct val="80000"/>
                </a:lnSpc>
                <a:spcBef>
                  <a:spcPct val="0"/>
                </a:spcBef>
                <a:defRPr sz="1100">
                  <a:solidFill>
                    <a:schemeClr val="bg1"/>
                  </a:solidFill>
                  <a:latin typeface="+mj-lt"/>
                  <a:ea typeface="+mj-ea"/>
                  <a:cs typeface="+mj-cs"/>
                </a:defRPr>
              </a:lvl1pPr>
            </a:lstStyle>
            <a:p>
              <a:pPr defTabSz="914377"/>
              <a:r>
                <a:rPr lang="en-US" dirty="0">
                  <a:solidFill>
                    <a:prstClr val="white"/>
                  </a:solidFill>
                  <a:latin typeface="Calibri Light" panose="020F0302020204030204"/>
                </a:rPr>
                <a:t>A15</a:t>
              </a:r>
              <a:endParaRPr lang="nl-NL" dirty="0">
                <a:solidFill>
                  <a:prstClr val="white"/>
                </a:solidFill>
                <a:latin typeface="Calibri Light" panose="020F0302020204030204"/>
              </a:endParaRPr>
            </a:p>
          </p:txBody>
        </p:sp>
      </p:grpSp>
      <p:sp>
        <p:nvSpPr>
          <p:cNvPr id="131" name="Vrije vorm 9"/>
          <p:cNvSpPr/>
          <p:nvPr/>
        </p:nvSpPr>
        <p:spPr>
          <a:xfrm>
            <a:off x="-101025" y="2521017"/>
            <a:ext cx="2794311" cy="1673071"/>
          </a:xfrm>
          <a:custGeom>
            <a:avLst/>
            <a:gdLst>
              <a:gd name="connsiteX0" fmla="*/ 5869459 w 5869459"/>
              <a:gd name="connsiteY0" fmla="*/ 4324865 h 4361936"/>
              <a:gd name="connsiteX1" fmla="*/ 0 w 5869459"/>
              <a:gd name="connsiteY1" fmla="*/ 0 h 4361936"/>
              <a:gd name="connsiteX2" fmla="*/ 0 w 5869459"/>
              <a:gd name="connsiteY2" fmla="*/ 543698 h 4361936"/>
              <a:gd name="connsiteX3" fmla="*/ 5165124 w 5869459"/>
              <a:gd name="connsiteY3" fmla="*/ 4361936 h 4361936"/>
              <a:gd name="connsiteX4" fmla="*/ 5869459 w 5869459"/>
              <a:gd name="connsiteY4" fmla="*/ 4324865 h 4361936"/>
              <a:gd name="connsiteX0" fmla="*/ 5869459 w 5869459"/>
              <a:gd name="connsiteY0" fmla="*/ 4324865 h 4361936"/>
              <a:gd name="connsiteX1" fmla="*/ 0 w 5869459"/>
              <a:gd name="connsiteY1" fmla="*/ 0 h 4361936"/>
              <a:gd name="connsiteX2" fmla="*/ 0 w 5869459"/>
              <a:gd name="connsiteY2" fmla="*/ 543698 h 4361936"/>
              <a:gd name="connsiteX3" fmla="*/ 5165124 w 5869459"/>
              <a:gd name="connsiteY3" fmla="*/ 4361936 h 4361936"/>
              <a:gd name="connsiteX4" fmla="*/ 5869459 w 5869459"/>
              <a:gd name="connsiteY4" fmla="*/ 4324865 h 4361936"/>
              <a:gd name="connsiteX0" fmla="*/ 5869459 w 5869459"/>
              <a:gd name="connsiteY0" fmla="*/ 4324865 h 4361936"/>
              <a:gd name="connsiteX1" fmla="*/ 0 w 5869459"/>
              <a:gd name="connsiteY1" fmla="*/ 0 h 4361936"/>
              <a:gd name="connsiteX2" fmla="*/ 0 w 5869459"/>
              <a:gd name="connsiteY2" fmla="*/ 543698 h 4361936"/>
              <a:gd name="connsiteX3" fmla="*/ 5165124 w 5869459"/>
              <a:gd name="connsiteY3" fmla="*/ 4361936 h 4361936"/>
              <a:gd name="connsiteX4" fmla="*/ 5869459 w 5869459"/>
              <a:gd name="connsiteY4" fmla="*/ 4324865 h 4361936"/>
              <a:gd name="connsiteX0" fmla="*/ 5869459 w 5869459"/>
              <a:gd name="connsiteY0" fmla="*/ 4324865 h 4361936"/>
              <a:gd name="connsiteX1" fmla="*/ 0 w 5869459"/>
              <a:gd name="connsiteY1" fmla="*/ 0 h 4361936"/>
              <a:gd name="connsiteX2" fmla="*/ 0 w 5869459"/>
              <a:gd name="connsiteY2" fmla="*/ 543698 h 4361936"/>
              <a:gd name="connsiteX3" fmla="*/ 5165124 w 5869459"/>
              <a:gd name="connsiteY3" fmla="*/ 4361936 h 4361936"/>
              <a:gd name="connsiteX4" fmla="*/ 5869459 w 5869459"/>
              <a:gd name="connsiteY4" fmla="*/ 4324865 h 4361936"/>
              <a:gd name="connsiteX0" fmla="*/ 5869459 w 5869459"/>
              <a:gd name="connsiteY0" fmla="*/ 4324865 h 4361936"/>
              <a:gd name="connsiteX1" fmla="*/ 0 w 5869459"/>
              <a:gd name="connsiteY1" fmla="*/ 0 h 4361936"/>
              <a:gd name="connsiteX2" fmla="*/ 0 w 5869459"/>
              <a:gd name="connsiteY2" fmla="*/ 543698 h 4361936"/>
              <a:gd name="connsiteX3" fmla="*/ 5165124 w 5869459"/>
              <a:gd name="connsiteY3" fmla="*/ 4361936 h 4361936"/>
              <a:gd name="connsiteX4" fmla="*/ 5869459 w 5869459"/>
              <a:gd name="connsiteY4" fmla="*/ 4324865 h 4361936"/>
              <a:gd name="connsiteX0" fmla="*/ 5869459 w 5869459"/>
              <a:gd name="connsiteY0" fmla="*/ 4324865 h 4349579"/>
              <a:gd name="connsiteX1" fmla="*/ 0 w 5869459"/>
              <a:gd name="connsiteY1" fmla="*/ 0 h 4349579"/>
              <a:gd name="connsiteX2" fmla="*/ 0 w 5869459"/>
              <a:gd name="connsiteY2" fmla="*/ 543698 h 4349579"/>
              <a:gd name="connsiteX3" fmla="*/ 5053914 w 5869459"/>
              <a:gd name="connsiteY3" fmla="*/ 4349579 h 4349579"/>
              <a:gd name="connsiteX4" fmla="*/ 5869459 w 5869459"/>
              <a:gd name="connsiteY4" fmla="*/ 4324865 h 4349579"/>
              <a:gd name="connsiteX0" fmla="*/ 5869459 w 5869459"/>
              <a:gd name="connsiteY0" fmla="*/ 4324865 h 4349579"/>
              <a:gd name="connsiteX1" fmla="*/ 0 w 5869459"/>
              <a:gd name="connsiteY1" fmla="*/ 0 h 4349579"/>
              <a:gd name="connsiteX2" fmla="*/ 0 w 5869459"/>
              <a:gd name="connsiteY2" fmla="*/ 543698 h 4349579"/>
              <a:gd name="connsiteX3" fmla="*/ 5053914 w 5869459"/>
              <a:gd name="connsiteY3" fmla="*/ 4349579 h 4349579"/>
              <a:gd name="connsiteX4" fmla="*/ 5869459 w 5869459"/>
              <a:gd name="connsiteY4" fmla="*/ 4324865 h 4349579"/>
              <a:gd name="connsiteX0" fmla="*/ 5869459 w 5869459"/>
              <a:gd name="connsiteY0" fmla="*/ 4324865 h 4349579"/>
              <a:gd name="connsiteX1" fmla="*/ 0 w 5869459"/>
              <a:gd name="connsiteY1" fmla="*/ 0 h 4349579"/>
              <a:gd name="connsiteX2" fmla="*/ 0 w 5869459"/>
              <a:gd name="connsiteY2" fmla="*/ 543698 h 4349579"/>
              <a:gd name="connsiteX3" fmla="*/ 5053914 w 5869459"/>
              <a:gd name="connsiteY3" fmla="*/ 4349579 h 4349579"/>
              <a:gd name="connsiteX4" fmla="*/ 5869459 w 5869459"/>
              <a:gd name="connsiteY4" fmla="*/ 4324865 h 4349579"/>
              <a:gd name="connsiteX0" fmla="*/ 5869459 w 5869459"/>
              <a:gd name="connsiteY0" fmla="*/ 4324865 h 4349579"/>
              <a:gd name="connsiteX1" fmla="*/ 0 w 5869459"/>
              <a:gd name="connsiteY1" fmla="*/ 0 h 4349579"/>
              <a:gd name="connsiteX2" fmla="*/ 0 w 5869459"/>
              <a:gd name="connsiteY2" fmla="*/ 543698 h 4349579"/>
              <a:gd name="connsiteX3" fmla="*/ 5053914 w 5869459"/>
              <a:gd name="connsiteY3" fmla="*/ 4349579 h 4349579"/>
              <a:gd name="connsiteX4" fmla="*/ 5869459 w 5869459"/>
              <a:gd name="connsiteY4" fmla="*/ 4324865 h 4349579"/>
              <a:gd name="connsiteX0" fmla="*/ 5916112 w 5916112"/>
              <a:gd name="connsiteY0" fmla="*/ 4324865 h 4349579"/>
              <a:gd name="connsiteX1" fmla="*/ 46653 w 5916112"/>
              <a:gd name="connsiteY1" fmla="*/ 0 h 4349579"/>
              <a:gd name="connsiteX2" fmla="*/ 0 w 5916112"/>
              <a:gd name="connsiteY2" fmla="*/ 525037 h 4349579"/>
              <a:gd name="connsiteX3" fmla="*/ 5100567 w 5916112"/>
              <a:gd name="connsiteY3" fmla="*/ 4349579 h 4349579"/>
              <a:gd name="connsiteX4" fmla="*/ 5916112 w 5916112"/>
              <a:gd name="connsiteY4" fmla="*/ 4324865 h 4349579"/>
              <a:gd name="connsiteX0" fmla="*/ 5981426 w 5981426"/>
              <a:gd name="connsiteY0" fmla="*/ 4390179 h 4414893"/>
              <a:gd name="connsiteX1" fmla="*/ 0 w 5981426"/>
              <a:gd name="connsiteY1" fmla="*/ 0 h 4414893"/>
              <a:gd name="connsiteX2" fmla="*/ 65314 w 5981426"/>
              <a:gd name="connsiteY2" fmla="*/ 590351 h 4414893"/>
              <a:gd name="connsiteX3" fmla="*/ 5165881 w 5981426"/>
              <a:gd name="connsiteY3" fmla="*/ 4414893 h 4414893"/>
              <a:gd name="connsiteX4" fmla="*/ 5981426 w 5981426"/>
              <a:gd name="connsiteY4" fmla="*/ 4390179 h 4414893"/>
              <a:gd name="connsiteX0" fmla="*/ 5981426 w 5981426"/>
              <a:gd name="connsiteY0" fmla="*/ 4390179 h 4414893"/>
              <a:gd name="connsiteX1" fmla="*/ 0 w 5981426"/>
              <a:gd name="connsiteY1" fmla="*/ 0 h 4414893"/>
              <a:gd name="connsiteX2" fmla="*/ 65314 w 5981426"/>
              <a:gd name="connsiteY2" fmla="*/ 590351 h 4414893"/>
              <a:gd name="connsiteX3" fmla="*/ 5165881 w 5981426"/>
              <a:gd name="connsiteY3" fmla="*/ 4414893 h 4414893"/>
              <a:gd name="connsiteX4" fmla="*/ 5981426 w 5981426"/>
              <a:gd name="connsiteY4" fmla="*/ 4390179 h 4414893"/>
              <a:gd name="connsiteX0" fmla="*/ 5962765 w 5962765"/>
              <a:gd name="connsiteY0" fmla="*/ 4436832 h 4436832"/>
              <a:gd name="connsiteX1" fmla="*/ 0 w 5962765"/>
              <a:gd name="connsiteY1" fmla="*/ 0 h 4436832"/>
              <a:gd name="connsiteX2" fmla="*/ 65314 w 5962765"/>
              <a:gd name="connsiteY2" fmla="*/ 590351 h 4436832"/>
              <a:gd name="connsiteX3" fmla="*/ 5165881 w 5962765"/>
              <a:gd name="connsiteY3" fmla="*/ 4414893 h 4436832"/>
              <a:gd name="connsiteX4" fmla="*/ 5962765 w 5962765"/>
              <a:gd name="connsiteY4" fmla="*/ 4436832 h 4436832"/>
              <a:gd name="connsiteX0" fmla="*/ 5962765 w 5962765"/>
              <a:gd name="connsiteY0" fmla="*/ 4436832 h 4480207"/>
              <a:gd name="connsiteX1" fmla="*/ 0 w 5962765"/>
              <a:gd name="connsiteY1" fmla="*/ 0 h 4480207"/>
              <a:gd name="connsiteX2" fmla="*/ 65314 w 5962765"/>
              <a:gd name="connsiteY2" fmla="*/ 590351 h 4480207"/>
              <a:gd name="connsiteX3" fmla="*/ 5203203 w 5962765"/>
              <a:gd name="connsiteY3" fmla="*/ 4480207 h 4480207"/>
              <a:gd name="connsiteX4" fmla="*/ 5962765 w 5962765"/>
              <a:gd name="connsiteY4" fmla="*/ 4436832 h 4480207"/>
              <a:gd name="connsiteX0" fmla="*/ 6000087 w 6000087"/>
              <a:gd name="connsiteY0" fmla="*/ 4492816 h 4492816"/>
              <a:gd name="connsiteX1" fmla="*/ 0 w 6000087"/>
              <a:gd name="connsiteY1" fmla="*/ 0 h 4492816"/>
              <a:gd name="connsiteX2" fmla="*/ 65314 w 6000087"/>
              <a:gd name="connsiteY2" fmla="*/ 590351 h 4492816"/>
              <a:gd name="connsiteX3" fmla="*/ 5203203 w 6000087"/>
              <a:gd name="connsiteY3" fmla="*/ 4480207 h 4492816"/>
              <a:gd name="connsiteX4" fmla="*/ 6000087 w 6000087"/>
              <a:gd name="connsiteY4" fmla="*/ 4492816 h 4492816"/>
              <a:gd name="connsiteX0" fmla="*/ 6000087 w 6000087"/>
              <a:gd name="connsiteY0" fmla="*/ 4492816 h 4492816"/>
              <a:gd name="connsiteX1" fmla="*/ 0 w 6000087"/>
              <a:gd name="connsiteY1" fmla="*/ 0 h 4492816"/>
              <a:gd name="connsiteX2" fmla="*/ 65314 w 6000087"/>
              <a:gd name="connsiteY2" fmla="*/ 590351 h 4492816"/>
              <a:gd name="connsiteX3" fmla="*/ 5203203 w 6000087"/>
              <a:gd name="connsiteY3" fmla="*/ 4480207 h 4492816"/>
              <a:gd name="connsiteX4" fmla="*/ 6000087 w 6000087"/>
              <a:gd name="connsiteY4" fmla="*/ 4492816 h 4492816"/>
              <a:gd name="connsiteX0" fmla="*/ 6018749 w 6018749"/>
              <a:gd name="connsiteY0" fmla="*/ 4492816 h 4492816"/>
              <a:gd name="connsiteX1" fmla="*/ 18662 w 6018749"/>
              <a:gd name="connsiteY1" fmla="*/ 0 h 4492816"/>
              <a:gd name="connsiteX2" fmla="*/ 0 w 6018749"/>
              <a:gd name="connsiteY2" fmla="*/ 599682 h 4492816"/>
              <a:gd name="connsiteX3" fmla="*/ 5221865 w 6018749"/>
              <a:gd name="connsiteY3" fmla="*/ 4480207 h 4492816"/>
              <a:gd name="connsiteX4" fmla="*/ 6018749 w 6018749"/>
              <a:gd name="connsiteY4" fmla="*/ 4492816 h 4492816"/>
              <a:gd name="connsiteX0" fmla="*/ 6018749 w 6018749"/>
              <a:gd name="connsiteY0" fmla="*/ 4492816 h 4492816"/>
              <a:gd name="connsiteX1" fmla="*/ 18662 w 6018749"/>
              <a:gd name="connsiteY1" fmla="*/ 0 h 4492816"/>
              <a:gd name="connsiteX2" fmla="*/ 0 w 6018749"/>
              <a:gd name="connsiteY2" fmla="*/ 599682 h 4492816"/>
              <a:gd name="connsiteX3" fmla="*/ 5221865 w 6018749"/>
              <a:gd name="connsiteY3" fmla="*/ 4480207 h 4492816"/>
              <a:gd name="connsiteX4" fmla="*/ 6018749 w 6018749"/>
              <a:gd name="connsiteY4" fmla="*/ 4492816 h 4492816"/>
              <a:gd name="connsiteX0" fmla="*/ 6000087 w 6000087"/>
              <a:gd name="connsiteY0" fmla="*/ 4492816 h 4492816"/>
              <a:gd name="connsiteX1" fmla="*/ 0 w 6000087"/>
              <a:gd name="connsiteY1" fmla="*/ 0 h 4492816"/>
              <a:gd name="connsiteX2" fmla="*/ 9330 w 6000087"/>
              <a:gd name="connsiteY2" fmla="*/ 525037 h 4492816"/>
              <a:gd name="connsiteX3" fmla="*/ 5203203 w 6000087"/>
              <a:gd name="connsiteY3" fmla="*/ 4480207 h 4492816"/>
              <a:gd name="connsiteX4" fmla="*/ 6000087 w 6000087"/>
              <a:gd name="connsiteY4" fmla="*/ 4492816 h 4492816"/>
              <a:gd name="connsiteX0" fmla="*/ 6000087 w 6000087"/>
              <a:gd name="connsiteY0" fmla="*/ 4492816 h 4492816"/>
              <a:gd name="connsiteX1" fmla="*/ 0 w 6000087"/>
              <a:gd name="connsiteY1" fmla="*/ 0 h 4492816"/>
              <a:gd name="connsiteX2" fmla="*/ 9330 w 6000087"/>
              <a:gd name="connsiteY2" fmla="*/ 525037 h 4492816"/>
              <a:gd name="connsiteX3" fmla="*/ 5203203 w 6000087"/>
              <a:gd name="connsiteY3" fmla="*/ 4480207 h 4492816"/>
              <a:gd name="connsiteX4" fmla="*/ 6000087 w 6000087"/>
              <a:gd name="connsiteY4" fmla="*/ 4492816 h 4492816"/>
              <a:gd name="connsiteX0" fmla="*/ 5990757 w 5990757"/>
              <a:gd name="connsiteY0" fmla="*/ 4427501 h 4427501"/>
              <a:gd name="connsiteX1" fmla="*/ 0 w 5990757"/>
              <a:gd name="connsiteY1" fmla="*/ 0 h 4427501"/>
              <a:gd name="connsiteX2" fmla="*/ 0 w 5990757"/>
              <a:gd name="connsiteY2" fmla="*/ 459722 h 4427501"/>
              <a:gd name="connsiteX3" fmla="*/ 5193873 w 5990757"/>
              <a:gd name="connsiteY3" fmla="*/ 4414892 h 4427501"/>
              <a:gd name="connsiteX4" fmla="*/ 5990757 w 5990757"/>
              <a:gd name="connsiteY4" fmla="*/ 4427501 h 4427501"/>
              <a:gd name="connsiteX0" fmla="*/ 5990757 w 5990757"/>
              <a:gd name="connsiteY0" fmla="*/ 4427501 h 4427501"/>
              <a:gd name="connsiteX1" fmla="*/ 0 w 5990757"/>
              <a:gd name="connsiteY1" fmla="*/ 0 h 4427501"/>
              <a:gd name="connsiteX2" fmla="*/ 0 w 5990757"/>
              <a:gd name="connsiteY2" fmla="*/ 459722 h 4427501"/>
              <a:gd name="connsiteX3" fmla="*/ 5193873 w 5990757"/>
              <a:gd name="connsiteY3" fmla="*/ 4414892 h 4427501"/>
              <a:gd name="connsiteX4" fmla="*/ 5990757 w 5990757"/>
              <a:gd name="connsiteY4" fmla="*/ 4427501 h 4427501"/>
              <a:gd name="connsiteX0" fmla="*/ 5990757 w 5990757"/>
              <a:gd name="connsiteY0" fmla="*/ 4427501 h 4427501"/>
              <a:gd name="connsiteX1" fmla="*/ 0 w 5990757"/>
              <a:gd name="connsiteY1" fmla="*/ 0 h 4427501"/>
              <a:gd name="connsiteX2" fmla="*/ 0 w 5990757"/>
              <a:gd name="connsiteY2" fmla="*/ 459722 h 4427501"/>
              <a:gd name="connsiteX3" fmla="*/ 2315859 w 5990757"/>
              <a:gd name="connsiteY3" fmla="*/ 1730247 h 4427501"/>
              <a:gd name="connsiteX4" fmla="*/ 5193873 w 5990757"/>
              <a:gd name="connsiteY4" fmla="*/ 4414892 h 4427501"/>
              <a:gd name="connsiteX5" fmla="*/ 5990757 w 5990757"/>
              <a:gd name="connsiteY5" fmla="*/ 4427501 h 4427501"/>
              <a:gd name="connsiteX0" fmla="*/ 5990757 w 5990757"/>
              <a:gd name="connsiteY0" fmla="*/ 4427501 h 4427501"/>
              <a:gd name="connsiteX1" fmla="*/ 2853302 w 5990757"/>
              <a:gd name="connsiteY1" fmla="*/ 1528706 h 4427501"/>
              <a:gd name="connsiteX2" fmla="*/ 0 w 5990757"/>
              <a:gd name="connsiteY2" fmla="*/ 0 h 4427501"/>
              <a:gd name="connsiteX3" fmla="*/ 0 w 5990757"/>
              <a:gd name="connsiteY3" fmla="*/ 459722 h 4427501"/>
              <a:gd name="connsiteX4" fmla="*/ 2315859 w 5990757"/>
              <a:gd name="connsiteY4" fmla="*/ 1730247 h 4427501"/>
              <a:gd name="connsiteX5" fmla="*/ 5193873 w 5990757"/>
              <a:gd name="connsiteY5" fmla="*/ 4414892 h 4427501"/>
              <a:gd name="connsiteX6" fmla="*/ 5990757 w 5990757"/>
              <a:gd name="connsiteY6" fmla="*/ 4427501 h 4427501"/>
              <a:gd name="connsiteX0" fmla="*/ 5990757 w 5990757"/>
              <a:gd name="connsiteY0" fmla="*/ 4427501 h 4427501"/>
              <a:gd name="connsiteX1" fmla="*/ 2853302 w 5990757"/>
              <a:gd name="connsiteY1" fmla="*/ 1528706 h 4427501"/>
              <a:gd name="connsiteX2" fmla="*/ 0 w 5990757"/>
              <a:gd name="connsiteY2" fmla="*/ 0 h 4427501"/>
              <a:gd name="connsiteX3" fmla="*/ 0 w 5990757"/>
              <a:gd name="connsiteY3" fmla="*/ 459722 h 4427501"/>
              <a:gd name="connsiteX4" fmla="*/ 2315859 w 5990757"/>
              <a:gd name="connsiteY4" fmla="*/ 1730247 h 4427501"/>
              <a:gd name="connsiteX5" fmla="*/ 3663200 w 5990757"/>
              <a:gd name="connsiteY5" fmla="*/ 2958156 h 4427501"/>
              <a:gd name="connsiteX6" fmla="*/ 5193873 w 5990757"/>
              <a:gd name="connsiteY6" fmla="*/ 4414892 h 4427501"/>
              <a:gd name="connsiteX7" fmla="*/ 5990757 w 5990757"/>
              <a:gd name="connsiteY7" fmla="*/ 4427501 h 4427501"/>
              <a:gd name="connsiteX0" fmla="*/ 5990757 w 5990757"/>
              <a:gd name="connsiteY0" fmla="*/ 4427501 h 4427501"/>
              <a:gd name="connsiteX1" fmla="*/ 2853302 w 5990757"/>
              <a:gd name="connsiteY1" fmla="*/ 1528706 h 4427501"/>
              <a:gd name="connsiteX2" fmla="*/ 0 w 5990757"/>
              <a:gd name="connsiteY2" fmla="*/ 0 h 4427501"/>
              <a:gd name="connsiteX3" fmla="*/ 0 w 5990757"/>
              <a:gd name="connsiteY3" fmla="*/ 459722 h 4427501"/>
              <a:gd name="connsiteX4" fmla="*/ 2315859 w 5990757"/>
              <a:gd name="connsiteY4" fmla="*/ 1730247 h 4427501"/>
              <a:gd name="connsiteX5" fmla="*/ 3801293 w 5990757"/>
              <a:gd name="connsiteY5" fmla="*/ 2887243 h 4427501"/>
              <a:gd name="connsiteX6" fmla="*/ 5193873 w 5990757"/>
              <a:gd name="connsiteY6" fmla="*/ 4414892 h 4427501"/>
              <a:gd name="connsiteX7" fmla="*/ 5990757 w 5990757"/>
              <a:gd name="connsiteY7" fmla="*/ 4427501 h 4427501"/>
              <a:gd name="connsiteX0" fmla="*/ 5990757 w 5990757"/>
              <a:gd name="connsiteY0" fmla="*/ 4427501 h 4427501"/>
              <a:gd name="connsiteX1" fmla="*/ 4014031 w 5990757"/>
              <a:gd name="connsiteY1" fmla="*/ 2499089 h 4427501"/>
              <a:gd name="connsiteX2" fmla="*/ 2853302 w 5990757"/>
              <a:gd name="connsiteY2" fmla="*/ 1528706 h 4427501"/>
              <a:gd name="connsiteX3" fmla="*/ 0 w 5990757"/>
              <a:gd name="connsiteY3" fmla="*/ 0 h 4427501"/>
              <a:gd name="connsiteX4" fmla="*/ 0 w 5990757"/>
              <a:gd name="connsiteY4" fmla="*/ 459722 h 4427501"/>
              <a:gd name="connsiteX5" fmla="*/ 2315859 w 5990757"/>
              <a:gd name="connsiteY5" fmla="*/ 1730247 h 4427501"/>
              <a:gd name="connsiteX6" fmla="*/ 3801293 w 5990757"/>
              <a:gd name="connsiteY6" fmla="*/ 2887243 h 4427501"/>
              <a:gd name="connsiteX7" fmla="*/ 5193873 w 5990757"/>
              <a:gd name="connsiteY7" fmla="*/ 4414892 h 4427501"/>
              <a:gd name="connsiteX8" fmla="*/ 5990757 w 5990757"/>
              <a:gd name="connsiteY8" fmla="*/ 4427501 h 4427501"/>
              <a:gd name="connsiteX0" fmla="*/ 5990757 w 5990757"/>
              <a:gd name="connsiteY0" fmla="*/ 4427501 h 4427501"/>
              <a:gd name="connsiteX1" fmla="*/ 4308879 w 5990757"/>
              <a:gd name="connsiteY1" fmla="*/ 2756614 h 4427501"/>
              <a:gd name="connsiteX2" fmla="*/ 2853302 w 5990757"/>
              <a:gd name="connsiteY2" fmla="*/ 1528706 h 4427501"/>
              <a:gd name="connsiteX3" fmla="*/ 0 w 5990757"/>
              <a:gd name="connsiteY3" fmla="*/ 0 h 4427501"/>
              <a:gd name="connsiteX4" fmla="*/ 0 w 5990757"/>
              <a:gd name="connsiteY4" fmla="*/ 459722 h 4427501"/>
              <a:gd name="connsiteX5" fmla="*/ 2315859 w 5990757"/>
              <a:gd name="connsiteY5" fmla="*/ 1730247 h 4427501"/>
              <a:gd name="connsiteX6" fmla="*/ 3801293 w 5990757"/>
              <a:gd name="connsiteY6" fmla="*/ 2887243 h 4427501"/>
              <a:gd name="connsiteX7" fmla="*/ 5193873 w 5990757"/>
              <a:gd name="connsiteY7" fmla="*/ 4414892 h 4427501"/>
              <a:gd name="connsiteX8" fmla="*/ 5990757 w 5990757"/>
              <a:gd name="connsiteY8"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0 w 5990757"/>
              <a:gd name="connsiteY3" fmla="*/ 0 h 4427501"/>
              <a:gd name="connsiteX4" fmla="*/ 0 w 5990757"/>
              <a:gd name="connsiteY4" fmla="*/ 459722 h 4427501"/>
              <a:gd name="connsiteX5" fmla="*/ 2315859 w 5990757"/>
              <a:gd name="connsiteY5" fmla="*/ 1730247 h 4427501"/>
              <a:gd name="connsiteX6" fmla="*/ 3801293 w 5990757"/>
              <a:gd name="connsiteY6" fmla="*/ 2887243 h 4427501"/>
              <a:gd name="connsiteX7" fmla="*/ 5193873 w 5990757"/>
              <a:gd name="connsiteY7" fmla="*/ 4414892 h 4427501"/>
              <a:gd name="connsiteX8" fmla="*/ 5990757 w 5990757"/>
              <a:gd name="connsiteY8"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1398038 w 5990757"/>
              <a:gd name="connsiteY3" fmla="*/ 705020 h 4427501"/>
              <a:gd name="connsiteX4" fmla="*/ 0 w 5990757"/>
              <a:gd name="connsiteY4" fmla="*/ 0 h 4427501"/>
              <a:gd name="connsiteX5" fmla="*/ 0 w 5990757"/>
              <a:gd name="connsiteY5" fmla="*/ 459722 h 4427501"/>
              <a:gd name="connsiteX6" fmla="*/ 2315859 w 5990757"/>
              <a:gd name="connsiteY6" fmla="*/ 1730247 h 4427501"/>
              <a:gd name="connsiteX7" fmla="*/ 3801293 w 5990757"/>
              <a:gd name="connsiteY7" fmla="*/ 2887243 h 4427501"/>
              <a:gd name="connsiteX8" fmla="*/ 5193873 w 5990757"/>
              <a:gd name="connsiteY8" fmla="*/ 4414892 h 4427501"/>
              <a:gd name="connsiteX9" fmla="*/ 5990757 w 5990757"/>
              <a:gd name="connsiteY9"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1393805 w 5990757"/>
              <a:gd name="connsiteY3" fmla="*/ 679620 h 4427501"/>
              <a:gd name="connsiteX4" fmla="*/ 0 w 5990757"/>
              <a:gd name="connsiteY4" fmla="*/ 0 h 4427501"/>
              <a:gd name="connsiteX5" fmla="*/ 0 w 5990757"/>
              <a:gd name="connsiteY5" fmla="*/ 459722 h 4427501"/>
              <a:gd name="connsiteX6" fmla="*/ 2315859 w 5990757"/>
              <a:gd name="connsiteY6" fmla="*/ 1730247 h 4427501"/>
              <a:gd name="connsiteX7" fmla="*/ 3801293 w 5990757"/>
              <a:gd name="connsiteY7" fmla="*/ 2887243 h 4427501"/>
              <a:gd name="connsiteX8" fmla="*/ 5193873 w 5990757"/>
              <a:gd name="connsiteY8" fmla="*/ 4414892 h 4427501"/>
              <a:gd name="connsiteX9" fmla="*/ 5990757 w 5990757"/>
              <a:gd name="connsiteY9"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1393805 w 5990757"/>
              <a:gd name="connsiteY3" fmla="*/ 679620 h 4427501"/>
              <a:gd name="connsiteX4" fmla="*/ 0 w 5990757"/>
              <a:gd name="connsiteY4" fmla="*/ 0 h 4427501"/>
              <a:gd name="connsiteX5" fmla="*/ 0 w 5990757"/>
              <a:gd name="connsiteY5" fmla="*/ 459722 h 4427501"/>
              <a:gd name="connsiteX6" fmla="*/ 1033971 w 5990757"/>
              <a:gd name="connsiteY6" fmla="*/ 980187 h 4427501"/>
              <a:gd name="connsiteX7" fmla="*/ 2315859 w 5990757"/>
              <a:gd name="connsiteY7" fmla="*/ 1730247 h 4427501"/>
              <a:gd name="connsiteX8" fmla="*/ 3801293 w 5990757"/>
              <a:gd name="connsiteY8" fmla="*/ 2887243 h 4427501"/>
              <a:gd name="connsiteX9" fmla="*/ 5193873 w 5990757"/>
              <a:gd name="connsiteY9" fmla="*/ 4414892 h 4427501"/>
              <a:gd name="connsiteX10" fmla="*/ 5990757 w 5990757"/>
              <a:gd name="connsiteY10"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1393805 w 5990757"/>
              <a:gd name="connsiteY3" fmla="*/ 679620 h 4427501"/>
              <a:gd name="connsiteX4" fmla="*/ 0 w 5990757"/>
              <a:gd name="connsiteY4" fmla="*/ 0 h 4427501"/>
              <a:gd name="connsiteX5" fmla="*/ 0 w 5990757"/>
              <a:gd name="connsiteY5" fmla="*/ 459722 h 4427501"/>
              <a:gd name="connsiteX6" fmla="*/ 1072071 w 5990757"/>
              <a:gd name="connsiteY6" fmla="*/ 916687 h 4427501"/>
              <a:gd name="connsiteX7" fmla="*/ 2315859 w 5990757"/>
              <a:gd name="connsiteY7" fmla="*/ 1730247 h 4427501"/>
              <a:gd name="connsiteX8" fmla="*/ 3801293 w 5990757"/>
              <a:gd name="connsiteY8" fmla="*/ 2887243 h 4427501"/>
              <a:gd name="connsiteX9" fmla="*/ 5193873 w 5990757"/>
              <a:gd name="connsiteY9" fmla="*/ 4414892 h 4427501"/>
              <a:gd name="connsiteX10" fmla="*/ 5990757 w 5990757"/>
              <a:gd name="connsiteY10"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1393805 w 5990757"/>
              <a:gd name="connsiteY3" fmla="*/ 679620 h 4427501"/>
              <a:gd name="connsiteX4" fmla="*/ 0 w 5990757"/>
              <a:gd name="connsiteY4" fmla="*/ 0 h 4427501"/>
              <a:gd name="connsiteX5" fmla="*/ 0 w 5990757"/>
              <a:gd name="connsiteY5" fmla="*/ 459722 h 4427501"/>
              <a:gd name="connsiteX6" fmla="*/ 1072071 w 5990757"/>
              <a:gd name="connsiteY6" fmla="*/ 916687 h 4427501"/>
              <a:gd name="connsiteX7" fmla="*/ 2315859 w 5990757"/>
              <a:gd name="connsiteY7" fmla="*/ 1730247 h 4427501"/>
              <a:gd name="connsiteX8" fmla="*/ 3801293 w 5990757"/>
              <a:gd name="connsiteY8" fmla="*/ 2887243 h 4427501"/>
              <a:gd name="connsiteX9" fmla="*/ 5193873 w 5990757"/>
              <a:gd name="connsiteY9" fmla="*/ 4414892 h 4427501"/>
              <a:gd name="connsiteX10" fmla="*/ 5990757 w 5990757"/>
              <a:gd name="connsiteY10"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1393805 w 5990757"/>
              <a:gd name="connsiteY3" fmla="*/ 679620 h 4427501"/>
              <a:gd name="connsiteX4" fmla="*/ 0 w 5990757"/>
              <a:gd name="connsiteY4" fmla="*/ 0 h 4427501"/>
              <a:gd name="connsiteX5" fmla="*/ 0 w 5990757"/>
              <a:gd name="connsiteY5" fmla="*/ 459722 h 4427501"/>
              <a:gd name="connsiteX6" fmla="*/ 1072071 w 5990757"/>
              <a:gd name="connsiteY6" fmla="*/ 916687 h 4427501"/>
              <a:gd name="connsiteX7" fmla="*/ 2253171 w 5990757"/>
              <a:gd name="connsiteY7" fmla="*/ 1687153 h 4427501"/>
              <a:gd name="connsiteX8" fmla="*/ 2315859 w 5990757"/>
              <a:gd name="connsiteY8" fmla="*/ 1730247 h 4427501"/>
              <a:gd name="connsiteX9" fmla="*/ 3801293 w 5990757"/>
              <a:gd name="connsiteY9" fmla="*/ 2887243 h 4427501"/>
              <a:gd name="connsiteX10" fmla="*/ 5193873 w 5990757"/>
              <a:gd name="connsiteY10" fmla="*/ 4414892 h 4427501"/>
              <a:gd name="connsiteX11" fmla="*/ 5990757 w 5990757"/>
              <a:gd name="connsiteY11"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2795038 w 5990757"/>
              <a:gd name="connsiteY3" fmla="*/ 1483953 h 4427501"/>
              <a:gd name="connsiteX4" fmla="*/ 1393805 w 5990757"/>
              <a:gd name="connsiteY4" fmla="*/ 679620 h 4427501"/>
              <a:gd name="connsiteX5" fmla="*/ 0 w 5990757"/>
              <a:gd name="connsiteY5" fmla="*/ 0 h 4427501"/>
              <a:gd name="connsiteX6" fmla="*/ 0 w 5990757"/>
              <a:gd name="connsiteY6" fmla="*/ 459722 h 4427501"/>
              <a:gd name="connsiteX7" fmla="*/ 1072071 w 5990757"/>
              <a:gd name="connsiteY7" fmla="*/ 916687 h 4427501"/>
              <a:gd name="connsiteX8" fmla="*/ 2253171 w 5990757"/>
              <a:gd name="connsiteY8" fmla="*/ 1687153 h 4427501"/>
              <a:gd name="connsiteX9" fmla="*/ 2315859 w 5990757"/>
              <a:gd name="connsiteY9" fmla="*/ 1730247 h 4427501"/>
              <a:gd name="connsiteX10" fmla="*/ 3801293 w 5990757"/>
              <a:gd name="connsiteY10" fmla="*/ 2887243 h 4427501"/>
              <a:gd name="connsiteX11" fmla="*/ 5193873 w 5990757"/>
              <a:gd name="connsiteY11" fmla="*/ 4414892 h 4427501"/>
              <a:gd name="connsiteX12" fmla="*/ 5990757 w 5990757"/>
              <a:gd name="connsiteY12"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2795038 w 5990757"/>
              <a:gd name="connsiteY3" fmla="*/ 1483953 h 4427501"/>
              <a:gd name="connsiteX4" fmla="*/ 1393805 w 5990757"/>
              <a:gd name="connsiteY4" fmla="*/ 679620 h 4427501"/>
              <a:gd name="connsiteX5" fmla="*/ 0 w 5990757"/>
              <a:gd name="connsiteY5" fmla="*/ 0 h 4427501"/>
              <a:gd name="connsiteX6" fmla="*/ 0 w 5990757"/>
              <a:gd name="connsiteY6" fmla="*/ 459722 h 4427501"/>
              <a:gd name="connsiteX7" fmla="*/ 1072071 w 5990757"/>
              <a:gd name="connsiteY7" fmla="*/ 916687 h 4427501"/>
              <a:gd name="connsiteX8" fmla="*/ 2253171 w 5990757"/>
              <a:gd name="connsiteY8" fmla="*/ 1687153 h 4427501"/>
              <a:gd name="connsiteX9" fmla="*/ 2315859 w 5990757"/>
              <a:gd name="connsiteY9" fmla="*/ 1730247 h 4427501"/>
              <a:gd name="connsiteX10" fmla="*/ 3801293 w 5990757"/>
              <a:gd name="connsiteY10" fmla="*/ 2887243 h 4427501"/>
              <a:gd name="connsiteX11" fmla="*/ 5193873 w 5990757"/>
              <a:gd name="connsiteY11" fmla="*/ 4414892 h 4427501"/>
              <a:gd name="connsiteX12" fmla="*/ 5990757 w 5990757"/>
              <a:gd name="connsiteY12"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2795038 w 5990757"/>
              <a:gd name="connsiteY3" fmla="*/ 1483953 h 4427501"/>
              <a:gd name="connsiteX4" fmla="*/ 1393805 w 5990757"/>
              <a:gd name="connsiteY4" fmla="*/ 679620 h 4427501"/>
              <a:gd name="connsiteX5" fmla="*/ 0 w 5990757"/>
              <a:gd name="connsiteY5" fmla="*/ 0 h 4427501"/>
              <a:gd name="connsiteX6" fmla="*/ 0 w 5990757"/>
              <a:gd name="connsiteY6" fmla="*/ 459722 h 4427501"/>
              <a:gd name="connsiteX7" fmla="*/ 1072071 w 5990757"/>
              <a:gd name="connsiteY7" fmla="*/ 916687 h 4427501"/>
              <a:gd name="connsiteX8" fmla="*/ 2253171 w 5990757"/>
              <a:gd name="connsiteY8" fmla="*/ 1687153 h 4427501"/>
              <a:gd name="connsiteX9" fmla="*/ 2315859 w 5990757"/>
              <a:gd name="connsiteY9" fmla="*/ 1730247 h 4427501"/>
              <a:gd name="connsiteX10" fmla="*/ 3801293 w 5990757"/>
              <a:gd name="connsiteY10" fmla="*/ 2887243 h 4427501"/>
              <a:gd name="connsiteX11" fmla="*/ 5193873 w 5990757"/>
              <a:gd name="connsiteY11" fmla="*/ 4414892 h 4427501"/>
              <a:gd name="connsiteX12" fmla="*/ 5990757 w 5990757"/>
              <a:gd name="connsiteY12"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2795038 w 5990757"/>
              <a:gd name="connsiteY3" fmla="*/ 1483953 h 4427501"/>
              <a:gd name="connsiteX4" fmla="*/ 1419205 w 5990757"/>
              <a:gd name="connsiteY4" fmla="*/ 666920 h 4427501"/>
              <a:gd name="connsiteX5" fmla="*/ 0 w 5990757"/>
              <a:gd name="connsiteY5" fmla="*/ 0 h 4427501"/>
              <a:gd name="connsiteX6" fmla="*/ 0 w 5990757"/>
              <a:gd name="connsiteY6" fmla="*/ 459722 h 4427501"/>
              <a:gd name="connsiteX7" fmla="*/ 1072071 w 5990757"/>
              <a:gd name="connsiteY7" fmla="*/ 916687 h 4427501"/>
              <a:gd name="connsiteX8" fmla="*/ 2253171 w 5990757"/>
              <a:gd name="connsiteY8" fmla="*/ 1687153 h 4427501"/>
              <a:gd name="connsiteX9" fmla="*/ 2315859 w 5990757"/>
              <a:gd name="connsiteY9" fmla="*/ 1730247 h 4427501"/>
              <a:gd name="connsiteX10" fmla="*/ 3801293 w 5990757"/>
              <a:gd name="connsiteY10" fmla="*/ 2887243 h 4427501"/>
              <a:gd name="connsiteX11" fmla="*/ 5193873 w 5990757"/>
              <a:gd name="connsiteY11" fmla="*/ 4414892 h 4427501"/>
              <a:gd name="connsiteX12" fmla="*/ 5990757 w 5990757"/>
              <a:gd name="connsiteY12"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2795038 w 5990757"/>
              <a:gd name="connsiteY3" fmla="*/ 1483953 h 4427501"/>
              <a:gd name="connsiteX4" fmla="*/ 1419205 w 5990757"/>
              <a:gd name="connsiteY4" fmla="*/ 666920 h 4427501"/>
              <a:gd name="connsiteX5" fmla="*/ 0 w 5990757"/>
              <a:gd name="connsiteY5" fmla="*/ 0 h 4427501"/>
              <a:gd name="connsiteX6" fmla="*/ 0 w 5990757"/>
              <a:gd name="connsiteY6" fmla="*/ 459722 h 4427501"/>
              <a:gd name="connsiteX7" fmla="*/ 1072071 w 5990757"/>
              <a:gd name="connsiteY7" fmla="*/ 916687 h 4427501"/>
              <a:gd name="connsiteX8" fmla="*/ 2253171 w 5990757"/>
              <a:gd name="connsiteY8" fmla="*/ 1687153 h 4427501"/>
              <a:gd name="connsiteX9" fmla="*/ 2315859 w 5990757"/>
              <a:gd name="connsiteY9" fmla="*/ 1730247 h 4427501"/>
              <a:gd name="connsiteX10" fmla="*/ 3801293 w 5990757"/>
              <a:gd name="connsiteY10" fmla="*/ 2887243 h 4427501"/>
              <a:gd name="connsiteX11" fmla="*/ 5193873 w 5990757"/>
              <a:gd name="connsiteY11" fmla="*/ 4414892 h 4427501"/>
              <a:gd name="connsiteX12" fmla="*/ 5990757 w 5990757"/>
              <a:gd name="connsiteY12" fmla="*/ 4427501 h 4427501"/>
              <a:gd name="connsiteX0" fmla="*/ 5990757 w 5990757"/>
              <a:gd name="connsiteY0" fmla="*/ 4427501 h 4427501"/>
              <a:gd name="connsiteX1" fmla="*/ 4439507 w 5990757"/>
              <a:gd name="connsiteY1" fmla="*/ 2820062 h 4427501"/>
              <a:gd name="connsiteX2" fmla="*/ 2853302 w 5990757"/>
              <a:gd name="connsiteY2" fmla="*/ 1528706 h 4427501"/>
              <a:gd name="connsiteX3" fmla="*/ 2795038 w 5990757"/>
              <a:gd name="connsiteY3" fmla="*/ 1483953 h 4427501"/>
              <a:gd name="connsiteX4" fmla="*/ 1419205 w 5990757"/>
              <a:gd name="connsiteY4" fmla="*/ 666920 h 4427501"/>
              <a:gd name="connsiteX5" fmla="*/ 0 w 5990757"/>
              <a:gd name="connsiteY5" fmla="*/ 0 h 4427501"/>
              <a:gd name="connsiteX6" fmla="*/ 0 w 5990757"/>
              <a:gd name="connsiteY6" fmla="*/ 459722 h 4427501"/>
              <a:gd name="connsiteX7" fmla="*/ 1072071 w 5990757"/>
              <a:gd name="connsiteY7" fmla="*/ 916687 h 4427501"/>
              <a:gd name="connsiteX8" fmla="*/ 2253171 w 5990757"/>
              <a:gd name="connsiteY8" fmla="*/ 1687153 h 4427501"/>
              <a:gd name="connsiteX9" fmla="*/ 2315859 w 5990757"/>
              <a:gd name="connsiteY9" fmla="*/ 1730247 h 4427501"/>
              <a:gd name="connsiteX10" fmla="*/ 3801293 w 5990757"/>
              <a:gd name="connsiteY10" fmla="*/ 2887243 h 4427501"/>
              <a:gd name="connsiteX11" fmla="*/ 5193873 w 5990757"/>
              <a:gd name="connsiteY11" fmla="*/ 4414892 h 4427501"/>
              <a:gd name="connsiteX12" fmla="*/ 5990757 w 5990757"/>
              <a:gd name="connsiteY12" fmla="*/ 4427501 h 4427501"/>
              <a:gd name="connsiteX0" fmla="*/ 5193873 w 5193873"/>
              <a:gd name="connsiteY0" fmla="*/ 4414892 h 4414892"/>
              <a:gd name="connsiteX1" fmla="*/ 4439507 w 5193873"/>
              <a:gd name="connsiteY1" fmla="*/ 2820062 h 4414892"/>
              <a:gd name="connsiteX2" fmla="*/ 2853302 w 5193873"/>
              <a:gd name="connsiteY2" fmla="*/ 1528706 h 4414892"/>
              <a:gd name="connsiteX3" fmla="*/ 2795038 w 5193873"/>
              <a:gd name="connsiteY3" fmla="*/ 1483953 h 4414892"/>
              <a:gd name="connsiteX4" fmla="*/ 1419205 w 5193873"/>
              <a:gd name="connsiteY4" fmla="*/ 666920 h 4414892"/>
              <a:gd name="connsiteX5" fmla="*/ 0 w 5193873"/>
              <a:gd name="connsiteY5" fmla="*/ 0 h 4414892"/>
              <a:gd name="connsiteX6" fmla="*/ 0 w 5193873"/>
              <a:gd name="connsiteY6" fmla="*/ 459722 h 4414892"/>
              <a:gd name="connsiteX7" fmla="*/ 1072071 w 5193873"/>
              <a:gd name="connsiteY7" fmla="*/ 916687 h 4414892"/>
              <a:gd name="connsiteX8" fmla="*/ 2253171 w 5193873"/>
              <a:gd name="connsiteY8" fmla="*/ 1687153 h 4414892"/>
              <a:gd name="connsiteX9" fmla="*/ 2315859 w 5193873"/>
              <a:gd name="connsiteY9" fmla="*/ 1730247 h 4414892"/>
              <a:gd name="connsiteX10" fmla="*/ 3801293 w 5193873"/>
              <a:gd name="connsiteY10" fmla="*/ 2887243 h 4414892"/>
              <a:gd name="connsiteX11" fmla="*/ 5193873 w 5193873"/>
              <a:gd name="connsiteY11" fmla="*/ 4414892 h 4414892"/>
              <a:gd name="connsiteX0" fmla="*/ 3801293 w 4472477"/>
              <a:gd name="connsiteY0" fmla="*/ 2887243 h 3008518"/>
              <a:gd name="connsiteX1" fmla="*/ 4439507 w 4472477"/>
              <a:gd name="connsiteY1" fmla="*/ 2820062 h 3008518"/>
              <a:gd name="connsiteX2" fmla="*/ 2853302 w 4472477"/>
              <a:gd name="connsiteY2" fmla="*/ 1528706 h 3008518"/>
              <a:gd name="connsiteX3" fmla="*/ 2795038 w 4472477"/>
              <a:gd name="connsiteY3" fmla="*/ 1483953 h 3008518"/>
              <a:gd name="connsiteX4" fmla="*/ 1419205 w 4472477"/>
              <a:gd name="connsiteY4" fmla="*/ 666920 h 3008518"/>
              <a:gd name="connsiteX5" fmla="*/ 0 w 4472477"/>
              <a:gd name="connsiteY5" fmla="*/ 0 h 3008518"/>
              <a:gd name="connsiteX6" fmla="*/ 0 w 4472477"/>
              <a:gd name="connsiteY6" fmla="*/ 459722 h 3008518"/>
              <a:gd name="connsiteX7" fmla="*/ 1072071 w 4472477"/>
              <a:gd name="connsiteY7" fmla="*/ 916687 h 3008518"/>
              <a:gd name="connsiteX8" fmla="*/ 2253171 w 4472477"/>
              <a:gd name="connsiteY8" fmla="*/ 1687153 h 3008518"/>
              <a:gd name="connsiteX9" fmla="*/ 2315859 w 4472477"/>
              <a:gd name="connsiteY9" fmla="*/ 1730247 h 3008518"/>
              <a:gd name="connsiteX10" fmla="*/ 3801293 w 4472477"/>
              <a:gd name="connsiteY10" fmla="*/ 2887243 h 3008518"/>
              <a:gd name="connsiteX0" fmla="*/ 3801293 w 3807745"/>
              <a:gd name="connsiteY0" fmla="*/ 2887243 h 2887243"/>
              <a:gd name="connsiteX1" fmla="*/ 2853302 w 3807745"/>
              <a:gd name="connsiteY1" fmla="*/ 1528706 h 2887243"/>
              <a:gd name="connsiteX2" fmla="*/ 2795038 w 3807745"/>
              <a:gd name="connsiteY2" fmla="*/ 1483953 h 2887243"/>
              <a:gd name="connsiteX3" fmla="*/ 1419205 w 3807745"/>
              <a:gd name="connsiteY3" fmla="*/ 666920 h 2887243"/>
              <a:gd name="connsiteX4" fmla="*/ 0 w 3807745"/>
              <a:gd name="connsiteY4" fmla="*/ 0 h 2887243"/>
              <a:gd name="connsiteX5" fmla="*/ 0 w 3807745"/>
              <a:gd name="connsiteY5" fmla="*/ 459722 h 2887243"/>
              <a:gd name="connsiteX6" fmla="*/ 1072071 w 3807745"/>
              <a:gd name="connsiteY6" fmla="*/ 916687 h 2887243"/>
              <a:gd name="connsiteX7" fmla="*/ 2253171 w 3807745"/>
              <a:gd name="connsiteY7" fmla="*/ 1687153 h 2887243"/>
              <a:gd name="connsiteX8" fmla="*/ 2315859 w 3807745"/>
              <a:gd name="connsiteY8" fmla="*/ 1730247 h 2887243"/>
              <a:gd name="connsiteX9" fmla="*/ 3801293 w 3807745"/>
              <a:gd name="connsiteY9" fmla="*/ 2887243 h 2887243"/>
              <a:gd name="connsiteX0" fmla="*/ 2315859 w 2945957"/>
              <a:gd name="connsiteY0" fmla="*/ 1730247 h 1730247"/>
              <a:gd name="connsiteX1" fmla="*/ 2853302 w 2945957"/>
              <a:gd name="connsiteY1" fmla="*/ 1528706 h 1730247"/>
              <a:gd name="connsiteX2" fmla="*/ 2795038 w 2945957"/>
              <a:gd name="connsiteY2" fmla="*/ 1483953 h 1730247"/>
              <a:gd name="connsiteX3" fmla="*/ 1419205 w 2945957"/>
              <a:gd name="connsiteY3" fmla="*/ 666920 h 1730247"/>
              <a:gd name="connsiteX4" fmla="*/ 0 w 2945957"/>
              <a:gd name="connsiteY4" fmla="*/ 0 h 1730247"/>
              <a:gd name="connsiteX5" fmla="*/ 0 w 2945957"/>
              <a:gd name="connsiteY5" fmla="*/ 459722 h 1730247"/>
              <a:gd name="connsiteX6" fmla="*/ 1072071 w 2945957"/>
              <a:gd name="connsiteY6" fmla="*/ 916687 h 1730247"/>
              <a:gd name="connsiteX7" fmla="*/ 2253171 w 2945957"/>
              <a:gd name="connsiteY7" fmla="*/ 1687153 h 1730247"/>
              <a:gd name="connsiteX8" fmla="*/ 2315859 w 2945957"/>
              <a:gd name="connsiteY8" fmla="*/ 1730247 h 1730247"/>
              <a:gd name="connsiteX0" fmla="*/ 2253171 w 2949621"/>
              <a:gd name="connsiteY0" fmla="*/ 1687153 h 1713337"/>
              <a:gd name="connsiteX1" fmla="*/ 2853302 w 2949621"/>
              <a:gd name="connsiteY1" fmla="*/ 1528706 h 1713337"/>
              <a:gd name="connsiteX2" fmla="*/ 2795038 w 2949621"/>
              <a:gd name="connsiteY2" fmla="*/ 1483953 h 1713337"/>
              <a:gd name="connsiteX3" fmla="*/ 1419205 w 2949621"/>
              <a:gd name="connsiteY3" fmla="*/ 666920 h 1713337"/>
              <a:gd name="connsiteX4" fmla="*/ 0 w 2949621"/>
              <a:gd name="connsiteY4" fmla="*/ 0 h 1713337"/>
              <a:gd name="connsiteX5" fmla="*/ 0 w 2949621"/>
              <a:gd name="connsiteY5" fmla="*/ 459722 h 1713337"/>
              <a:gd name="connsiteX6" fmla="*/ 1072071 w 2949621"/>
              <a:gd name="connsiteY6" fmla="*/ 916687 h 1713337"/>
              <a:gd name="connsiteX7" fmla="*/ 2253171 w 2949621"/>
              <a:gd name="connsiteY7" fmla="*/ 1687153 h 1713337"/>
              <a:gd name="connsiteX0" fmla="*/ 2253171 w 2823856"/>
              <a:gd name="connsiteY0" fmla="*/ 1687153 h 1719320"/>
              <a:gd name="connsiteX1" fmla="*/ 2795038 w 2823856"/>
              <a:gd name="connsiteY1" fmla="*/ 1483953 h 1719320"/>
              <a:gd name="connsiteX2" fmla="*/ 1419205 w 2823856"/>
              <a:gd name="connsiteY2" fmla="*/ 666920 h 1719320"/>
              <a:gd name="connsiteX3" fmla="*/ 0 w 2823856"/>
              <a:gd name="connsiteY3" fmla="*/ 0 h 1719320"/>
              <a:gd name="connsiteX4" fmla="*/ 0 w 2823856"/>
              <a:gd name="connsiteY4" fmla="*/ 459722 h 1719320"/>
              <a:gd name="connsiteX5" fmla="*/ 1072071 w 2823856"/>
              <a:gd name="connsiteY5" fmla="*/ 916687 h 1719320"/>
              <a:gd name="connsiteX6" fmla="*/ 2253171 w 2823856"/>
              <a:gd name="connsiteY6" fmla="*/ 1687153 h 1719320"/>
              <a:gd name="connsiteX0" fmla="*/ 2253171 w 2795038"/>
              <a:gd name="connsiteY0" fmla="*/ 1687153 h 1687153"/>
              <a:gd name="connsiteX1" fmla="*/ 2795038 w 2795038"/>
              <a:gd name="connsiteY1" fmla="*/ 1483953 h 1687153"/>
              <a:gd name="connsiteX2" fmla="*/ 1419205 w 2795038"/>
              <a:gd name="connsiteY2" fmla="*/ 666920 h 1687153"/>
              <a:gd name="connsiteX3" fmla="*/ 0 w 2795038"/>
              <a:gd name="connsiteY3" fmla="*/ 0 h 1687153"/>
              <a:gd name="connsiteX4" fmla="*/ 0 w 2795038"/>
              <a:gd name="connsiteY4" fmla="*/ 459722 h 1687153"/>
              <a:gd name="connsiteX5" fmla="*/ 1072071 w 2795038"/>
              <a:gd name="connsiteY5" fmla="*/ 916687 h 1687153"/>
              <a:gd name="connsiteX6" fmla="*/ 2253171 w 2795038"/>
              <a:gd name="connsiteY6" fmla="*/ 1687153 h 1687153"/>
              <a:gd name="connsiteX0" fmla="*/ 2253171 w 2795038"/>
              <a:gd name="connsiteY0" fmla="*/ 1687153 h 1687153"/>
              <a:gd name="connsiteX1" fmla="*/ 2795038 w 2795038"/>
              <a:gd name="connsiteY1" fmla="*/ 1483953 h 1687153"/>
              <a:gd name="connsiteX2" fmla="*/ 1419205 w 2795038"/>
              <a:gd name="connsiteY2" fmla="*/ 666920 h 1687153"/>
              <a:gd name="connsiteX3" fmla="*/ 0 w 2795038"/>
              <a:gd name="connsiteY3" fmla="*/ 0 h 1687153"/>
              <a:gd name="connsiteX4" fmla="*/ 0 w 2795038"/>
              <a:gd name="connsiteY4" fmla="*/ 459722 h 1687153"/>
              <a:gd name="connsiteX5" fmla="*/ 1072071 w 2795038"/>
              <a:gd name="connsiteY5" fmla="*/ 916687 h 1687153"/>
              <a:gd name="connsiteX6" fmla="*/ 2253171 w 2795038"/>
              <a:gd name="connsiteY6" fmla="*/ 1687153 h 1687153"/>
              <a:gd name="connsiteX0" fmla="*/ 2253171 w 2795038"/>
              <a:gd name="connsiteY0" fmla="*/ 1687153 h 1687153"/>
              <a:gd name="connsiteX1" fmla="*/ 2795038 w 2795038"/>
              <a:gd name="connsiteY1" fmla="*/ 1483953 h 1687153"/>
              <a:gd name="connsiteX2" fmla="*/ 1419205 w 2795038"/>
              <a:gd name="connsiteY2" fmla="*/ 666920 h 1687153"/>
              <a:gd name="connsiteX3" fmla="*/ 0 w 2795038"/>
              <a:gd name="connsiteY3" fmla="*/ 0 h 1687153"/>
              <a:gd name="connsiteX4" fmla="*/ 0 w 2795038"/>
              <a:gd name="connsiteY4" fmla="*/ 459722 h 1687153"/>
              <a:gd name="connsiteX5" fmla="*/ 1072071 w 2795038"/>
              <a:gd name="connsiteY5" fmla="*/ 916687 h 1687153"/>
              <a:gd name="connsiteX6" fmla="*/ 2253171 w 2795038"/>
              <a:gd name="connsiteY6" fmla="*/ 1687153 h 1687153"/>
              <a:gd name="connsiteX0" fmla="*/ 2283879 w 2795038"/>
              <a:gd name="connsiteY0" fmla="*/ 1673506 h 1673506"/>
              <a:gd name="connsiteX1" fmla="*/ 2795038 w 2795038"/>
              <a:gd name="connsiteY1" fmla="*/ 1483953 h 1673506"/>
              <a:gd name="connsiteX2" fmla="*/ 1419205 w 2795038"/>
              <a:gd name="connsiteY2" fmla="*/ 666920 h 1673506"/>
              <a:gd name="connsiteX3" fmla="*/ 0 w 2795038"/>
              <a:gd name="connsiteY3" fmla="*/ 0 h 1673506"/>
              <a:gd name="connsiteX4" fmla="*/ 0 w 2795038"/>
              <a:gd name="connsiteY4" fmla="*/ 459722 h 1673506"/>
              <a:gd name="connsiteX5" fmla="*/ 1072071 w 2795038"/>
              <a:gd name="connsiteY5" fmla="*/ 916687 h 1673506"/>
              <a:gd name="connsiteX6" fmla="*/ 2283879 w 2795038"/>
              <a:gd name="connsiteY6" fmla="*/ 1673506 h 1673506"/>
              <a:gd name="connsiteX0" fmla="*/ 2283879 w 2795038"/>
              <a:gd name="connsiteY0" fmla="*/ 1673506 h 1673506"/>
              <a:gd name="connsiteX1" fmla="*/ 2795038 w 2795038"/>
              <a:gd name="connsiteY1" fmla="*/ 1483953 h 1673506"/>
              <a:gd name="connsiteX2" fmla="*/ 1419205 w 2795038"/>
              <a:gd name="connsiteY2" fmla="*/ 666920 h 1673506"/>
              <a:gd name="connsiteX3" fmla="*/ 0 w 2795038"/>
              <a:gd name="connsiteY3" fmla="*/ 0 h 1673506"/>
              <a:gd name="connsiteX4" fmla="*/ 0 w 2795038"/>
              <a:gd name="connsiteY4" fmla="*/ 459722 h 1673506"/>
              <a:gd name="connsiteX5" fmla="*/ 962889 w 2795038"/>
              <a:gd name="connsiteY5" fmla="*/ 872332 h 1673506"/>
              <a:gd name="connsiteX6" fmla="*/ 2283879 w 2795038"/>
              <a:gd name="connsiteY6" fmla="*/ 1673506 h 1673506"/>
              <a:gd name="connsiteX0" fmla="*/ 2283879 w 2795038"/>
              <a:gd name="connsiteY0" fmla="*/ 1673506 h 1673506"/>
              <a:gd name="connsiteX1" fmla="*/ 2795038 w 2795038"/>
              <a:gd name="connsiteY1" fmla="*/ 1483953 h 1673506"/>
              <a:gd name="connsiteX2" fmla="*/ 1419205 w 2795038"/>
              <a:gd name="connsiteY2" fmla="*/ 666920 h 1673506"/>
              <a:gd name="connsiteX3" fmla="*/ 0 w 2795038"/>
              <a:gd name="connsiteY3" fmla="*/ 0 h 1673506"/>
              <a:gd name="connsiteX4" fmla="*/ 0 w 2795038"/>
              <a:gd name="connsiteY4" fmla="*/ 459722 h 1673506"/>
              <a:gd name="connsiteX5" fmla="*/ 962889 w 2795038"/>
              <a:gd name="connsiteY5" fmla="*/ 872332 h 1673506"/>
              <a:gd name="connsiteX6" fmla="*/ 2283879 w 2795038"/>
              <a:gd name="connsiteY6" fmla="*/ 1673506 h 1673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5038" h="1673506">
                <a:moveTo>
                  <a:pt x="2283879" y="1673506"/>
                </a:moveTo>
                <a:lnTo>
                  <a:pt x="2795038" y="1483953"/>
                </a:lnTo>
                <a:cubicBezTo>
                  <a:pt x="2454740" y="1259323"/>
                  <a:pt x="1885044" y="914245"/>
                  <a:pt x="1419205" y="666920"/>
                </a:cubicBezTo>
                <a:cubicBezTo>
                  <a:pt x="953366" y="419595"/>
                  <a:pt x="304972" y="121317"/>
                  <a:pt x="0" y="0"/>
                </a:cubicBezTo>
                <a:lnTo>
                  <a:pt x="0" y="459722"/>
                </a:lnTo>
                <a:cubicBezTo>
                  <a:pt x="231595" y="534186"/>
                  <a:pt x="551535" y="683683"/>
                  <a:pt x="962889" y="872332"/>
                </a:cubicBezTo>
                <a:cubicBezTo>
                  <a:pt x="1374243" y="1060981"/>
                  <a:pt x="2048422" y="1503264"/>
                  <a:pt x="2283879" y="1673506"/>
                </a:cubicBezTo>
                <a:close/>
              </a:path>
            </a:pathLst>
          </a:custGeom>
          <a:solidFill>
            <a:schemeClr val="accent5">
              <a:alpha val="50196"/>
            </a:schemeClr>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799">
              <a:solidFill>
                <a:prstClr val="white"/>
              </a:solidFill>
              <a:latin typeface="Calibri" panose="020F0502020204030204"/>
            </a:endParaRPr>
          </a:p>
        </p:txBody>
      </p:sp>
      <p:pic>
        <p:nvPicPr>
          <p:cNvPr id="87" name="Afbeelding 86"/>
          <p:cNvPicPr>
            <a:picLocks noChangeAspect="1"/>
          </p:cNvPicPr>
          <p:nvPr/>
        </p:nvPicPr>
        <p:blipFill rotWithShape="1">
          <a:blip r:embed="rId10" cstate="email">
            <a:extLst>
              <a:ext uri="{28A0092B-C50C-407E-A947-70E740481C1C}">
                <a14:useLocalDpi xmlns:a14="http://schemas.microsoft.com/office/drawing/2010/main"/>
              </a:ext>
            </a:extLst>
          </a:blip>
          <a:srcRect l="-14"/>
          <a:stretch/>
        </p:blipFill>
        <p:spPr>
          <a:xfrm>
            <a:off x="2958202" y="4634486"/>
            <a:ext cx="899767" cy="899767"/>
          </a:xfrm>
          <a:prstGeom prst="rect">
            <a:avLst/>
          </a:prstGeom>
          <a:solidFill>
            <a:srgbClr val="FFD800">
              <a:alpha val="50196"/>
            </a:srgbClr>
          </a:solidFill>
          <a:ln w="19050">
            <a:solidFill>
              <a:schemeClr val="bg1"/>
            </a:solidFill>
            <a:miter lim="800000"/>
          </a:ln>
        </p:spPr>
      </p:pic>
      <p:cxnSp>
        <p:nvCxnSpPr>
          <p:cNvPr id="65" name="Verbindingslijn: gebogen 64"/>
          <p:cNvCxnSpPr>
            <a:stCxn id="64" idx="4"/>
          </p:cNvCxnSpPr>
          <p:nvPr/>
        </p:nvCxnSpPr>
        <p:spPr>
          <a:xfrm rot="10800000" flipV="1">
            <a:off x="3857969" y="4428437"/>
            <a:ext cx="659852" cy="655932"/>
          </a:xfrm>
          <a:prstGeom prst="bentConnector3">
            <a:avLst>
              <a:gd name="adj1" fmla="val 50000"/>
            </a:avLst>
          </a:prstGeom>
          <a:ln w="19050">
            <a:solidFill>
              <a:schemeClr val="bg1"/>
            </a:solidFill>
            <a:miter lim="800000"/>
          </a:ln>
        </p:spPr>
      </p:cxnSp>
      <p:sp>
        <p:nvSpPr>
          <p:cNvPr id="103" name="Titel 24"/>
          <p:cNvSpPr txBox="1">
            <a:spLocks/>
          </p:cNvSpPr>
          <p:nvPr/>
        </p:nvSpPr>
        <p:spPr>
          <a:xfrm>
            <a:off x="307951" y="2957455"/>
            <a:ext cx="1811221" cy="359907"/>
          </a:xfrm>
          <a:prstGeom prst="rect">
            <a:avLst/>
          </a:prstGeom>
        </p:spPr>
        <p:txBody>
          <a:bodyPr vert="horz" lIns="0" tIns="107972" rIns="0" bIns="107972" rtlCol="0" anchor="t">
            <a:noAutofit/>
          </a:bodyPr>
          <a:lstStyle>
            <a:lvl1pPr algn="l" defTabSz="914400" rtl="0" eaLnBrk="1" latinLnBrk="0" hangingPunct="1">
              <a:lnSpc>
                <a:spcPct val="90000"/>
              </a:lnSpc>
              <a:spcBef>
                <a:spcPct val="0"/>
              </a:spcBef>
              <a:buNone/>
              <a:defRPr sz="3200" kern="1200">
                <a:solidFill>
                  <a:schemeClr val="tx2"/>
                </a:solidFill>
                <a:latin typeface="+mj-lt"/>
                <a:ea typeface="+mj-ea"/>
                <a:cs typeface="+mj-cs"/>
              </a:defRPr>
            </a:lvl1pPr>
          </a:lstStyle>
          <a:p>
            <a:pPr defTabSz="914377"/>
            <a:r>
              <a:rPr lang="en-US" sz="1000" cap="all" dirty="0">
                <a:solidFill>
                  <a:prstClr val="white"/>
                </a:solidFill>
                <a:latin typeface="+mn-lt"/>
              </a:rPr>
              <a:t>REEFERSERVICE CENTER</a:t>
            </a:r>
            <a:endParaRPr lang="nl-NL" sz="1000" cap="all" dirty="0">
              <a:solidFill>
                <a:prstClr val="white"/>
              </a:solidFill>
              <a:latin typeface="+mn-lt"/>
            </a:endParaRPr>
          </a:p>
        </p:txBody>
      </p:sp>
      <p:pic>
        <p:nvPicPr>
          <p:cNvPr id="85" name="Afbeelding 84"/>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4854946" y="5412241"/>
            <a:ext cx="899767" cy="899767"/>
          </a:xfrm>
          <a:prstGeom prst="rect">
            <a:avLst/>
          </a:prstGeom>
          <a:solidFill>
            <a:srgbClr val="FFD800">
              <a:alpha val="50196"/>
            </a:srgbClr>
          </a:solidFill>
          <a:ln w="19050">
            <a:solidFill>
              <a:schemeClr val="bg1"/>
            </a:solidFill>
            <a:miter lim="800000"/>
          </a:ln>
        </p:spPr>
      </p:pic>
      <p:grpSp>
        <p:nvGrpSpPr>
          <p:cNvPr id="84" name="Groep 83"/>
          <p:cNvGrpSpPr/>
          <p:nvPr/>
        </p:nvGrpSpPr>
        <p:grpSpPr>
          <a:xfrm>
            <a:off x="6837252" y="5342141"/>
            <a:ext cx="1439625" cy="553132"/>
            <a:chOff x="2927480" y="946297"/>
            <a:chExt cx="1440000" cy="553276"/>
          </a:xfrm>
        </p:grpSpPr>
        <p:sp>
          <p:nvSpPr>
            <p:cNvPr id="98" name="Vrije vorm 19"/>
            <p:cNvSpPr/>
            <p:nvPr/>
          </p:nvSpPr>
          <p:spPr>
            <a:xfrm flipV="1">
              <a:off x="2927480" y="1042355"/>
              <a:ext cx="221315" cy="457218"/>
            </a:xfrm>
            <a:custGeom>
              <a:avLst/>
              <a:gdLst>
                <a:gd name="connsiteX0" fmla="*/ 0 w 560070"/>
                <a:gd name="connsiteY0" fmla="*/ 251460 h 640080"/>
                <a:gd name="connsiteX1" fmla="*/ 560070 w 560070"/>
                <a:gd name="connsiteY1" fmla="*/ 0 h 640080"/>
                <a:gd name="connsiteX2" fmla="*/ 560070 w 560070"/>
                <a:gd name="connsiteY2" fmla="*/ 411480 h 640080"/>
                <a:gd name="connsiteX3" fmla="*/ 11430 w 560070"/>
                <a:gd name="connsiteY3" fmla="*/ 640080 h 640080"/>
                <a:gd name="connsiteX4" fmla="*/ 0 w 560070"/>
                <a:gd name="connsiteY4" fmla="*/ 617220 h 640080"/>
                <a:gd name="connsiteX0" fmla="*/ 0 w 560070"/>
                <a:gd name="connsiteY0" fmla="*/ 251460 h 617220"/>
                <a:gd name="connsiteX1" fmla="*/ 560070 w 560070"/>
                <a:gd name="connsiteY1" fmla="*/ 0 h 617220"/>
                <a:gd name="connsiteX2" fmla="*/ 560070 w 560070"/>
                <a:gd name="connsiteY2" fmla="*/ 411480 h 617220"/>
                <a:gd name="connsiteX3" fmla="*/ 33666 w 560070"/>
                <a:gd name="connsiteY3" fmla="*/ 503907 h 617220"/>
                <a:gd name="connsiteX4" fmla="*/ 0 w 560070"/>
                <a:gd name="connsiteY4" fmla="*/ 617220 h 617220"/>
                <a:gd name="connsiteX0" fmla="*/ 0 w 560070"/>
                <a:gd name="connsiteY0" fmla="*/ 251460 h 506984"/>
                <a:gd name="connsiteX1" fmla="*/ 560070 w 560070"/>
                <a:gd name="connsiteY1" fmla="*/ 0 h 506984"/>
                <a:gd name="connsiteX2" fmla="*/ 560070 w 560070"/>
                <a:gd name="connsiteY2" fmla="*/ 411480 h 506984"/>
                <a:gd name="connsiteX3" fmla="*/ 33666 w 560070"/>
                <a:gd name="connsiteY3" fmla="*/ 503907 h 506984"/>
                <a:gd name="connsiteX4" fmla="*/ 144544 w 560070"/>
                <a:gd name="connsiteY4" fmla="*/ 506984 h 506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070" h="506984">
                  <a:moveTo>
                    <a:pt x="0" y="251460"/>
                  </a:moveTo>
                  <a:lnTo>
                    <a:pt x="560070" y="0"/>
                  </a:lnTo>
                  <a:lnTo>
                    <a:pt x="560070" y="411480"/>
                  </a:lnTo>
                  <a:lnTo>
                    <a:pt x="33666" y="503907"/>
                  </a:lnTo>
                  <a:lnTo>
                    <a:pt x="144544" y="506984"/>
                  </a:lnTo>
                </a:path>
              </a:pathLst>
            </a:cu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sz="1999">
                <a:solidFill>
                  <a:prstClr val="white"/>
                </a:solidFill>
                <a:latin typeface="Calibri" panose="020F0502020204030204"/>
              </a:endParaRPr>
            </a:p>
          </p:txBody>
        </p:sp>
        <p:sp>
          <p:nvSpPr>
            <p:cNvPr id="101" name="Rechthoek 100"/>
            <p:cNvSpPr/>
            <p:nvPr/>
          </p:nvSpPr>
          <p:spPr>
            <a:xfrm>
              <a:off x="2927480" y="946297"/>
              <a:ext cx="1440000" cy="324000"/>
            </a:xfrm>
            <a:prstGeom prst="rect">
              <a:avLst/>
            </a:prstGeom>
            <a:solidFill>
              <a:schemeClr val="tx2"/>
            </a:solidFill>
          </p:spPr>
          <p:txBody>
            <a:bodyPr vert="horz" lIns="71981" tIns="179953" rIns="71981" bIns="143963" rtlCol="0" anchor="ctr">
              <a:noAutofit/>
            </a:bodyPr>
            <a:lstStyle/>
            <a:p>
              <a:pPr algn="ctr" defTabSz="914104">
                <a:lnSpc>
                  <a:spcPct val="80000"/>
                </a:lnSpc>
                <a:spcBef>
                  <a:spcPct val="0"/>
                </a:spcBef>
              </a:pPr>
              <a:r>
                <a:rPr lang="en-US" sz="1100" dirty="0">
                  <a:solidFill>
                    <a:prstClr val="white"/>
                  </a:solidFill>
                </a:rPr>
                <a:t>CROSSDOCK</a:t>
              </a:r>
            </a:p>
          </p:txBody>
        </p:sp>
      </p:grpSp>
      <p:sp>
        <p:nvSpPr>
          <p:cNvPr id="5" name="Tijdelijke aanduiding voor datum 4">
            <a:extLst>
              <a:ext uri="{FF2B5EF4-FFF2-40B4-BE49-F238E27FC236}">
                <a16:creationId xmlns:a16="http://schemas.microsoft.com/office/drawing/2014/main" id="{A6B46CD6-D1B8-4E09-89C7-2134C57B2395}"/>
              </a:ext>
            </a:extLst>
          </p:cNvPr>
          <p:cNvSpPr>
            <a:spLocks noGrp="1"/>
          </p:cNvSpPr>
          <p:nvPr>
            <p:ph type="dt" sz="half" idx="10"/>
          </p:nvPr>
        </p:nvSpPr>
        <p:spPr/>
        <p:txBody>
          <a:bodyPr/>
          <a:lstStyle/>
          <a:p>
            <a:fld id="{BA5BC477-7A9F-4A81-9463-EF749CB93BFE}" type="datetime4">
              <a:rPr lang="en-GB" smtClean="0"/>
              <a:t>29 May 2020</a:t>
            </a:fld>
            <a:endParaRPr lang="en-GB"/>
          </a:p>
        </p:txBody>
      </p:sp>
      <p:sp>
        <p:nvSpPr>
          <p:cNvPr id="6" name="Tijdelijke aanduiding voor voettekst 5">
            <a:extLst>
              <a:ext uri="{FF2B5EF4-FFF2-40B4-BE49-F238E27FC236}">
                <a16:creationId xmlns:a16="http://schemas.microsoft.com/office/drawing/2014/main" id="{4A793D70-CC4F-4009-9978-3018B6F0239E}"/>
              </a:ext>
            </a:extLst>
          </p:cNvPr>
          <p:cNvSpPr>
            <a:spLocks noGrp="1"/>
          </p:cNvSpPr>
          <p:nvPr>
            <p:ph type="ftr" sz="quarter" idx="11"/>
          </p:nvPr>
        </p:nvSpPr>
        <p:spPr/>
        <p:txBody>
          <a:bodyPr/>
          <a:lstStyle/>
          <a:p>
            <a:r>
              <a:rPr lang="en-GB"/>
              <a:t>|</a:t>
            </a:r>
          </a:p>
        </p:txBody>
      </p:sp>
      <p:sp>
        <p:nvSpPr>
          <p:cNvPr id="7" name="Tijdelijke aanduiding voor dianummer 6">
            <a:extLst>
              <a:ext uri="{FF2B5EF4-FFF2-40B4-BE49-F238E27FC236}">
                <a16:creationId xmlns:a16="http://schemas.microsoft.com/office/drawing/2014/main" id="{14739E82-2D66-4CBE-93D0-3E3C2521ED5D}"/>
              </a:ext>
            </a:extLst>
          </p:cNvPr>
          <p:cNvSpPr>
            <a:spLocks noGrp="1"/>
          </p:cNvSpPr>
          <p:nvPr>
            <p:ph type="sldNum" sz="quarter" idx="12"/>
          </p:nvPr>
        </p:nvSpPr>
        <p:spPr/>
        <p:txBody>
          <a:bodyPr/>
          <a:lstStyle/>
          <a:p>
            <a:fld id="{534B5F9C-CFE5-4EC6-9BBB-664E2F56B033}" type="slidenum">
              <a:rPr lang="en-GB" smtClean="0"/>
              <a:pPr/>
              <a:t>26</a:t>
            </a:fld>
            <a:endParaRPr lang="en-GB" dirty="0"/>
          </a:p>
        </p:txBody>
      </p:sp>
    </p:spTree>
    <p:custDataLst>
      <p:tags r:id="rId1"/>
    </p:custDataLst>
    <p:extLst>
      <p:ext uri="{BB962C8B-B14F-4D97-AF65-F5344CB8AC3E}">
        <p14:creationId xmlns:p14="http://schemas.microsoft.com/office/powerpoint/2010/main" val="12206268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80"/>
                                        </p:tgtEl>
                                        <p:attrNameLst>
                                          <p:attrName>style.visibility</p:attrName>
                                        </p:attrNameLst>
                                      </p:cBhvr>
                                      <p:to>
                                        <p:strVal val="visible"/>
                                      </p:to>
                                    </p:set>
                                    <p:anim calcmode="lin" valueType="num">
                                      <p:cBhvr additive="base">
                                        <p:cTn id="7" dur="750" fill="hold"/>
                                        <p:tgtEl>
                                          <p:spTgt spid="80"/>
                                        </p:tgtEl>
                                        <p:attrNameLst>
                                          <p:attrName>ppt_x</p:attrName>
                                        </p:attrNameLst>
                                      </p:cBhvr>
                                      <p:tavLst>
                                        <p:tav tm="0">
                                          <p:val>
                                            <p:strVal val="0-#ppt_w/2"/>
                                          </p:val>
                                        </p:tav>
                                        <p:tav tm="100000">
                                          <p:val>
                                            <p:strVal val="#ppt_x"/>
                                          </p:val>
                                        </p:tav>
                                      </p:tavLst>
                                    </p:anim>
                                    <p:anim calcmode="lin" valueType="num">
                                      <p:cBhvr additive="base">
                                        <p:cTn id="8" dur="750" fill="hold"/>
                                        <p:tgtEl>
                                          <p:spTgt spid="80"/>
                                        </p:tgtEl>
                                        <p:attrNameLst>
                                          <p:attrName>ppt_y</p:attrName>
                                        </p:attrNameLst>
                                      </p:cBhvr>
                                      <p:tavLst>
                                        <p:tav tm="0">
                                          <p:val>
                                            <p:strVal val="#ppt_y"/>
                                          </p:val>
                                        </p:tav>
                                        <p:tav tm="100000">
                                          <p:val>
                                            <p:strVal val="#ppt_y"/>
                                          </p:val>
                                        </p:tav>
                                      </p:tavLst>
                                    </p:anim>
                                  </p:childTnLst>
                                </p:cTn>
                              </p:par>
                              <p:par>
                                <p:cTn id="9" presetID="2" presetClass="entr" presetSubtype="1" decel="100000" fill="hold" nodeType="withEffect">
                                  <p:stCondLst>
                                    <p:cond delay="0"/>
                                  </p:stCondLst>
                                  <p:childTnLst>
                                    <p:set>
                                      <p:cBhvr>
                                        <p:cTn id="10" dur="1" fill="hold">
                                          <p:stCondLst>
                                            <p:cond delay="0"/>
                                          </p:stCondLst>
                                        </p:cTn>
                                        <p:tgtEl>
                                          <p:spTgt spid="86"/>
                                        </p:tgtEl>
                                        <p:attrNameLst>
                                          <p:attrName>style.visibility</p:attrName>
                                        </p:attrNameLst>
                                      </p:cBhvr>
                                      <p:to>
                                        <p:strVal val="visible"/>
                                      </p:to>
                                    </p:set>
                                    <p:anim calcmode="lin" valueType="num">
                                      <p:cBhvr additive="base">
                                        <p:cTn id="11" dur="750" fill="hold"/>
                                        <p:tgtEl>
                                          <p:spTgt spid="86"/>
                                        </p:tgtEl>
                                        <p:attrNameLst>
                                          <p:attrName>ppt_x</p:attrName>
                                        </p:attrNameLst>
                                      </p:cBhvr>
                                      <p:tavLst>
                                        <p:tav tm="0">
                                          <p:val>
                                            <p:strVal val="#ppt_x"/>
                                          </p:val>
                                        </p:tav>
                                        <p:tav tm="100000">
                                          <p:val>
                                            <p:strVal val="#ppt_x"/>
                                          </p:val>
                                        </p:tav>
                                      </p:tavLst>
                                    </p:anim>
                                    <p:anim calcmode="lin" valueType="num">
                                      <p:cBhvr additive="base">
                                        <p:cTn id="12" dur="750" fill="hold"/>
                                        <p:tgtEl>
                                          <p:spTgt spid="86"/>
                                        </p:tgtEl>
                                        <p:attrNameLst>
                                          <p:attrName>ppt_y</p:attrName>
                                        </p:attrNameLst>
                                      </p:cBhvr>
                                      <p:tavLst>
                                        <p:tav tm="0">
                                          <p:val>
                                            <p:strVal val="0-#ppt_h/2"/>
                                          </p:val>
                                        </p:tav>
                                        <p:tav tm="100000">
                                          <p:val>
                                            <p:strVal val="#ppt_y"/>
                                          </p:val>
                                        </p:tav>
                                      </p:tavLst>
                                    </p:anim>
                                  </p:childTnLst>
                                </p:cTn>
                              </p:par>
                              <p:par>
                                <p:cTn id="13" presetID="2" presetClass="entr" presetSubtype="3" decel="100000" fill="hold" nodeType="withEffect">
                                  <p:stCondLst>
                                    <p:cond delay="0"/>
                                  </p:stCondLst>
                                  <p:childTnLst>
                                    <p:set>
                                      <p:cBhvr>
                                        <p:cTn id="14" dur="1" fill="hold">
                                          <p:stCondLst>
                                            <p:cond delay="0"/>
                                          </p:stCondLst>
                                        </p:cTn>
                                        <p:tgtEl>
                                          <p:spTgt spid="97"/>
                                        </p:tgtEl>
                                        <p:attrNameLst>
                                          <p:attrName>style.visibility</p:attrName>
                                        </p:attrNameLst>
                                      </p:cBhvr>
                                      <p:to>
                                        <p:strVal val="visible"/>
                                      </p:to>
                                    </p:set>
                                    <p:anim calcmode="lin" valueType="num">
                                      <p:cBhvr additive="base">
                                        <p:cTn id="15" dur="750" fill="hold"/>
                                        <p:tgtEl>
                                          <p:spTgt spid="97"/>
                                        </p:tgtEl>
                                        <p:attrNameLst>
                                          <p:attrName>ppt_x</p:attrName>
                                        </p:attrNameLst>
                                      </p:cBhvr>
                                      <p:tavLst>
                                        <p:tav tm="0">
                                          <p:val>
                                            <p:strVal val="1+#ppt_w/2"/>
                                          </p:val>
                                        </p:tav>
                                        <p:tav tm="100000">
                                          <p:val>
                                            <p:strVal val="#ppt_x"/>
                                          </p:val>
                                        </p:tav>
                                      </p:tavLst>
                                    </p:anim>
                                    <p:anim calcmode="lin" valueType="num">
                                      <p:cBhvr additive="base">
                                        <p:cTn id="16" dur="750" fill="hold"/>
                                        <p:tgtEl>
                                          <p:spTgt spid="97"/>
                                        </p:tgtEl>
                                        <p:attrNameLst>
                                          <p:attrName>ppt_y</p:attrName>
                                        </p:attrNameLst>
                                      </p:cBhvr>
                                      <p:tavLst>
                                        <p:tav tm="0">
                                          <p:val>
                                            <p:strVal val="0-#ppt_h/2"/>
                                          </p:val>
                                        </p:tav>
                                        <p:tav tm="100000">
                                          <p:val>
                                            <p:strVal val="#ppt_y"/>
                                          </p:val>
                                        </p:tav>
                                      </p:tavLst>
                                    </p:anim>
                                  </p:childTnLst>
                                </p:cTn>
                              </p:par>
                              <p:par>
                                <p:cTn id="17" presetID="2" presetClass="entr" presetSubtype="2" decel="100000" fill="hold" nodeType="withEffect">
                                  <p:stCondLst>
                                    <p:cond delay="0"/>
                                  </p:stCondLst>
                                  <p:childTnLst>
                                    <p:set>
                                      <p:cBhvr>
                                        <p:cTn id="18" dur="1" fill="hold">
                                          <p:stCondLst>
                                            <p:cond delay="0"/>
                                          </p:stCondLst>
                                        </p:cTn>
                                        <p:tgtEl>
                                          <p:spTgt spid="88"/>
                                        </p:tgtEl>
                                        <p:attrNameLst>
                                          <p:attrName>style.visibility</p:attrName>
                                        </p:attrNameLst>
                                      </p:cBhvr>
                                      <p:to>
                                        <p:strVal val="visible"/>
                                      </p:to>
                                    </p:set>
                                    <p:anim calcmode="lin" valueType="num">
                                      <p:cBhvr additive="base">
                                        <p:cTn id="19" dur="750" fill="hold"/>
                                        <p:tgtEl>
                                          <p:spTgt spid="88"/>
                                        </p:tgtEl>
                                        <p:attrNameLst>
                                          <p:attrName>ppt_x</p:attrName>
                                        </p:attrNameLst>
                                      </p:cBhvr>
                                      <p:tavLst>
                                        <p:tav tm="0">
                                          <p:val>
                                            <p:strVal val="1+#ppt_w/2"/>
                                          </p:val>
                                        </p:tav>
                                        <p:tav tm="100000">
                                          <p:val>
                                            <p:strVal val="#ppt_x"/>
                                          </p:val>
                                        </p:tav>
                                      </p:tavLst>
                                    </p:anim>
                                    <p:anim calcmode="lin" valueType="num">
                                      <p:cBhvr additive="base">
                                        <p:cTn id="20" dur="750" fill="hold"/>
                                        <p:tgtEl>
                                          <p:spTgt spid="88"/>
                                        </p:tgtEl>
                                        <p:attrNameLst>
                                          <p:attrName>ppt_y</p:attrName>
                                        </p:attrNameLst>
                                      </p:cBhvr>
                                      <p:tavLst>
                                        <p:tav tm="0">
                                          <p:val>
                                            <p:strVal val="#ppt_y"/>
                                          </p:val>
                                        </p:tav>
                                        <p:tav tm="100000">
                                          <p:val>
                                            <p:strVal val="#ppt_y"/>
                                          </p:val>
                                        </p:tav>
                                      </p:tavLst>
                                    </p:anim>
                                  </p:childTnLst>
                                </p:cTn>
                              </p:par>
                              <p:par>
                                <p:cTn id="21" presetID="2" presetClass="entr" presetSubtype="6" decel="100000" fill="hold" nodeType="withEffect">
                                  <p:stCondLst>
                                    <p:cond delay="0"/>
                                  </p:stCondLst>
                                  <p:childTnLst>
                                    <p:set>
                                      <p:cBhvr>
                                        <p:cTn id="22" dur="1" fill="hold">
                                          <p:stCondLst>
                                            <p:cond delay="0"/>
                                          </p:stCondLst>
                                        </p:cTn>
                                        <p:tgtEl>
                                          <p:spTgt spid="85"/>
                                        </p:tgtEl>
                                        <p:attrNameLst>
                                          <p:attrName>style.visibility</p:attrName>
                                        </p:attrNameLst>
                                      </p:cBhvr>
                                      <p:to>
                                        <p:strVal val="visible"/>
                                      </p:to>
                                    </p:set>
                                    <p:anim calcmode="lin" valueType="num">
                                      <p:cBhvr additive="base">
                                        <p:cTn id="23" dur="750" fill="hold"/>
                                        <p:tgtEl>
                                          <p:spTgt spid="85"/>
                                        </p:tgtEl>
                                        <p:attrNameLst>
                                          <p:attrName>ppt_x</p:attrName>
                                        </p:attrNameLst>
                                      </p:cBhvr>
                                      <p:tavLst>
                                        <p:tav tm="0">
                                          <p:val>
                                            <p:strVal val="1+#ppt_w/2"/>
                                          </p:val>
                                        </p:tav>
                                        <p:tav tm="100000">
                                          <p:val>
                                            <p:strVal val="#ppt_x"/>
                                          </p:val>
                                        </p:tav>
                                      </p:tavLst>
                                    </p:anim>
                                    <p:anim calcmode="lin" valueType="num">
                                      <p:cBhvr additive="base">
                                        <p:cTn id="24" dur="750" fill="hold"/>
                                        <p:tgtEl>
                                          <p:spTgt spid="85"/>
                                        </p:tgtEl>
                                        <p:attrNameLst>
                                          <p:attrName>ppt_y</p:attrName>
                                        </p:attrNameLst>
                                      </p:cBhvr>
                                      <p:tavLst>
                                        <p:tav tm="0">
                                          <p:val>
                                            <p:strVal val="1+#ppt_h/2"/>
                                          </p:val>
                                        </p:tav>
                                        <p:tav tm="100000">
                                          <p:val>
                                            <p:strVal val="#ppt_y"/>
                                          </p:val>
                                        </p:tav>
                                      </p:tavLst>
                                    </p:anim>
                                  </p:childTnLst>
                                </p:cTn>
                              </p:par>
                              <p:par>
                                <p:cTn id="25" presetID="2" presetClass="entr" presetSubtype="12" decel="100000" fill="hold" nodeType="withEffect">
                                  <p:stCondLst>
                                    <p:cond delay="0"/>
                                  </p:stCondLst>
                                  <p:childTnLst>
                                    <p:set>
                                      <p:cBhvr>
                                        <p:cTn id="26" dur="1" fill="hold">
                                          <p:stCondLst>
                                            <p:cond delay="0"/>
                                          </p:stCondLst>
                                        </p:cTn>
                                        <p:tgtEl>
                                          <p:spTgt spid="87"/>
                                        </p:tgtEl>
                                        <p:attrNameLst>
                                          <p:attrName>style.visibility</p:attrName>
                                        </p:attrNameLst>
                                      </p:cBhvr>
                                      <p:to>
                                        <p:strVal val="visible"/>
                                      </p:to>
                                    </p:set>
                                    <p:anim calcmode="lin" valueType="num">
                                      <p:cBhvr additive="base">
                                        <p:cTn id="27" dur="750" fill="hold"/>
                                        <p:tgtEl>
                                          <p:spTgt spid="87"/>
                                        </p:tgtEl>
                                        <p:attrNameLst>
                                          <p:attrName>ppt_x</p:attrName>
                                        </p:attrNameLst>
                                      </p:cBhvr>
                                      <p:tavLst>
                                        <p:tav tm="0">
                                          <p:val>
                                            <p:strVal val="0-#ppt_w/2"/>
                                          </p:val>
                                        </p:tav>
                                        <p:tav tm="100000">
                                          <p:val>
                                            <p:strVal val="#ppt_x"/>
                                          </p:val>
                                        </p:tav>
                                      </p:tavLst>
                                    </p:anim>
                                    <p:anim calcmode="lin" valueType="num">
                                      <p:cBhvr additive="base">
                                        <p:cTn id="28" dur="750" fill="hold"/>
                                        <p:tgtEl>
                                          <p:spTgt spid="87"/>
                                        </p:tgtEl>
                                        <p:attrNameLst>
                                          <p:attrName>ppt_y</p:attrName>
                                        </p:attrNameLst>
                                      </p:cBhvr>
                                      <p:tavLst>
                                        <p:tav tm="0">
                                          <p:val>
                                            <p:strVal val="1+#ppt_h/2"/>
                                          </p:val>
                                        </p:tav>
                                        <p:tav tm="100000">
                                          <p:val>
                                            <p:strVal val="#ppt_y"/>
                                          </p:val>
                                        </p:tav>
                                      </p:tavLst>
                                    </p:anim>
                                  </p:childTnLst>
                                </p:cTn>
                              </p:par>
                            </p:childTnLst>
                          </p:cTn>
                        </p:par>
                        <p:par>
                          <p:cTn id="29" fill="hold">
                            <p:stCondLst>
                              <p:cond delay="750"/>
                            </p:stCondLst>
                            <p:childTnLst>
                              <p:par>
                                <p:cTn id="30" presetID="22" presetClass="entr" presetSubtype="4" fill="hold" nodeType="after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wipe(down)">
                                      <p:cBhvr>
                                        <p:cTn id="32" dur="500"/>
                                        <p:tgtEl>
                                          <p:spTgt spid="4"/>
                                        </p:tgtEl>
                                      </p:cBhvr>
                                    </p:animEffect>
                                  </p:childTnLst>
                                </p:cTn>
                              </p:par>
                              <p:par>
                                <p:cTn id="33" presetID="22" presetClass="entr" presetSubtype="2" fill="hold" nodeType="withEffect">
                                  <p:stCondLst>
                                    <p:cond delay="0"/>
                                  </p:stCondLst>
                                  <p:childTnLst>
                                    <p:set>
                                      <p:cBhvr>
                                        <p:cTn id="34" dur="1" fill="hold">
                                          <p:stCondLst>
                                            <p:cond delay="0"/>
                                          </p:stCondLst>
                                        </p:cTn>
                                        <p:tgtEl>
                                          <p:spTgt spid="58"/>
                                        </p:tgtEl>
                                        <p:attrNameLst>
                                          <p:attrName>style.visibility</p:attrName>
                                        </p:attrNameLst>
                                      </p:cBhvr>
                                      <p:to>
                                        <p:strVal val="visible"/>
                                      </p:to>
                                    </p:set>
                                    <p:animEffect transition="in" filter="wipe(right)">
                                      <p:cBhvr>
                                        <p:cTn id="35" dur="500"/>
                                        <p:tgtEl>
                                          <p:spTgt spid="58"/>
                                        </p:tgtEl>
                                      </p:cBhvr>
                                    </p:animEffect>
                                  </p:childTnLst>
                                </p:cTn>
                              </p:par>
                              <p:par>
                                <p:cTn id="36" presetID="22" presetClass="entr" presetSubtype="2" fill="hold" nodeType="withEffect">
                                  <p:stCondLst>
                                    <p:cond delay="0"/>
                                  </p:stCondLst>
                                  <p:childTnLst>
                                    <p:set>
                                      <p:cBhvr>
                                        <p:cTn id="37" dur="1" fill="hold">
                                          <p:stCondLst>
                                            <p:cond delay="0"/>
                                          </p:stCondLst>
                                        </p:cTn>
                                        <p:tgtEl>
                                          <p:spTgt spid="79"/>
                                        </p:tgtEl>
                                        <p:attrNameLst>
                                          <p:attrName>style.visibility</p:attrName>
                                        </p:attrNameLst>
                                      </p:cBhvr>
                                      <p:to>
                                        <p:strVal val="visible"/>
                                      </p:to>
                                    </p:set>
                                    <p:animEffect transition="in" filter="wipe(right)">
                                      <p:cBhvr>
                                        <p:cTn id="38" dur="500"/>
                                        <p:tgtEl>
                                          <p:spTgt spid="79"/>
                                        </p:tgtEl>
                                      </p:cBhvr>
                                    </p:animEffect>
                                  </p:childTnLst>
                                </p:cTn>
                              </p:par>
                              <p:par>
                                <p:cTn id="39" presetID="22" presetClass="entr" presetSubtype="8" fill="hold" nodeType="withEffect">
                                  <p:stCondLst>
                                    <p:cond delay="0"/>
                                  </p:stCondLst>
                                  <p:childTnLst>
                                    <p:set>
                                      <p:cBhvr>
                                        <p:cTn id="40" dur="1" fill="hold">
                                          <p:stCondLst>
                                            <p:cond delay="0"/>
                                          </p:stCondLst>
                                        </p:cTn>
                                        <p:tgtEl>
                                          <p:spTgt spid="65"/>
                                        </p:tgtEl>
                                        <p:attrNameLst>
                                          <p:attrName>style.visibility</p:attrName>
                                        </p:attrNameLst>
                                      </p:cBhvr>
                                      <p:to>
                                        <p:strVal val="visible"/>
                                      </p:to>
                                    </p:set>
                                    <p:animEffect transition="in" filter="wipe(left)">
                                      <p:cBhvr>
                                        <p:cTn id="41" dur="500"/>
                                        <p:tgtEl>
                                          <p:spTgt spid="65"/>
                                        </p:tgtEl>
                                      </p:cBhvr>
                                    </p:animEffect>
                                  </p:childTnLst>
                                </p:cTn>
                              </p:par>
                              <p:par>
                                <p:cTn id="42" presetID="22" presetClass="entr" presetSubtype="4" fill="hold" nodeType="withEffect">
                                  <p:stCondLst>
                                    <p:cond delay="0"/>
                                  </p:stCondLst>
                                  <p:childTnLst>
                                    <p:set>
                                      <p:cBhvr>
                                        <p:cTn id="43" dur="1" fill="hold">
                                          <p:stCondLst>
                                            <p:cond delay="0"/>
                                          </p:stCondLst>
                                        </p:cTn>
                                        <p:tgtEl>
                                          <p:spTgt spid="112"/>
                                        </p:tgtEl>
                                        <p:attrNameLst>
                                          <p:attrName>style.visibility</p:attrName>
                                        </p:attrNameLst>
                                      </p:cBhvr>
                                      <p:to>
                                        <p:strVal val="visible"/>
                                      </p:to>
                                    </p:set>
                                    <p:animEffect transition="in" filter="wipe(down)">
                                      <p:cBhvr>
                                        <p:cTn id="44" dur="500"/>
                                        <p:tgtEl>
                                          <p:spTgt spid="112"/>
                                        </p:tgtEl>
                                      </p:cBhvr>
                                    </p:animEffect>
                                  </p:childTnLst>
                                </p:cTn>
                              </p:par>
                              <p:par>
                                <p:cTn id="45" presetID="22" presetClass="entr" presetSubtype="2" fill="hold" nodeType="withEffect">
                                  <p:stCondLst>
                                    <p:cond delay="0"/>
                                  </p:stCondLst>
                                  <p:childTnLst>
                                    <p:set>
                                      <p:cBhvr>
                                        <p:cTn id="46" dur="1" fill="hold">
                                          <p:stCondLst>
                                            <p:cond delay="0"/>
                                          </p:stCondLst>
                                        </p:cTn>
                                        <p:tgtEl>
                                          <p:spTgt spid="73"/>
                                        </p:tgtEl>
                                        <p:attrNameLst>
                                          <p:attrName>style.visibility</p:attrName>
                                        </p:attrNameLst>
                                      </p:cBhvr>
                                      <p:to>
                                        <p:strVal val="visible"/>
                                      </p:to>
                                    </p:set>
                                    <p:animEffect transition="in" filter="wipe(right)">
                                      <p:cBhvr>
                                        <p:cTn id="47" dur="500"/>
                                        <p:tgtEl>
                                          <p:spTgt spid="73"/>
                                        </p:tgtEl>
                                      </p:cBhvr>
                                    </p:animEffect>
                                  </p:childTnLst>
                                </p:cTn>
                              </p:par>
                              <p:par>
                                <p:cTn id="48" presetID="53" presetClass="entr" presetSubtype="16" fill="hold" grpId="0" nodeType="withEffect">
                                  <p:stCondLst>
                                    <p:cond delay="0"/>
                                  </p:stCondLst>
                                  <p:childTnLst>
                                    <p:set>
                                      <p:cBhvr>
                                        <p:cTn id="49" dur="1" fill="hold">
                                          <p:stCondLst>
                                            <p:cond delay="0"/>
                                          </p:stCondLst>
                                        </p:cTn>
                                        <p:tgtEl>
                                          <p:spTgt spid="72"/>
                                        </p:tgtEl>
                                        <p:attrNameLst>
                                          <p:attrName>style.visibility</p:attrName>
                                        </p:attrNameLst>
                                      </p:cBhvr>
                                      <p:to>
                                        <p:strVal val="visible"/>
                                      </p:to>
                                    </p:set>
                                    <p:anim calcmode="lin" valueType="num">
                                      <p:cBhvr>
                                        <p:cTn id="50" dur="500" fill="hold"/>
                                        <p:tgtEl>
                                          <p:spTgt spid="72"/>
                                        </p:tgtEl>
                                        <p:attrNameLst>
                                          <p:attrName>ppt_w</p:attrName>
                                        </p:attrNameLst>
                                      </p:cBhvr>
                                      <p:tavLst>
                                        <p:tav tm="0">
                                          <p:val>
                                            <p:fltVal val="0"/>
                                          </p:val>
                                        </p:tav>
                                        <p:tav tm="100000">
                                          <p:val>
                                            <p:strVal val="#ppt_w"/>
                                          </p:val>
                                        </p:tav>
                                      </p:tavLst>
                                    </p:anim>
                                    <p:anim calcmode="lin" valueType="num">
                                      <p:cBhvr>
                                        <p:cTn id="51" dur="500" fill="hold"/>
                                        <p:tgtEl>
                                          <p:spTgt spid="72"/>
                                        </p:tgtEl>
                                        <p:attrNameLst>
                                          <p:attrName>ppt_h</p:attrName>
                                        </p:attrNameLst>
                                      </p:cBhvr>
                                      <p:tavLst>
                                        <p:tav tm="0">
                                          <p:val>
                                            <p:fltVal val="0"/>
                                          </p:val>
                                        </p:tav>
                                        <p:tav tm="100000">
                                          <p:val>
                                            <p:strVal val="#ppt_h"/>
                                          </p:val>
                                        </p:tav>
                                      </p:tavLst>
                                    </p:anim>
                                    <p:animEffect transition="in" filter="fade">
                                      <p:cBhvr>
                                        <p:cTn id="52" dur="500"/>
                                        <p:tgtEl>
                                          <p:spTgt spid="72"/>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110"/>
                                        </p:tgtEl>
                                        <p:attrNameLst>
                                          <p:attrName>style.visibility</p:attrName>
                                        </p:attrNameLst>
                                      </p:cBhvr>
                                      <p:to>
                                        <p:strVal val="visible"/>
                                      </p:to>
                                    </p:set>
                                    <p:anim calcmode="lin" valueType="num">
                                      <p:cBhvr>
                                        <p:cTn id="55" dur="500" fill="hold"/>
                                        <p:tgtEl>
                                          <p:spTgt spid="110"/>
                                        </p:tgtEl>
                                        <p:attrNameLst>
                                          <p:attrName>ppt_w</p:attrName>
                                        </p:attrNameLst>
                                      </p:cBhvr>
                                      <p:tavLst>
                                        <p:tav tm="0">
                                          <p:val>
                                            <p:fltVal val="0"/>
                                          </p:val>
                                        </p:tav>
                                        <p:tav tm="100000">
                                          <p:val>
                                            <p:strVal val="#ppt_w"/>
                                          </p:val>
                                        </p:tav>
                                      </p:tavLst>
                                    </p:anim>
                                    <p:anim calcmode="lin" valueType="num">
                                      <p:cBhvr>
                                        <p:cTn id="56" dur="500" fill="hold"/>
                                        <p:tgtEl>
                                          <p:spTgt spid="110"/>
                                        </p:tgtEl>
                                        <p:attrNameLst>
                                          <p:attrName>ppt_h</p:attrName>
                                        </p:attrNameLst>
                                      </p:cBhvr>
                                      <p:tavLst>
                                        <p:tav tm="0">
                                          <p:val>
                                            <p:fltVal val="0"/>
                                          </p:val>
                                        </p:tav>
                                        <p:tav tm="100000">
                                          <p:val>
                                            <p:strVal val="#ppt_h"/>
                                          </p:val>
                                        </p:tav>
                                      </p:tavLst>
                                    </p:anim>
                                    <p:animEffect transition="in" filter="fade">
                                      <p:cBhvr>
                                        <p:cTn id="57" dur="500"/>
                                        <p:tgtEl>
                                          <p:spTgt spid="110"/>
                                        </p:tgtEl>
                                      </p:cBhvr>
                                    </p:animEffect>
                                  </p:childTnLst>
                                </p:cTn>
                              </p:par>
                              <p:par>
                                <p:cTn id="58" presetID="53" presetClass="entr" presetSubtype="16" fill="hold" grpId="0" nodeType="withEffect">
                                  <p:stCondLst>
                                    <p:cond delay="0"/>
                                  </p:stCondLst>
                                  <p:childTnLst>
                                    <p:set>
                                      <p:cBhvr>
                                        <p:cTn id="59" dur="1" fill="hold">
                                          <p:stCondLst>
                                            <p:cond delay="0"/>
                                          </p:stCondLst>
                                        </p:cTn>
                                        <p:tgtEl>
                                          <p:spTgt spid="64"/>
                                        </p:tgtEl>
                                        <p:attrNameLst>
                                          <p:attrName>style.visibility</p:attrName>
                                        </p:attrNameLst>
                                      </p:cBhvr>
                                      <p:to>
                                        <p:strVal val="visible"/>
                                      </p:to>
                                    </p:set>
                                    <p:anim calcmode="lin" valueType="num">
                                      <p:cBhvr>
                                        <p:cTn id="60" dur="500" fill="hold"/>
                                        <p:tgtEl>
                                          <p:spTgt spid="64"/>
                                        </p:tgtEl>
                                        <p:attrNameLst>
                                          <p:attrName>ppt_w</p:attrName>
                                        </p:attrNameLst>
                                      </p:cBhvr>
                                      <p:tavLst>
                                        <p:tav tm="0">
                                          <p:val>
                                            <p:fltVal val="0"/>
                                          </p:val>
                                        </p:tav>
                                        <p:tav tm="100000">
                                          <p:val>
                                            <p:strVal val="#ppt_w"/>
                                          </p:val>
                                        </p:tav>
                                      </p:tavLst>
                                    </p:anim>
                                    <p:anim calcmode="lin" valueType="num">
                                      <p:cBhvr>
                                        <p:cTn id="61" dur="500" fill="hold"/>
                                        <p:tgtEl>
                                          <p:spTgt spid="64"/>
                                        </p:tgtEl>
                                        <p:attrNameLst>
                                          <p:attrName>ppt_h</p:attrName>
                                        </p:attrNameLst>
                                      </p:cBhvr>
                                      <p:tavLst>
                                        <p:tav tm="0">
                                          <p:val>
                                            <p:fltVal val="0"/>
                                          </p:val>
                                        </p:tav>
                                        <p:tav tm="100000">
                                          <p:val>
                                            <p:strVal val="#ppt_h"/>
                                          </p:val>
                                        </p:tav>
                                      </p:tavLst>
                                    </p:anim>
                                    <p:animEffect transition="in" filter="fade">
                                      <p:cBhvr>
                                        <p:cTn id="62" dur="500"/>
                                        <p:tgtEl>
                                          <p:spTgt spid="64"/>
                                        </p:tgtEl>
                                      </p:cBhvr>
                                    </p:animEffect>
                                  </p:childTnLst>
                                </p:cTn>
                              </p:par>
                              <p:par>
                                <p:cTn id="63" presetID="53" presetClass="entr" presetSubtype="16" fill="hold" grpId="0" nodeType="withEffect">
                                  <p:stCondLst>
                                    <p:cond delay="0"/>
                                  </p:stCondLst>
                                  <p:childTnLst>
                                    <p:set>
                                      <p:cBhvr>
                                        <p:cTn id="64" dur="1" fill="hold">
                                          <p:stCondLst>
                                            <p:cond delay="0"/>
                                          </p:stCondLst>
                                        </p:cTn>
                                        <p:tgtEl>
                                          <p:spTgt spid="78"/>
                                        </p:tgtEl>
                                        <p:attrNameLst>
                                          <p:attrName>style.visibility</p:attrName>
                                        </p:attrNameLst>
                                      </p:cBhvr>
                                      <p:to>
                                        <p:strVal val="visible"/>
                                      </p:to>
                                    </p:set>
                                    <p:anim calcmode="lin" valueType="num">
                                      <p:cBhvr>
                                        <p:cTn id="65" dur="500" fill="hold"/>
                                        <p:tgtEl>
                                          <p:spTgt spid="78"/>
                                        </p:tgtEl>
                                        <p:attrNameLst>
                                          <p:attrName>ppt_w</p:attrName>
                                        </p:attrNameLst>
                                      </p:cBhvr>
                                      <p:tavLst>
                                        <p:tav tm="0">
                                          <p:val>
                                            <p:fltVal val="0"/>
                                          </p:val>
                                        </p:tav>
                                        <p:tav tm="100000">
                                          <p:val>
                                            <p:strVal val="#ppt_w"/>
                                          </p:val>
                                        </p:tav>
                                      </p:tavLst>
                                    </p:anim>
                                    <p:anim calcmode="lin" valueType="num">
                                      <p:cBhvr>
                                        <p:cTn id="66" dur="500" fill="hold"/>
                                        <p:tgtEl>
                                          <p:spTgt spid="78"/>
                                        </p:tgtEl>
                                        <p:attrNameLst>
                                          <p:attrName>ppt_h</p:attrName>
                                        </p:attrNameLst>
                                      </p:cBhvr>
                                      <p:tavLst>
                                        <p:tav tm="0">
                                          <p:val>
                                            <p:fltVal val="0"/>
                                          </p:val>
                                        </p:tav>
                                        <p:tav tm="100000">
                                          <p:val>
                                            <p:strVal val="#ppt_h"/>
                                          </p:val>
                                        </p:tav>
                                      </p:tavLst>
                                    </p:anim>
                                    <p:animEffect transition="in" filter="fade">
                                      <p:cBhvr>
                                        <p:cTn id="67" dur="500"/>
                                        <p:tgtEl>
                                          <p:spTgt spid="78"/>
                                        </p:tgtEl>
                                      </p:cBhvr>
                                    </p:animEffect>
                                  </p:childTnLst>
                                </p:cTn>
                              </p:par>
                              <p:par>
                                <p:cTn id="68" presetID="53" presetClass="entr" presetSubtype="16" fill="hold" grpId="0" nodeType="withEffect">
                                  <p:stCondLst>
                                    <p:cond delay="0"/>
                                  </p:stCondLst>
                                  <p:childTnLst>
                                    <p:set>
                                      <p:cBhvr>
                                        <p:cTn id="69" dur="1" fill="hold">
                                          <p:stCondLst>
                                            <p:cond delay="0"/>
                                          </p:stCondLst>
                                        </p:cTn>
                                        <p:tgtEl>
                                          <p:spTgt spid="57"/>
                                        </p:tgtEl>
                                        <p:attrNameLst>
                                          <p:attrName>style.visibility</p:attrName>
                                        </p:attrNameLst>
                                      </p:cBhvr>
                                      <p:to>
                                        <p:strVal val="visible"/>
                                      </p:to>
                                    </p:set>
                                    <p:anim calcmode="lin" valueType="num">
                                      <p:cBhvr>
                                        <p:cTn id="70" dur="500" fill="hold"/>
                                        <p:tgtEl>
                                          <p:spTgt spid="57"/>
                                        </p:tgtEl>
                                        <p:attrNameLst>
                                          <p:attrName>ppt_w</p:attrName>
                                        </p:attrNameLst>
                                      </p:cBhvr>
                                      <p:tavLst>
                                        <p:tav tm="0">
                                          <p:val>
                                            <p:fltVal val="0"/>
                                          </p:val>
                                        </p:tav>
                                        <p:tav tm="100000">
                                          <p:val>
                                            <p:strVal val="#ppt_w"/>
                                          </p:val>
                                        </p:tav>
                                      </p:tavLst>
                                    </p:anim>
                                    <p:anim calcmode="lin" valueType="num">
                                      <p:cBhvr>
                                        <p:cTn id="71" dur="500" fill="hold"/>
                                        <p:tgtEl>
                                          <p:spTgt spid="57"/>
                                        </p:tgtEl>
                                        <p:attrNameLst>
                                          <p:attrName>ppt_h</p:attrName>
                                        </p:attrNameLst>
                                      </p:cBhvr>
                                      <p:tavLst>
                                        <p:tav tm="0">
                                          <p:val>
                                            <p:fltVal val="0"/>
                                          </p:val>
                                        </p:tav>
                                        <p:tav tm="100000">
                                          <p:val>
                                            <p:strVal val="#ppt_h"/>
                                          </p:val>
                                        </p:tav>
                                      </p:tavLst>
                                    </p:anim>
                                    <p:animEffect transition="in" filter="fade">
                                      <p:cBhvr>
                                        <p:cTn id="72" dur="500"/>
                                        <p:tgtEl>
                                          <p:spTgt spid="57"/>
                                        </p:tgtEl>
                                      </p:cBhvr>
                                    </p:animEffect>
                                  </p:childTnLst>
                                </p:cTn>
                              </p:par>
                              <p:par>
                                <p:cTn id="73" presetID="53" presetClass="entr" presetSubtype="16" fill="hold" grpId="0" nodeType="withEffect">
                                  <p:stCondLst>
                                    <p:cond delay="0"/>
                                  </p:stCondLst>
                                  <p:childTnLst>
                                    <p:set>
                                      <p:cBhvr>
                                        <p:cTn id="74" dur="1" fill="hold">
                                          <p:stCondLst>
                                            <p:cond delay="0"/>
                                          </p:stCondLst>
                                        </p:cTn>
                                        <p:tgtEl>
                                          <p:spTgt spid="2"/>
                                        </p:tgtEl>
                                        <p:attrNameLst>
                                          <p:attrName>style.visibility</p:attrName>
                                        </p:attrNameLst>
                                      </p:cBhvr>
                                      <p:to>
                                        <p:strVal val="visible"/>
                                      </p:to>
                                    </p:set>
                                    <p:anim calcmode="lin" valueType="num">
                                      <p:cBhvr>
                                        <p:cTn id="75" dur="500" fill="hold"/>
                                        <p:tgtEl>
                                          <p:spTgt spid="2"/>
                                        </p:tgtEl>
                                        <p:attrNameLst>
                                          <p:attrName>ppt_w</p:attrName>
                                        </p:attrNameLst>
                                      </p:cBhvr>
                                      <p:tavLst>
                                        <p:tav tm="0">
                                          <p:val>
                                            <p:fltVal val="0"/>
                                          </p:val>
                                        </p:tav>
                                        <p:tav tm="100000">
                                          <p:val>
                                            <p:strVal val="#ppt_w"/>
                                          </p:val>
                                        </p:tav>
                                      </p:tavLst>
                                    </p:anim>
                                    <p:anim calcmode="lin" valueType="num">
                                      <p:cBhvr>
                                        <p:cTn id="76" dur="500" fill="hold"/>
                                        <p:tgtEl>
                                          <p:spTgt spid="2"/>
                                        </p:tgtEl>
                                        <p:attrNameLst>
                                          <p:attrName>ppt_h</p:attrName>
                                        </p:attrNameLst>
                                      </p:cBhvr>
                                      <p:tavLst>
                                        <p:tav tm="0">
                                          <p:val>
                                            <p:fltVal val="0"/>
                                          </p:val>
                                        </p:tav>
                                        <p:tav tm="100000">
                                          <p:val>
                                            <p:strVal val="#ppt_h"/>
                                          </p:val>
                                        </p:tav>
                                      </p:tavLst>
                                    </p:anim>
                                    <p:animEffect transition="in" filter="fade">
                                      <p:cBhvr>
                                        <p:cTn id="77" dur="500"/>
                                        <p:tgtEl>
                                          <p:spTgt spid="2"/>
                                        </p:tgtEl>
                                      </p:cBhvr>
                                    </p:animEffect>
                                  </p:childTnLst>
                                </p:cTn>
                              </p:par>
                            </p:childTnLst>
                          </p:cTn>
                        </p:par>
                        <p:par>
                          <p:cTn id="78" fill="hold">
                            <p:stCondLst>
                              <p:cond delay="1250"/>
                            </p:stCondLst>
                            <p:childTnLst>
                              <p:par>
                                <p:cTn id="79" presetID="10" presetClass="entr" presetSubtype="0" fill="hold" grpId="0" nodeType="afterEffect">
                                  <p:stCondLst>
                                    <p:cond delay="0"/>
                                  </p:stCondLst>
                                  <p:childTnLst>
                                    <p:set>
                                      <p:cBhvr>
                                        <p:cTn id="80" dur="1" fill="hold">
                                          <p:stCondLst>
                                            <p:cond delay="0"/>
                                          </p:stCondLst>
                                        </p:cTn>
                                        <p:tgtEl>
                                          <p:spTgt spid="103"/>
                                        </p:tgtEl>
                                        <p:attrNameLst>
                                          <p:attrName>style.visibility</p:attrName>
                                        </p:attrNameLst>
                                      </p:cBhvr>
                                      <p:to>
                                        <p:strVal val="visible"/>
                                      </p:to>
                                    </p:set>
                                    <p:animEffect transition="in" filter="fade">
                                      <p:cBhvr>
                                        <p:cTn id="81" dur="500"/>
                                        <p:tgtEl>
                                          <p:spTgt spid="103"/>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04"/>
                                        </p:tgtEl>
                                        <p:attrNameLst>
                                          <p:attrName>style.visibility</p:attrName>
                                        </p:attrNameLst>
                                      </p:cBhvr>
                                      <p:to>
                                        <p:strVal val="visible"/>
                                      </p:to>
                                    </p:set>
                                    <p:animEffect transition="in" filter="fade">
                                      <p:cBhvr>
                                        <p:cTn id="84" dur="500"/>
                                        <p:tgtEl>
                                          <p:spTgt spid="104"/>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108"/>
                                        </p:tgtEl>
                                        <p:attrNameLst>
                                          <p:attrName>style.visibility</p:attrName>
                                        </p:attrNameLst>
                                      </p:cBhvr>
                                      <p:to>
                                        <p:strVal val="visible"/>
                                      </p:to>
                                    </p:set>
                                    <p:animEffect transition="in" filter="fade">
                                      <p:cBhvr>
                                        <p:cTn id="87" dur="500"/>
                                        <p:tgtEl>
                                          <p:spTgt spid="108"/>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109"/>
                                        </p:tgtEl>
                                        <p:attrNameLst>
                                          <p:attrName>style.visibility</p:attrName>
                                        </p:attrNameLst>
                                      </p:cBhvr>
                                      <p:to>
                                        <p:strVal val="visible"/>
                                      </p:to>
                                    </p:set>
                                    <p:animEffect transition="in" filter="fade">
                                      <p:cBhvr>
                                        <p:cTn id="90" dur="500"/>
                                        <p:tgtEl>
                                          <p:spTgt spid="109"/>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111"/>
                                        </p:tgtEl>
                                        <p:attrNameLst>
                                          <p:attrName>style.visibility</p:attrName>
                                        </p:attrNameLst>
                                      </p:cBhvr>
                                      <p:to>
                                        <p:strVal val="visible"/>
                                      </p:to>
                                    </p:set>
                                    <p:animEffect transition="in" filter="fade">
                                      <p:cBhvr>
                                        <p:cTn id="93" dur="500"/>
                                        <p:tgtEl>
                                          <p:spTgt spid="111"/>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113"/>
                                        </p:tgtEl>
                                        <p:attrNameLst>
                                          <p:attrName>style.visibility</p:attrName>
                                        </p:attrNameLst>
                                      </p:cBhvr>
                                      <p:to>
                                        <p:strVal val="visible"/>
                                      </p:to>
                                    </p:set>
                                    <p:animEffect transition="in" filter="fade">
                                      <p:cBhvr>
                                        <p:cTn id="96" dur="500"/>
                                        <p:tgtEl>
                                          <p:spTgt spid="113"/>
                                        </p:tgtEl>
                                      </p:cBhvr>
                                    </p:animEffect>
                                  </p:childTnLst>
                                </p:cTn>
                              </p:par>
                              <p:par>
                                <p:cTn id="97" presetID="22" presetClass="entr" presetSubtype="2" fill="hold" nodeType="withEffect">
                                  <p:stCondLst>
                                    <p:cond delay="0"/>
                                  </p:stCondLst>
                                  <p:childTnLst>
                                    <p:set>
                                      <p:cBhvr>
                                        <p:cTn id="98" dur="1" fill="hold">
                                          <p:stCondLst>
                                            <p:cond delay="0"/>
                                          </p:stCondLst>
                                        </p:cTn>
                                        <p:tgtEl>
                                          <p:spTgt spid="93"/>
                                        </p:tgtEl>
                                        <p:attrNameLst>
                                          <p:attrName>style.visibility</p:attrName>
                                        </p:attrNameLst>
                                      </p:cBhvr>
                                      <p:to>
                                        <p:strVal val="visible"/>
                                      </p:to>
                                    </p:set>
                                    <p:animEffect transition="in" filter="wipe(right)">
                                      <p:cBhvr>
                                        <p:cTn id="99" dur="500"/>
                                        <p:tgtEl>
                                          <p:spTgt spid="93"/>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94"/>
                                        </p:tgtEl>
                                        <p:attrNameLst>
                                          <p:attrName>style.visibility</p:attrName>
                                        </p:attrNameLst>
                                      </p:cBhvr>
                                      <p:to>
                                        <p:strVal val="visible"/>
                                      </p:to>
                                    </p:set>
                                    <p:anim calcmode="lin" valueType="num">
                                      <p:cBhvr>
                                        <p:cTn id="102" dur="500" fill="hold"/>
                                        <p:tgtEl>
                                          <p:spTgt spid="94"/>
                                        </p:tgtEl>
                                        <p:attrNameLst>
                                          <p:attrName>ppt_w</p:attrName>
                                        </p:attrNameLst>
                                      </p:cBhvr>
                                      <p:tavLst>
                                        <p:tav tm="0">
                                          <p:val>
                                            <p:fltVal val="0"/>
                                          </p:val>
                                        </p:tav>
                                        <p:tav tm="100000">
                                          <p:val>
                                            <p:strVal val="#ppt_w"/>
                                          </p:val>
                                        </p:tav>
                                      </p:tavLst>
                                    </p:anim>
                                    <p:anim calcmode="lin" valueType="num">
                                      <p:cBhvr>
                                        <p:cTn id="103" dur="500" fill="hold"/>
                                        <p:tgtEl>
                                          <p:spTgt spid="94"/>
                                        </p:tgtEl>
                                        <p:attrNameLst>
                                          <p:attrName>ppt_h</p:attrName>
                                        </p:attrNameLst>
                                      </p:cBhvr>
                                      <p:tavLst>
                                        <p:tav tm="0">
                                          <p:val>
                                            <p:fltVal val="0"/>
                                          </p:val>
                                        </p:tav>
                                        <p:tav tm="100000">
                                          <p:val>
                                            <p:strVal val="#ppt_h"/>
                                          </p:val>
                                        </p:tav>
                                      </p:tavLst>
                                    </p:anim>
                                    <p:animEffect transition="in" filter="fade">
                                      <p:cBhvr>
                                        <p:cTn id="104" dur="500"/>
                                        <p:tgtEl>
                                          <p:spTgt spid="94"/>
                                        </p:tgtEl>
                                      </p:cBhvr>
                                    </p:animEffect>
                                  </p:childTnLst>
                                </p:cTn>
                              </p:par>
                            </p:childTnLst>
                          </p:cTn>
                        </p:par>
                        <p:par>
                          <p:cTn id="105" fill="hold">
                            <p:stCondLst>
                              <p:cond delay="1750"/>
                            </p:stCondLst>
                            <p:childTnLst>
                              <p:par>
                                <p:cTn id="106" presetID="10" presetClass="entr" presetSubtype="0" fill="hold" grpId="0" nodeType="afterEffect">
                                  <p:stCondLst>
                                    <p:cond delay="0"/>
                                  </p:stCondLst>
                                  <p:childTnLst>
                                    <p:set>
                                      <p:cBhvr>
                                        <p:cTn id="107" dur="1" fill="hold">
                                          <p:stCondLst>
                                            <p:cond delay="0"/>
                                          </p:stCondLst>
                                        </p:cTn>
                                        <p:tgtEl>
                                          <p:spTgt spid="77"/>
                                        </p:tgtEl>
                                        <p:attrNameLst>
                                          <p:attrName>style.visibility</p:attrName>
                                        </p:attrNameLst>
                                      </p:cBhvr>
                                      <p:to>
                                        <p:strVal val="visible"/>
                                      </p:to>
                                    </p:set>
                                    <p:animEffect transition="in" filter="fade">
                                      <p:cBhvr>
                                        <p:cTn id="108" dur="500"/>
                                        <p:tgtEl>
                                          <p:spTgt spid="77"/>
                                        </p:tgtEl>
                                      </p:cBhvr>
                                    </p:animEffect>
                                  </p:childTnLst>
                                </p:cTn>
                              </p:par>
                            </p:childTnLst>
                          </p:cTn>
                        </p:par>
                        <p:par>
                          <p:cTn id="109" fill="hold">
                            <p:stCondLst>
                              <p:cond delay="2250"/>
                            </p:stCondLst>
                            <p:childTnLst>
                              <p:par>
                                <p:cTn id="110" presetID="10" presetClass="entr" presetSubtype="0" fill="hold" grpId="0" nodeType="afterEffect">
                                  <p:stCondLst>
                                    <p:cond delay="0"/>
                                  </p:stCondLst>
                                  <p:childTnLst>
                                    <p:set>
                                      <p:cBhvr>
                                        <p:cTn id="111" dur="1" fill="hold">
                                          <p:stCondLst>
                                            <p:cond delay="0"/>
                                          </p:stCondLst>
                                        </p:cTn>
                                        <p:tgtEl>
                                          <p:spTgt spid="81"/>
                                        </p:tgtEl>
                                        <p:attrNameLst>
                                          <p:attrName>style.visibility</p:attrName>
                                        </p:attrNameLst>
                                      </p:cBhvr>
                                      <p:to>
                                        <p:strVal val="visible"/>
                                      </p:to>
                                    </p:set>
                                    <p:animEffect transition="in" filter="fade">
                                      <p:cBhvr>
                                        <p:cTn id="112" dur="500"/>
                                        <p:tgtEl>
                                          <p:spTgt spid="81"/>
                                        </p:tgtEl>
                                      </p:cBhvr>
                                    </p:animEffect>
                                  </p:childTnLst>
                                </p:cTn>
                              </p:par>
                            </p:childTnLst>
                          </p:cTn>
                        </p:par>
                        <p:par>
                          <p:cTn id="113" fill="hold">
                            <p:stCondLst>
                              <p:cond delay="2750"/>
                            </p:stCondLst>
                            <p:childTnLst>
                              <p:par>
                                <p:cTn id="114" presetID="17" presetClass="entr" presetSubtype="8" fill="hold" nodeType="afterEffect">
                                  <p:stCondLst>
                                    <p:cond delay="0"/>
                                  </p:stCondLst>
                                  <p:childTnLst>
                                    <p:set>
                                      <p:cBhvr>
                                        <p:cTn id="115" dur="1" fill="hold">
                                          <p:stCondLst>
                                            <p:cond delay="0"/>
                                          </p:stCondLst>
                                        </p:cTn>
                                        <p:tgtEl>
                                          <p:spTgt spid="82"/>
                                        </p:tgtEl>
                                        <p:attrNameLst>
                                          <p:attrName>style.visibility</p:attrName>
                                        </p:attrNameLst>
                                      </p:cBhvr>
                                      <p:to>
                                        <p:strVal val="visible"/>
                                      </p:to>
                                    </p:set>
                                    <p:anim calcmode="lin" valueType="num">
                                      <p:cBhvr>
                                        <p:cTn id="116" dur="250" fill="hold"/>
                                        <p:tgtEl>
                                          <p:spTgt spid="82"/>
                                        </p:tgtEl>
                                        <p:attrNameLst>
                                          <p:attrName>ppt_x</p:attrName>
                                        </p:attrNameLst>
                                      </p:cBhvr>
                                      <p:tavLst>
                                        <p:tav tm="0">
                                          <p:val>
                                            <p:strVal val="#ppt_x-#ppt_w/2"/>
                                          </p:val>
                                        </p:tav>
                                        <p:tav tm="100000">
                                          <p:val>
                                            <p:strVal val="#ppt_x"/>
                                          </p:val>
                                        </p:tav>
                                      </p:tavLst>
                                    </p:anim>
                                    <p:anim calcmode="lin" valueType="num">
                                      <p:cBhvr>
                                        <p:cTn id="117" dur="250" fill="hold"/>
                                        <p:tgtEl>
                                          <p:spTgt spid="82"/>
                                        </p:tgtEl>
                                        <p:attrNameLst>
                                          <p:attrName>ppt_y</p:attrName>
                                        </p:attrNameLst>
                                      </p:cBhvr>
                                      <p:tavLst>
                                        <p:tav tm="0">
                                          <p:val>
                                            <p:strVal val="#ppt_y"/>
                                          </p:val>
                                        </p:tav>
                                        <p:tav tm="100000">
                                          <p:val>
                                            <p:strVal val="#ppt_y"/>
                                          </p:val>
                                        </p:tav>
                                      </p:tavLst>
                                    </p:anim>
                                    <p:anim calcmode="lin" valueType="num">
                                      <p:cBhvr>
                                        <p:cTn id="118" dur="250" fill="hold"/>
                                        <p:tgtEl>
                                          <p:spTgt spid="82"/>
                                        </p:tgtEl>
                                        <p:attrNameLst>
                                          <p:attrName>ppt_w</p:attrName>
                                        </p:attrNameLst>
                                      </p:cBhvr>
                                      <p:tavLst>
                                        <p:tav tm="0">
                                          <p:val>
                                            <p:fltVal val="0"/>
                                          </p:val>
                                        </p:tav>
                                        <p:tav tm="100000">
                                          <p:val>
                                            <p:strVal val="#ppt_w"/>
                                          </p:val>
                                        </p:tav>
                                      </p:tavLst>
                                    </p:anim>
                                    <p:anim calcmode="lin" valueType="num">
                                      <p:cBhvr>
                                        <p:cTn id="119" dur="250" fill="hold"/>
                                        <p:tgtEl>
                                          <p:spTgt spid="82"/>
                                        </p:tgtEl>
                                        <p:attrNameLst>
                                          <p:attrName>ppt_h</p:attrName>
                                        </p:attrNameLst>
                                      </p:cBhvr>
                                      <p:tavLst>
                                        <p:tav tm="0">
                                          <p:val>
                                            <p:strVal val="#ppt_h"/>
                                          </p:val>
                                        </p:tav>
                                        <p:tav tm="100000">
                                          <p:val>
                                            <p:strVal val="#ppt_h"/>
                                          </p:val>
                                        </p:tav>
                                      </p:tavLst>
                                    </p:anim>
                                  </p:childTnLst>
                                </p:cTn>
                              </p:par>
                              <p:par>
                                <p:cTn id="120" presetID="6" presetClass="emph" presetSubtype="0" accel="100000" autoRev="1" fill="hold" nodeType="withEffect">
                                  <p:stCondLst>
                                    <p:cond delay="0"/>
                                  </p:stCondLst>
                                  <p:childTnLst>
                                    <p:animScale>
                                      <p:cBhvr>
                                        <p:cTn id="121" dur="250" fill="hold"/>
                                        <p:tgtEl>
                                          <p:spTgt spid="82"/>
                                        </p:tgtEl>
                                      </p:cBhvr>
                                      <p:by x="115000" y="100000"/>
                                    </p:animScale>
                                  </p:childTnLst>
                                </p:cTn>
                              </p:par>
                            </p:childTnLst>
                          </p:cTn>
                        </p:par>
                        <p:par>
                          <p:cTn id="122" fill="hold">
                            <p:stCondLst>
                              <p:cond delay="3250"/>
                            </p:stCondLst>
                            <p:childTnLst>
                              <p:par>
                                <p:cTn id="123" presetID="10" presetClass="entr" presetSubtype="0" fill="hold" grpId="0" nodeType="afterEffect">
                                  <p:stCondLst>
                                    <p:cond delay="0"/>
                                  </p:stCondLst>
                                  <p:childTnLst>
                                    <p:set>
                                      <p:cBhvr>
                                        <p:cTn id="124" dur="1" fill="hold">
                                          <p:stCondLst>
                                            <p:cond delay="0"/>
                                          </p:stCondLst>
                                        </p:cTn>
                                        <p:tgtEl>
                                          <p:spTgt spid="100"/>
                                        </p:tgtEl>
                                        <p:attrNameLst>
                                          <p:attrName>style.visibility</p:attrName>
                                        </p:attrNameLst>
                                      </p:cBhvr>
                                      <p:to>
                                        <p:strVal val="visible"/>
                                      </p:to>
                                    </p:set>
                                    <p:animEffect transition="in" filter="fade">
                                      <p:cBhvr>
                                        <p:cTn id="125" dur="500"/>
                                        <p:tgtEl>
                                          <p:spTgt spid="100"/>
                                        </p:tgtEl>
                                      </p:cBhvr>
                                    </p:animEffect>
                                  </p:childTnLst>
                                </p:cTn>
                              </p:par>
                            </p:childTnLst>
                          </p:cTn>
                        </p:par>
                        <p:par>
                          <p:cTn id="126" fill="hold">
                            <p:stCondLst>
                              <p:cond delay="3750"/>
                            </p:stCondLst>
                            <p:childTnLst>
                              <p:par>
                                <p:cTn id="127" presetID="10" presetClass="entr" presetSubtype="0" fill="hold" grpId="0" nodeType="afterEffect">
                                  <p:stCondLst>
                                    <p:cond delay="0"/>
                                  </p:stCondLst>
                                  <p:childTnLst>
                                    <p:set>
                                      <p:cBhvr>
                                        <p:cTn id="128" dur="1" fill="hold">
                                          <p:stCondLst>
                                            <p:cond delay="0"/>
                                          </p:stCondLst>
                                        </p:cTn>
                                        <p:tgtEl>
                                          <p:spTgt spid="107"/>
                                        </p:tgtEl>
                                        <p:attrNameLst>
                                          <p:attrName>style.visibility</p:attrName>
                                        </p:attrNameLst>
                                      </p:cBhvr>
                                      <p:to>
                                        <p:strVal val="visible"/>
                                      </p:to>
                                    </p:set>
                                    <p:animEffect transition="in" filter="fade">
                                      <p:cBhvr>
                                        <p:cTn id="129" dur="500"/>
                                        <p:tgtEl>
                                          <p:spTgt spid="107"/>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131"/>
                                        </p:tgtEl>
                                        <p:attrNameLst>
                                          <p:attrName>style.visibility</p:attrName>
                                        </p:attrNameLst>
                                      </p:cBhvr>
                                      <p:to>
                                        <p:strVal val="visible"/>
                                      </p:to>
                                    </p:set>
                                    <p:animEffect transition="in" filter="fade">
                                      <p:cBhvr>
                                        <p:cTn id="132" dur="500"/>
                                        <p:tgtEl>
                                          <p:spTgt spid="131"/>
                                        </p:tgtEl>
                                      </p:cBhvr>
                                    </p:animEffect>
                                  </p:childTnLst>
                                </p:cTn>
                              </p:par>
                            </p:childTnLst>
                          </p:cTn>
                        </p:par>
                        <p:par>
                          <p:cTn id="133" fill="hold">
                            <p:stCondLst>
                              <p:cond delay="4250"/>
                            </p:stCondLst>
                            <p:childTnLst>
                              <p:par>
                                <p:cTn id="134" presetID="17" presetClass="entr" presetSubtype="8" fill="hold" nodeType="afterEffect">
                                  <p:stCondLst>
                                    <p:cond delay="0"/>
                                  </p:stCondLst>
                                  <p:childTnLst>
                                    <p:set>
                                      <p:cBhvr>
                                        <p:cTn id="135" dur="1" fill="hold">
                                          <p:stCondLst>
                                            <p:cond delay="0"/>
                                          </p:stCondLst>
                                        </p:cTn>
                                        <p:tgtEl>
                                          <p:spTgt spid="127"/>
                                        </p:tgtEl>
                                        <p:attrNameLst>
                                          <p:attrName>style.visibility</p:attrName>
                                        </p:attrNameLst>
                                      </p:cBhvr>
                                      <p:to>
                                        <p:strVal val="visible"/>
                                      </p:to>
                                    </p:set>
                                    <p:anim calcmode="lin" valueType="num">
                                      <p:cBhvr>
                                        <p:cTn id="136" dur="250" fill="hold"/>
                                        <p:tgtEl>
                                          <p:spTgt spid="127"/>
                                        </p:tgtEl>
                                        <p:attrNameLst>
                                          <p:attrName>ppt_x</p:attrName>
                                        </p:attrNameLst>
                                      </p:cBhvr>
                                      <p:tavLst>
                                        <p:tav tm="0">
                                          <p:val>
                                            <p:strVal val="#ppt_x-#ppt_w/2"/>
                                          </p:val>
                                        </p:tav>
                                        <p:tav tm="100000">
                                          <p:val>
                                            <p:strVal val="#ppt_x"/>
                                          </p:val>
                                        </p:tav>
                                      </p:tavLst>
                                    </p:anim>
                                    <p:anim calcmode="lin" valueType="num">
                                      <p:cBhvr>
                                        <p:cTn id="137" dur="250" fill="hold"/>
                                        <p:tgtEl>
                                          <p:spTgt spid="127"/>
                                        </p:tgtEl>
                                        <p:attrNameLst>
                                          <p:attrName>ppt_y</p:attrName>
                                        </p:attrNameLst>
                                      </p:cBhvr>
                                      <p:tavLst>
                                        <p:tav tm="0">
                                          <p:val>
                                            <p:strVal val="#ppt_y"/>
                                          </p:val>
                                        </p:tav>
                                        <p:tav tm="100000">
                                          <p:val>
                                            <p:strVal val="#ppt_y"/>
                                          </p:val>
                                        </p:tav>
                                      </p:tavLst>
                                    </p:anim>
                                    <p:anim calcmode="lin" valueType="num">
                                      <p:cBhvr>
                                        <p:cTn id="138" dur="250" fill="hold"/>
                                        <p:tgtEl>
                                          <p:spTgt spid="127"/>
                                        </p:tgtEl>
                                        <p:attrNameLst>
                                          <p:attrName>ppt_w</p:attrName>
                                        </p:attrNameLst>
                                      </p:cBhvr>
                                      <p:tavLst>
                                        <p:tav tm="0">
                                          <p:val>
                                            <p:fltVal val="0"/>
                                          </p:val>
                                        </p:tav>
                                        <p:tav tm="100000">
                                          <p:val>
                                            <p:strVal val="#ppt_w"/>
                                          </p:val>
                                        </p:tav>
                                      </p:tavLst>
                                    </p:anim>
                                    <p:anim calcmode="lin" valueType="num">
                                      <p:cBhvr>
                                        <p:cTn id="139" dur="250" fill="hold"/>
                                        <p:tgtEl>
                                          <p:spTgt spid="127"/>
                                        </p:tgtEl>
                                        <p:attrNameLst>
                                          <p:attrName>ppt_h</p:attrName>
                                        </p:attrNameLst>
                                      </p:cBhvr>
                                      <p:tavLst>
                                        <p:tav tm="0">
                                          <p:val>
                                            <p:strVal val="#ppt_h"/>
                                          </p:val>
                                        </p:tav>
                                        <p:tav tm="100000">
                                          <p:val>
                                            <p:strVal val="#ppt_h"/>
                                          </p:val>
                                        </p:tav>
                                      </p:tavLst>
                                    </p:anim>
                                  </p:childTnLst>
                                </p:cTn>
                              </p:par>
                              <p:par>
                                <p:cTn id="140" presetID="6" presetClass="emph" presetSubtype="0" accel="100000" autoRev="1" fill="hold" nodeType="withEffect">
                                  <p:stCondLst>
                                    <p:cond delay="0"/>
                                  </p:stCondLst>
                                  <p:childTnLst>
                                    <p:animScale>
                                      <p:cBhvr>
                                        <p:cTn id="141" dur="250" fill="hold"/>
                                        <p:tgtEl>
                                          <p:spTgt spid="127"/>
                                        </p:tgtEl>
                                      </p:cBhvr>
                                      <p:by x="115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10" grpId="0" animBg="1"/>
      <p:bldP spid="57" grpId="0" animBg="1"/>
      <p:bldP spid="64" grpId="0" animBg="1"/>
      <p:bldP spid="72" grpId="0" animBg="1"/>
      <p:bldP spid="78" grpId="0" animBg="1"/>
      <p:bldP spid="104" grpId="0"/>
      <p:bldP spid="108" grpId="0"/>
      <p:bldP spid="109" grpId="0"/>
      <p:bldP spid="111" grpId="0"/>
      <p:bldP spid="113" grpId="0"/>
      <p:bldP spid="94" grpId="0" animBg="1"/>
      <p:bldP spid="77" grpId="0" animBg="1"/>
      <p:bldP spid="81" grpId="0" animBg="1"/>
      <p:bldP spid="100" grpId="0" animBg="1"/>
      <p:bldP spid="107" grpId="0" animBg="1"/>
      <p:bldP spid="131" grpId="0" animBg="1"/>
      <p:bldP spid="10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p:spPr>
        <p:txBody>
          <a:bodyPr>
            <a:noAutofit/>
          </a:bodyPr>
          <a:lstStyle/>
          <a:p>
            <a:r>
              <a:rPr lang="en-US" dirty="0"/>
              <a:t>SMART DIGITAL INFRASTRUCTURE:</a:t>
            </a:r>
            <a:br>
              <a:rPr lang="en-US" b="0" dirty="0"/>
            </a:br>
            <a:r>
              <a:rPr lang="en-US" b="0" dirty="0"/>
              <a:t>PORT COMMUNITY SYSTEM</a:t>
            </a:r>
            <a:br>
              <a:rPr lang="en-US" b="0" dirty="0"/>
            </a:br>
            <a:endParaRPr lang="en-US" dirty="0"/>
          </a:p>
        </p:txBody>
      </p:sp>
      <p:sp>
        <p:nvSpPr>
          <p:cNvPr id="4" name="Text Placeholder 3"/>
          <p:cNvSpPr>
            <a:spLocks noGrp="1"/>
          </p:cNvSpPr>
          <p:nvPr>
            <p:ph type="body" orient="vert" idx="1"/>
          </p:nvPr>
        </p:nvSpPr>
        <p:spPr/>
        <p:txBody>
          <a:bodyPr/>
          <a:lstStyle/>
          <a:p>
            <a:pPr marL="342900" indent="-342900">
              <a:buSzPct val="100000"/>
              <a:buFont typeface="Arial" panose="020B0604020202020204" pitchFamily="34" charset="0"/>
              <a:buChar char="•"/>
            </a:pPr>
            <a:r>
              <a:rPr lang="en-US" b="1" dirty="0">
                <a:ea typeface="Futura Std Book" charset="0"/>
                <a:cs typeface="Futura Std Book" charset="0"/>
              </a:rPr>
              <a:t>Largest port community </a:t>
            </a:r>
            <a:r>
              <a:rPr lang="en-US" dirty="0">
                <a:ea typeface="Futura Std Book" charset="0"/>
                <a:cs typeface="Futura Std Book" charset="0"/>
              </a:rPr>
              <a:t>in Europe </a:t>
            </a:r>
          </a:p>
          <a:p>
            <a:pPr marL="380990" indent="-380990">
              <a:buSzPct val="100000"/>
              <a:buFont typeface="Arial" panose="020B0604020202020204" pitchFamily="34" charset="0"/>
              <a:buChar char="•"/>
            </a:pPr>
            <a:r>
              <a:rPr lang="en-US" b="1" dirty="0">
                <a:ea typeface="Futura Std Book" charset="0"/>
                <a:cs typeface="Futura Std Book" charset="0"/>
              </a:rPr>
              <a:t>Wide coverage </a:t>
            </a:r>
            <a:r>
              <a:rPr lang="en-US" dirty="0">
                <a:ea typeface="Futura Std Book" charset="0"/>
                <a:cs typeface="Futura Std Book" charset="0"/>
              </a:rPr>
              <a:t>throughout the chain: </a:t>
            </a:r>
          </a:p>
          <a:p>
            <a:pPr marL="736490" lvl="2" indent="-380990">
              <a:buSzPct val="100000"/>
            </a:pPr>
            <a:r>
              <a:rPr lang="en-US" sz="2000" dirty="0">
                <a:ea typeface="Futura Std Book" charset="0"/>
                <a:cs typeface="Futura Std Book" charset="0"/>
              </a:rPr>
              <a:t>90.000.000 messages</a:t>
            </a:r>
          </a:p>
          <a:p>
            <a:pPr marL="736490" lvl="2" indent="-380990">
              <a:buSzPct val="100000"/>
            </a:pPr>
            <a:r>
              <a:rPr lang="en-US" sz="2000" dirty="0">
                <a:ea typeface="Futura Std Book" charset="0"/>
                <a:cs typeface="Futura Std Book" charset="0"/>
              </a:rPr>
              <a:t>&gt; 4.500 companies</a:t>
            </a:r>
          </a:p>
          <a:p>
            <a:pPr marL="736490" lvl="2" indent="-380990">
              <a:buSzPct val="100000"/>
            </a:pPr>
            <a:r>
              <a:rPr lang="en-US" sz="2000" dirty="0">
                <a:ea typeface="Futura Std Book" charset="0"/>
                <a:cs typeface="Futura Std Book" charset="0"/>
              </a:rPr>
              <a:t>&gt; 40 services</a:t>
            </a:r>
          </a:p>
          <a:p>
            <a:pPr marL="736490" lvl="2" indent="-380990">
              <a:buSzPct val="100000"/>
            </a:pPr>
            <a:r>
              <a:rPr lang="en-US" sz="2000" dirty="0">
                <a:ea typeface="Futura Std Book" charset="0"/>
                <a:cs typeface="Futura Std Book" charset="0"/>
              </a:rPr>
              <a:t>15.500 users</a:t>
            </a:r>
          </a:p>
          <a:p>
            <a:pPr marL="380990" indent="-380990">
              <a:buSzPct val="100000"/>
              <a:buFont typeface="Arial" panose="020B0604020202020204" pitchFamily="34" charset="0"/>
              <a:buChar char="•"/>
            </a:pPr>
            <a:r>
              <a:rPr lang="en-US" b="1" dirty="0">
                <a:ea typeface="Futura Std Book" charset="0"/>
                <a:cs typeface="Futura Std Book" charset="0"/>
              </a:rPr>
              <a:t>Digital </a:t>
            </a:r>
            <a:r>
              <a:rPr lang="en-US" dirty="0">
                <a:ea typeface="Futura Std Book" charset="0"/>
                <a:cs typeface="Futura Std Book" charset="0"/>
              </a:rPr>
              <a:t>connection and service provider 				           	                 between all parties involved</a:t>
            </a:r>
          </a:p>
          <a:p>
            <a:pPr marL="380990" indent="-380990">
              <a:buSzPct val="100000"/>
              <a:buFont typeface="Arial" panose="020B0604020202020204" pitchFamily="34" charset="0"/>
              <a:buChar char="•"/>
            </a:pPr>
            <a:r>
              <a:rPr lang="en-US" dirty="0">
                <a:ea typeface="Futura Std Book" charset="0"/>
                <a:cs typeface="Futura Std Book" charset="0"/>
              </a:rPr>
              <a:t>A </a:t>
            </a:r>
            <a:r>
              <a:rPr lang="en-US" b="1" dirty="0">
                <a:ea typeface="Futura Std Book" charset="0"/>
                <a:cs typeface="Futura Std Book" charset="0"/>
              </a:rPr>
              <a:t>one-stop-shop</a:t>
            </a:r>
            <a:r>
              <a:rPr lang="en-US" dirty="0">
                <a:ea typeface="Futura Std Book" charset="0"/>
                <a:cs typeface="Futura Std Book" charset="0"/>
              </a:rPr>
              <a:t> for logistic information exchange</a:t>
            </a:r>
          </a:p>
          <a:p>
            <a:endParaRPr lang="nl-NL" dirty="0">
              <a:ea typeface="Futura Std Book" charset="0"/>
              <a:cs typeface="Futura Std Book" charset="0"/>
            </a:endParaRPr>
          </a:p>
        </p:txBody>
      </p:sp>
      <p:pic>
        <p:nvPicPr>
          <p:cNvPr id="2" name="Picture 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115127" y="2027766"/>
            <a:ext cx="4607460" cy="3044760"/>
          </a:xfrm>
          <a:prstGeom prst="rect">
            <a:avLst/>
          </a:prstGeom>
        </p:spPr>
      </p:pic>
      <p:sp>
        <p:nvSpPr>
          <p:cNvPr id="5" name="Tijdelijke aanduiding voor datum 4">
            <a:extLst>
              <a:ext uri="{FF2B5EF4-FFF2-40B4-BE49-F238E27FC236}">
                <a16:creationId xmlns:a16="http://schemas.microsoft.com/office/drawing/2014/main" id="{F07A5DC3-E0C8-4D9B-A055-8EDA348FF9E6}"/>
              </a:ext>
            </a:extLst>
          </p:cNvPr>
          <p:cNvSpPr>
            <a:spLocks noGrp="1"/>
          </p:cNvSpPr>
          <p:nvPr>
            <p:ph type="dt" sz="half" idx="10"/>
          </p:nvPr>
        </p:nvSpPr>
        <p:spPr/>
        <p:txBody>
          <a:bodyPr/>
          <a:lstStyle/>
          <a:p>
            <a:fld id="{A05F9BD6-8B5C-42CD-ADA9-55320635CDE7}" type="datetime4">
              <a:rPr lang="en-GB" smtClean="0"/>
              <a:t>29 May 2020</a:t>
            </a:fld>
            <a:endParaRPr lang="en-GB" dirty="0"/>
          </a:p>
        </p:txBody>
      </p:sp>
      <p:sp>
        <p:nvSpPr>
          <p:cNvPr id="6" name="Tijdelijke aanduiding voor voettekst 5">
            <a:extLst>
              <a:ext uri="{FF2B5EF4-FFF2-40B4-BE49-F238E27FC236}">
                <a16:creationId xmlns:a16="http://schemas.microsoft.com/office/drawing/2014/main" id="{C510192E-5290-43EA-8A1D-B17C33D0225A}"/>
              </a:ext>
            </a:extLst>
          </p:cNvPr>
          <p:cNvSpPr>
            <a:spLocks noGrp="1"/>
          </p:cNvSpPr>
          <p:nvPr>
            <p:ph type="ftr" sz="quarter" idx="11"/>
          </p:nvPr>
        </p:nvSpPr>
        <p:spPr/>
        <p:txBody>
          <a:bodyPr/>
          <a:lstStyle/>
          <a:p>
            <a:r>
              <a:rPr lang="en-GB"/>
              <a:t>|</a:t>
            </a:r>
            <a:endParaRPr lang="en-GB" dirty="0"/>
          </a:p>
        </p:txBody>
      </p:sp>
      <p:sp>
        <p:nvSpPr>
          <p:cNvPr id="7" name="Tijdelijke aanduiding voor dianummer 6">
            <a:extLst>
              <a:ext uri="{FF2B5EF4-FFF2-40B4-BE49-F238E27FC236}">
                <a16:creationId xmlns:a16="http://schemas.microsoft.com/office/drawing/2014/main" id="{D6973E53-BA47-4552-AAFA-7BC61E753B95}"/>
              </a:ext>
            </a:extLst>
          </p:cNvPr>
          <p:cNvSpPr>
            <a:spLocks noGrp="1"/>
          </p:cNvSpPr>
          <p:nvPr>
            <p:ph type="sldNum" sz="quarter" idx="12"/>
          </p:nvPr>
        </p:nvSpPr>
        <p:spPr/>
        <p:txBody>
          <a:bodyPr/>
          <a:lstStyle/>
          <a:p>
            <a:fld id="{534B5F9C-CFE5-4EC6-9BBB-664E2F56B033}" type="slidenum">
              <a:rPr lang="en-GB" smtClean="0"/>
              <a:t>27</a:t>
            </a:fld>
            <a:endParaRPr lang="en-GB" dirty="0"/>
          </a:p>
        </p:txBody>
      </p:sp>
      <p:pic>
        <p:nvPicPr>
          <p:cNvPr id="8" name="Afbeelding 7">
            <a:extLst>
              <a:ext uri="{FF2B5EF4-FFF2-40B4-BE49-F238E27FC236}">
                <a16:creationId xmlns:a16="http://schemas.microsoft.com/office/drawing/2014/main" id="{E77F7ADD-F2C4-4D79-B501-549476816B03}"/>
              </a:ext>
            </a:extLst>
          </p:cNvPr>
          <p:cNvPicPr>
            <a:picLocks noChangeAspect="1"/>
          </p:cNvPicPr>
          <p:nvPr/>
        </p:nvPicPr>
        <p:blipFill>
          <a:blip r:embed="rId5"/>
          <a:stretch>
            <a:fillRect/>
          </a:stretch>
        </p:blipFill>
        <p:spPr>
          <a:xfrm>
            <a:off x="8922237" y="356679"/>
            <a:ext cx="2800350" cy="828675"/>
          </a:xfrm>
          <a:prstGeom prst="rect">
            <a:avLst/>
          </a:prstGeom>
        </p:spPr>
      </p:pic>
    </p:spTree>
    <p:custDataLst>
      <p:tags r:id="rId1"/>
    </p:custDataLst>
    <p:extLst>
      <p:ext uri="{BB962C8B-B14F-4D97-AF65-F5344CB8AC3E}">
        <p14:creationId xmlns:p14="http://schemas.microsoft.com/office/powerpoint/2010/main" val="15662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a14="http://schemas.microsoft.com/office/drawing/2010/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prstGeom prst="rect">
            <a:avLst/>
          </a:prstGeom>
        </p:spPr>
        <p:txBody>
          <a:bodyPr>
            <a:noAutofit/>
          </a:bodyPr>
          <a:lstStyle/>
          <a:p>
            <a:r>
              <a:rPr lang="nl-NL" dirty="0"/>
              <a:t>DUTCH CUSTOMS</a:t>
            </a:r>
            <a:br>
              <a:rPr lang="nl-NL" dirty="0"/>
            </a:br>
            <a:r>
              <a:rPr lang="nl-NL" b="0" dirty="0"/>
              <a:t>FACILITATING A SMOOTH SUPPLY CHAIN</a:t>
            </a:r>
            <a:endParaRPr lang="en-GB" b="0" dirty="0"/>
          </a:p>
        </p:txBody>
      </p:sp>
      <p:pic>
        <p:nvPicPr>
          <p:cNvPr id="11" name="Picture 3" descr="F:\CBL_S&amp;F\0.0 Algemeen\Presentations &amp; Fact Sheets\Illustraties los\infographic-los (18).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166013" y="1622412"/>
            <a:ext cx="872405" cy="76653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F:\CBL_S&amp;F\0.0 Algemeen\Presentations &amp; Fact Sheets\Illustraties los\infographic-los (19).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199382" y="4965599"/>
            <a:ext cx="808889" cy="65679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5" descr="F:\CBL_S&amp;F\0.0 Algemeen\Presentations &amp; Fact Sheets\Illustraties los\infographic-los (20).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378939" y="3758659"/>
            <a:ext cx="446551" cy="86409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F:\CBL_S&amp;F\0.0 Algemeen\Presentations &amp; Fact Sheets\Illustraties los\infographic-los (23).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21963" y="1566583"/>
            <a:ext cx="7640275" cy="4384152"/>
          </a:xfrm>
          <a:prstGeom prst="rect">
            <a:avLst/>
          </a:prstGeom>
          <a:solidFill>
            <a:schemeClr val="accent4"/>
          </a:solidFill>
        </p:spPr>
      </p:pic>
      <p:sp>
        <p:nvSpPr>
          <p:cNvPr id="16" name="Tekstvak 8"/>
          <p:cNvSpPr txBox="1"/>
          <p:nvPr/>
        </p:nvSpPr>
        <p:spPr>
          <a:xfrm>
            <a:off x="472586" y="1573341"/>
            <a:ext cx="5480539" cy="954107"/>
          </a:xfrm>
          <a:prstGeom prst="rect">
            <a:avLst/>
          </a:prstGeom>
          <a:noFill/>
        </p:spPr>
        <p:txBody>
          <a:bodyPr wrap="square" rtlCol="0">
            <a:spAutoFit/>
          </a:bodyPr>
          <a:lstStyle/>
          <a:p>
            <a:pPr defTabSz="1625274"/>
            <a:r>
              <a:rPr lang="en-US" sz="1400" dirty="0">
                <a:solidFill>
                  <a:schemeClr val="tx2"/>
                </a:solidFill>
                <a:ea typeface="Futura Std Book" charset="0"/>
                <a:cs typeface="Futura Std Book" charset="0"/>
              </a:rPr>
              <a:t>Rotterdam is an ideal starting point for importing into and exporting from Europe. Dutch Customs is responsible for releasing goods that enter or leave Europe via Rotterdam and is known to be one of the most efficient customs departments in the world. </a:t>
            </a:r>
          </a:p>
        </p:txBody>
      </p:sp>
      <p:sp>
        <p:nvSpPr>
          <p:cNvPr id="17" name="Tekstvak 9"/>
          <p:cNvSpPr txBox="1"/>
          <p:nvPr/>
        </p:nvSpPr>
        <p:spPr>
          <a:xfrm>
            <a:off x="9105325" y="3936992"/>
            <a:ext cx="2880000" cy="707886"/>
          </a:xfrm>
          <a:prstGeom prst="rect">
            <a:avLst/>
          </a:prstGeom>
          <a:noFill/>
        </p:spPr>
        <p:txBody>
          <a:bodyPr wrap="square" rtlCol="0">
            <a:spAutoFit/>
          </a:bodyPr>
          <a:lstStyle/>
          <a:p>
            <a:pPr defTabSz="1625274"/>
            <a:r>
              <a:rPr lang="en-US" sz="2000" b="1" dirty="0">
                <a:solidFill>
                  <a:schemeClr val="tx2"/>
                </a:solidFill>
                <a:ea typeface="Futura Std Book" charset="0"/>
                <a:cs typeface="Futura Std Book" charset="0"/>
              </a:rPr>
              <a:t>50% cost savings</a:t>
            </a:r>
            <a:br>
              <a:rPr lang="en-US" sz="2000" b="1" dirty="0">
                <a:solidFill>
                  <a:schemeClr val="tx2"/>
                </a:solidFill>
                <a:ea typeface="Futura Std Book" charset="0"/>
                <a:cs typeface="Futura Std Book" charset="0"/>
              </a:rPr>
            </a:br>
            <a:endParaRPr lang="en-US" sz="2000" b="1" dirty="0">
              <a:solidFill>
                <a:schemeClr val="tx2"/>
              </a:solidFill>
              <a:ea typeface="Futura Std Book" charset="0"/>
              <a:cs typeface="Futura Std Book" charset="0"/>
            </a:endParaRPr>
          </a:p>
        </p:txBody>
      </p:sp>
      <p:sp>
        <p:nvSpPr>
          <p:cNvPr id="18" name="Tekstvak 10"/>
          <p:cNvSpPr txBox="1"/>
          <p:nvPr/>
        </p:nvSpPr>
        <p:spPr>
          <a:xfrm>
            <a:off x="9074238" y="4980717"/>
            <a:ext cx="2880000" cy="1015663"/>
          </a:xfrm>
          <a:prstGeom prst="rect">
            <a:avLst/>
          </a:prstGeom>
          <a:noFill/>
        </p:spPr>
        <p:txBody>
          <a:bodyPr wrap="square" rtlCol="0">
            <a:spAutoFit/>
          </a:bodyPr>
          <a:lstStyle/>
          <a:p>
            <a:pPr defTabSz="1625274"/>
            <a:r>
              <a:rPr lang="en-US" sz="2000" b="1" dirty="0">
                <a:solidFill>
                  <a:schemeClr val="tx2"/>
                </a:solidFill>
                <a:ea typeface="Futura Std Book" charset="0"/>
                <a:cs typeface="Futura Std Book" charset="0"/>
              </a:rPr>
              <a:t>High-tech scanning equipment</a:t>
            </a:r>
            <a:br>
              <a:rPr lang="en-US" sz="2000" b="1" dirty="0">
                <a:solidFill>
                  <a:schemeClr val="tx2"/>
                </a:solidFill>
                <a:ea typeface="Futura Std Book" charset="0"/>
                <a:cs typeface="Futura Std Book" charset="0"/>
              </a:rPr>
            </a:br>
            <a:endParaRPr lang="en-US" sz="2000" b="1" dirty="0">
              <a:solidFill>
                <a:schemeClr val="tx2"/>
              </a:solidFill>
              <a:ea typeface="Futura Std Book" charset="0"/>
              <a:cs typeface="Futura Std Book" charset="0"/>
            </a:endParaRPr>
          </a:p>
        </p:txBody>
      </p:sp>
      <p:sp>
        <p:nvSpPr>
          <p:cNvPr id="22" name="Tekstvak 22"/>
          <p:cNvSpPr txBox="1"/>
          <p:nvPr/>
        </p:nvSpPr>
        <p:spPr>
          <a:xfrm>
            <a:off x="4011646" y="4930940"/>
            <a:ext cx="2837636" cy="738664"/>
          </a:xfrm>
          <a:prstGeom prst="rect">
            <a:avLst/>
          </a:prstGeom>
          <a:noFill/>
        </p:spPr>
        <p:txBody>
          <a:bodyPr wrap="none" rtlCol="0">
            <a:spAutoFit/>
          </a:bodyPr>
          <a:lstStyle/>
          <a:p>
            <a:pPr defTabSz="1625274"/>
            <a:r>
              <a:rPr lang="en-US" sz="1400" dirty="0">
                <a:solidFill>
                  <a:schemeClr val="tx2"/>
                </a:solidFill>
                <a:ea typeface="Futura Std Book" charset="0"/>
                <a:cs typeface="Futura Std Book" charset="0"/>
              </a:rPr>
              <a:t>Scanning time of an Automated </a:t>
            </a:r>
            <a:br>
              <a:rPr lang="en-US" sz="1400" dirty="0">
                <a:solidFill>
                  <a:schemeClr val="tx2"/>
                </a:solidFill>
                <a:ea typeface="Futura Std Book" charset="0"/>
                <a:cs typeface="Futura Std Book" charset="0"/>
              </a:rPr>
            </a:br>
            <a:r>
              <a:rPr lang="en-US" sz="1400" dirty="0">
                <a:solidFill>
                  <a:schemeClr val="tx2"/>
                </a:solidFill>
                <a:ea typeface="Futura Std Book" charset="0"/>
                <a:cs typeface="Futura Std Book" charset="0"/>
              </a:rPr>
              <a:t>Guided Vehicle (AGV) on the </a:t>
            </a:r>
            <a:br>
              <a:rPr lang="en-US" sz="1400" dirty="0">
                <a:solidFill>
                  <a:schemeClr val="tx2"/>
                </a:solidFill>
                <a:ea typeface="Futura Std Book" charset="0"/>
                <a:cs typeface="Futura Std Book" charset="0"/>
              </a:rPr>
            </a:br>
            <a:r>
              <a:rPr lang="en-US" sz="1400" dirty="0">
                <a:solidFill>
                  <a:schemeClr val="tx2"/>
                </a:solidFill>
                <a:ea typeface="Futura Std Book" charset="0"/>
                <a:cs typeface="Futura Std Book" charset="0"/>
              </a:rPr>
              <a:t>Maasvlakte: 10 minutes. </a:t>
            </a:r>
          </a:p>
        </p:txBody>
      </p:sp>
      <p:pic>
        <p:nvPicPr>
          <p:cNvPr id="23" name="Picture 3"/>
          <p:cNvPicPr>
            <a:picLocks noChangeAspect="1" noChangeArrowheads="1"/>
          </p:cNvPicPr>
          <p:nvPr/>
        </p:nvPicPr>
        <p:blipFill>
          <a:blip r:embed="rId8" cstate="email">
            <a:clrChange>
              <a:clrFrom>
                <a:srgbClr val="CACACA"/>
              </a:clrFrom>
              <a:clrTo>
                <a:srgbClr val="CACACA">
                  <a:alpha val="0"/>
                </a:srgbClr>
              </a:clrTo>
            </a:clrChange>
            <a:extLst>
              <a:ext uri="{28A0092B-C50C-407E-A947-70E740481C1C}">
                <a14:useLocalDpi xmlns:a14="http://schemas.microsoft.com/office/drawing/2010/main"/>
              </a:ext>
            </a:extLst>
          </a:blip>
          <a:srcRect/>
          <a:stretch>
            <a:fillRect/>
          </a:stretch>
        </p:blipFill>
        <p:spPr bwMode="auto">
          <a:xfrm>
            <a:off x="8234259" y="2625227"/>
            <a:ext cx="735912" cy="829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Tekstvak 2"/>
          <p:cNvSpPr txBox="1"/>
          <p:nvPr/>
        </p:nvSpPr>
        <p:spPr>
          <a:xfrm>
            <a:off x="9074238" y="2840048"/>
            <a:ext cx="2880000" cy="400110"/>
          </a:xfrm>
          <a:prstGeom prst="rect">
            <a:avLst/>
          </a:prstGeom>
          <a:noFill/>
        </p:spPr>
        <p:txBody>
          <a:bodyPr wrap="square" rtlCol="0">
            <a:spAutoFit/>
          </a:bodyPr>
          <a:lstStyle/>
          <a:p>
            <a:pPr defTabSz="1625274"/>
            <a:r>
              <a:rPr lang="nl-NL" sz="2000" b="1" dirty="0">
                <a:solidFill>
                  <a:schemeClr val="tx2"/>
                </a:solidFill>
                <a:ea typeface="Futura Std Book" charset="0"/>
                <a:cs typeface="Futura Std Book" charset="0"/>
              </a:rPr>
              <a:t>Up to 4hrs time saving</a:t>
            </a:r>
          </a:p>
        </p:txBody>
      </p:sp>
      <p:sp>
        <p:nvSpPr>
          <p:cNvPr id="6" name="Rectangle 5"/>
          <p:cNvSpPr/>
          <p:nvPr/>
        </p:nvSpPr>
        <p:spPr>
          <a:xfrm>
            <a:off x="9105325" y="1796323"/>
            <a:ext cx="2880000" cy="400110"/>
          </a:xfrm>
          <a:prstGeom prst="rect">
            <a:avLst/>
          </a:prstGeom>
        </p:spPr>
        <p:txBody>
          <a:bodyPr wrap="square">
            <a:spAutoFit/>
          </a:bodyPr>
          <a:lstStyle/>
          <a:p>
            <a:pPr defTabSz="1625274"/>
            <a:r>
              <a:rPr lang="en-US" sz="2000" b="1" dirty="0">
                <a:solidFill>
                  <a:schemeClr val="tx2"/>
                </a:solidFill>
                <a:ea typeface="Futura Std Book" charset="0"/>
                <a:cs typeface="Futura Std Book" charset="0"/>
              </a:rPr>
              <a:t>24/7</a:t>
            </a:r>
          </a:p>
        </p:txBody>
      </p:sp>
      <p:sp>
        <p:nvSpPr>
          <p:cNvPr id="3" name="Tijdelijke aanduiding voor datum 2">
            <a:extLst>
              <a:ext uri="{FF2B5EF4-FFF2-40B4-BE49-F238E27FC236}">
                <a16:creationId xmlns:a16="http://schemas.microsoft.com/office/drawing/2014/main" id="{EEE29EA3-7880-4E1F-BC93-DC089B23A3CF}"/>
              </a:ext>
            </a:extLst>
          </p:cNvPr>
          <p:cNvSpPr>
            <a:spLocks noGrp="1"/>
          </p:cNvSpPr>
          <p:nvPr>
            <p:ph type="dt" sz="half" idx="10"/>
          </p:nvPr>
        </p:nvSpPr>
        <p:spPr/>
        <p:txBody>
          <a:bodyPr/>
          <a:lstStyle/>
          <a:p>
            <a:fld id="{B92201A0-DF4C-474C-A981-64738628C87A}" type="datetime4">
              <a:rPr lang="en-GB" smtClean="0"/>
              <a:t>29 May 2020</a:t>
            </a:fld>
            <a:endParaRPr lang="en-GB" dirty="0"/>
          </a:p>
        </p:txBody>
      </p:sp>
      <p:sp>
        <p:nvSpPr>
          <p:cNvPr id="4" name="Tijdelijke aanduiding voor voettekst 3">
            <a:extLst>
              <a:ext uri="{FF2B5EF4-FFF2-40B4-BE49-F238E27FC236}">
                <a16:creationId xmlns:a16="http://schemas.microsoft.com/office/drawing/2014/main" id="{0F926931-3CD8-4843-B4CF-B1AB4038D767}"/>
              </a:ext>
            </a:extLst>
          </p:cNvPr>
          <p:cNvSpPr>
            <a:spLocks noGrp="1"/>
          </p:cNvSpPr>
          <p:nvPr>
            <p:ph type="ftr" sz="quarter" idx="11"/>
          </p:nvPr>
        </p:nvSpPr>
        <p:spPr/>
        <p:txBody>
          <a:bodyPr/>
          <a:lstStyle/>
          <a:p>
            <a:r>
              <a:rPr lang="en-GB"/>
              <a:t>|</a:t>
            </a:r>
            <a:endParaRPr lang="en-GB" dirty="0"/>
          </a:p>
        </p:txBody>
      </p:sp>
      <p:sp>
        <p:nvSpPr>
          <p:cNvPr id="5" name="Tijdelijke aanduiding voor dianummer 4">
            <a:extLst>
              <a:ext uri="{FF2B5EF4-FFF2-40B4-BE49-F238E27FC236}">
                <a16:creationId xmlns:a16="http://schemas.microsoft.com/office/drawing/2014/main" id="{3FA65943-3D3A-4F65-90C0-901661BE68B5}"/>
              </a:ext>
            </a:extLst>
          </p:cNvPr>
          <p:cNvSpPr>
            <a:spLocks noGrp="1"/>
          </p:cNvSpPr>
          <p:nvPr>
            <p:ph type="sldNum" sz="quarter" idx="12"/>
          </p:nvPr>
        </p:nvSpPr>
        <p:spPr/>
        <p:txBody>
          <a:bodyPr/>
          <a:lstStyle/>
          <a:p>
            <a:fld id="{534B5F9C-CFE5-4EC6-9BBB-664E2F56B033}" type="slidenum">
              <a:rPr lang="en-GB" smtClean="0"/>
              <a:t>28</a:t>
            </a:fld>
            <a:endParaRPr lang="en-GB" dirty="0"/>
          </a:p>
        </p:txBody>
      </p:sp>
    </p:spTree>
    <p:custDataLst>
      <p:tags r:id="rId1"/>
    </p:custDataLst>
    <p:extLst>
      <p:ext uri="{BB962C8B-B14F-4D97-AF65-F5344CB8AC3E}">
        <p14:creationId xmlns:p14="http://schemas.microsoft.com/office/powerpoint/2010/main" val="62670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a14="http://schemas.microsoft.com/office/drawing/2010/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prstGeom prst="rect">
            <a:avLst/>
          </a:prstGeom>
        </p:spPr>
        <p:txBody>
          <a:bodyPr>
            <a:noAutofit/>
          </a:bodyPr>
          <a:lstStyle/>
          <a:p>
            <a:r>
              <a:rPr lang="nl-NL" dirty="0"/>
              <a:t>DUTCH CUSTOMS</a:t>
            </a:r>
            <a:br>
              <a:rPr lang="nl-NL" b="0" dirty="0"/>
            </a:br>
            <a:r>
              <a:rPr lang="nl-NL" b="0" dirty="0"/>
              <a:t>EFFICIENCY AS A KPI</a:t>
            </a:r>
            <a:endParaRPr lang="en-GB" b="0" dirty="0"/>
          </a:p>
        </p:txBody>
      </p:sp>
      <p:sp>
        <p:nvSpPr>
          <p:cNvPr id="3" name="Tijdelijke aanduiding voor verticale tekst 2"/>
          <p:cNvSpPr>
            <a:spLocks noGrp="1"/>
          </p:cNvSpPr>
          <p:nvPr>
            <p:ph type="body" orient="vert" idx="1"/>
          </p:nvPr>
        </p:nvSpPr>
        <p:spPr>
          <a:xfrm>
            <a:off x="472587" y="1552575"/>
            <a:ext cx="11250000" cy="4553403"/>
          </a:xfrm>
          <a:prstGeom prst="rect">
            <a:avLst/>
          </a:prstGeom>
        </p:spPr>
        <p:txBody>
          <a:bodyPr/>
          <a:lstStyle/>
          <a:p>
            <a:pPr marL="342802" indent="-342802">
              <a:buFont typeface="Arial" panose="020B0604020202020204" pitchFamily="34" charset="0"/>
              <a:buChar char="•"/>
            </a:pPr>
            <a:r>
              <a:rPr lang="en-GB" sz="1800" dirty="0"/>
              <a:t>The Netherlands: best overall performer in 						            trade facilitation (119 countries). 							         Source: UNESCAP, 2016</a:t>
            </a:r>
          </a:p>
          <a:p>
            <a:pPr marL="342802" indent="-342802">
              <a:buFont typeface="Arial" panose="020B0604020202020204" pitchFamily="34" charset="0"/>
              <a:buChar char="•"/>
            </a:pPr>
            <a:r>
              <a:rPr lang="nl-NL" sz="1800" dirty="0"/>
              <a:t>Pro-business attitude: p</a:t>
            </a:r>
            <a:r>
              <a:rPr lang="en" sz="1800" dirty="0"/>
              <a:t>artners with private sector</a:t>
            </a:r>
          </a:p>
          <a:p>
            <a:pPr marL="342802" indent="-342802">
              <a:buFont typeface="Arial" panose="020B0604020202020204" pitchFamily="34" charset="0"/>
              <a:buChar char="•"/>
            </a:pPr>
            <a:r>
              <a:rPr lang="en-GB" sz="1800" dirty="0"/>
              <a:t>Electronic submission of import and export documents</a:t>
            </a:r>
          </a:p>
          <a:p>
            <a:pPr marL="342802" indent="-342802">
              <a:buFont typeface="Arial" panose="020B0604020202020204" pitchFamily="34" charset="0"/>
              <a:buChar char="•"/>
            </a:pPr>
            <a:r>
              <a:rPr lang="en" sz="1800" dirty="0"/>
              <a:t>‘Single Window’ and ‘One Stop Shop’ concepts</a:t>
            </a:r>
            <a:endParaRPr lang="nl-NL" sz="1800" dirty="0"/>
          </a:p>
          <a:p>
            <a:pPr marL="342802" indent="-342802">
              <a:buFont typeface="Arial" panose="020B0604020202020204" pitchFamily="34" charset="0"/>
              <a:buChar char="•"/>
            </a:pPr>
            <a:endParaRPr lang="en-GB" dirty="0"/>
          </a:p>
        </p:txBody>
      </p:sp>
      <p:sp>
        <p:nvSpPr>
          <p:cNvPr id="4" name="Triangle 3"/>
          <p:cNvSpPr/>
          <p:nvPr/>
        </p:nvSpPr>
        <p:spPr>
          <a:xfrm>
            <a:off x="6910289" y="1552575"/>
            <a:ext cx="3052862" cy="442092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a:p>
        </p:txBody>
      </p:sp>
      <p:sp>
        <p:nvSpPr>
          <p:cNvPr id="5" name="Rectangle 4"/>
          <p:cNvSpPr/>
          <p:nvPr/>
        </p:nvSpPr>
        <p:spPr>
          <a:xfrm>
            <a:off x="7019188" y="2259780"/>
            <a:ext cx="2784309" cy="672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800" b="1" dirty="0">
                <a:solidFill>
                  <a:schemeClr val="tx2"/>
                </a:solidFill>
                <a:ea typeface="Futura Std Book" charset="0"/>
                <a:cs typeface="Futura Std Book" charset="0"/>
              </a:rPr>
              <a:t>TRUST</a:t>
            </a:r>
          </a:p>
        </p:txBody>
      </p:sp>
      <p:sp>
        <p:nvSpPr>
          <p:cNvPr id="45" name="Rectangle 44"/>
          <p:cNvSpPr/>
          <p:nvPr/>
        </p:nvSpPr>
        <p:spPr>
          <a:xfrm>
            <a:off x="7057694" y="3254071"/>
            <a:ext cx="2784309" cy="672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800" b="1" dirty="0">
                <a:solidFill>
                  <a:schemeClr val="tx2"/>
                </a:solidFill>
                <a:ea typeface="Futura Std Book" charset="0"/>
                <a:cs typeface="Futura Std Book" charset="0"/>
              </a:rPr>
              <a:t>RISK</a:t>
            </a:r>
            <a:br>
              <a:rPr lang="nl-NL" sz="2000" b="1" dirty="0">
                <a:solidFill>
                  <a:schemeClr val="tx2"/>
                </a:solidFill>
                <a:ea typeface="Futura Std Book" charset="0"/>
                <a:cs typeface="Futura Std Book" charset="0"/>
              </a:rPr>
            </a:br>
            <a:r>
              <a:rPr lang="nl-NL" sz="900" b="1" dirty="0">
                <a:solidFill>
                  <a:schemeClr val="tx2"/>
                </a:solidFill>
                <a:ea typeface="Futura Std Book" charset="0"/>
                <a:cs typeface="Futura Std Book" charset="0"/>
              </a:rPr>
              <a:t>TARGETED APPROACH</a:t>
            </a:r>
          </a:p>
        </p:txBody>
      </p:sp>
      <p:sp>
        <p:nvSpPr>
          <p:cNvPr id="46" name="Rectangle 45"/>
          <p:cNvSpPr/>
          <p:nvPr/>
        </p:nvSpPr>
        <p:spPr>
          <a:xfrm>
            <a:off x="7038441" y="4366732"/>
            <a:ext cx="2784309" cy="672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800" b="1" dirty="0">
                <a:solidFill>
                  <a:schemeClr val="tx2"/>
                </a:solidFill>
                <a:ea typeface="Futura Std Book" charset="0"/>
                <a:cs typeface="Futura Std Book" charset="0"/>
              </a:rPr>
              <a:t>SERVICES</a:t>
            </a:r>
          </a:p>
        </p:txBody>
      </p:sp>
      <p:sp>
        <p:nvSpPr>
          <p:cNvPr id="47" name="Rectangle 46"/>
          <p:cNvSpPr/>
          <p:nvPr/>
        </p:nvSpPr>
        <p:spPr>
          <a:xfrm>
            <a:off x="7057694" y="5383104"/>
            <a:ext cx="2784309" cy="672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800" b="1" dirty="0">
                <a:solidFill>
                  <a:schemeClr val="tx2"/>
                </a:solidFill>
                <a:ea typeface="Futura Std Book" charset="0"/>
                <a:cs typeface="Futura Std Book" charset="0"/>
              </a:rPr>
              <a:t>COOPERATION</a:t>
            </a:r>
          </a:p>
        </p:txBody>
      </p:sp>
      <p:sp>
        <p:nvSpPr>
          <p:cNvPr id="51" name="Tekstvak 28"/>
          <p:cNvSpPr txBox="1"/>
          <p:nvPr/>
        </p:nvSpPr>
        <p:spPr>
          <a:xfrm>
            <a:off x="9842003" y="2292023"/>
            <a:ext cx="2231900" cy="671999"/>
          </a:xfrm>
          <a:prstGeom prst="rect">
            <a:avLst/>
          </a:prstGeom>
          <a:noFill/>
        </p:spPr>
        <p:txBody>
          <a:bodyPr wrap="none" rtlCol="0" anchor="ctr">
            <a:noAutofit/>
          </a:bodyPr>
          <a:lstStyle/>
          <a:p>
            <a:r>
              <a:rPr lang="en-US" sz="1200" dirty="0">
                <a:solidFill>
                  <a:schemeClr val="tx2"/>
                </a:solidFill>
                <a:ea typeface="Futura Std Medium" charset="0"/>
                <a:cs typeface="Futura Std Medium" charset="0"/>
              </a:rPr>
              <a:t>AEO-certificate, </a:t>
            </a:r>
            <a:br>
              <a:rPr lang="en-US" sz="1200" dirty="0">
                <a:solidFill>
                  <a:schemeClr val="tx2"/>
                </a:solidFill>
                <a:ea typeface="Futura Std Medium" charset="0"/>
                <a:cs typeface="Futura Std Medium" charset="0"/>
              </a:rPr>
            </a:br>
            <a:r>
              <a:rPr lang="en-US" sz="1200" dirty="0">
                <a:solidFill>
                  <a:schemeClr val="tx2"/>
                </a:solidFill>
                <a:ea typeface="Futura Std Medium" charset="0"/>
                <a:cs typeface="Futura Std Medium" charset="0"/>
              </a:rPr>
              <a:t>priorities and privileges.  </a:t>
            </a:r>
          </a:p>
        </p:txBody>
      </p:sp>
      <p:sp>
        <p:nvSpPr>
          <p:cNvPr id="52" name="Tekstvak 36"/>
          <p:cNvSpPr txBox="1"/>
          <p:nvPr/>
        </p:nvSpPr>
        <p:spPr>
          <a:xfrm>
            <a:off x="9842003" y="3327505"/>
            <a:ext cx="2231900" cy="671999"/>
          </a:xfrm>
          <a:prstGeom prst="rect">
            <a:avLst/>
          </a:prstGeom>
          <a:noFill/>
        </p:spPr>
        <p:txBody>
          <a:bodyPr wrap="square" rtlCol="0" anchor="ctr">
            <a:noAutofit/>
          </a:bodyPr>
          <a:lstStyle/>
          <a:p>
            <a:r>
              <a:rPr lang="en-GB" sz="1200" dirty="0">
                <a:solidFill>
                  <a:schemeClr val="tx2"/>
                </a:solidFill>
                <a:ea typeface="Futura Std Medium" charset="0"/>
                <a:cs typeface="Futura Std Medium" charset="0"/>
              </a:rPr>
              <a:t>Implementing the customs risk management framework</a:t>
            </a:r>
            <a:br>
              <a:rPr lang="en-GB" sz="1200" dirty="0">
                <a:solidFill>
                  <a:schemeClr val="tx2"/>
                </a:solidFill>
                <a:ea typeface="Futura Std Medium" charset="0"/>
                <a:cs typeface="Futura Std Medium" charset="0"/>
              </a:rPr>
            </a:br>
            <a:r>
              <a:rPr lang="en-GB" sz="1200" dirty="0">
                <a:solidFill>
                  <a:schemeClr val="tx2"/>
                </a:solidFill>
                <a:ea typeface="Futura Std Medium" charset="0"/>
                <a:cs typeface="Futura Std Medium" charset="0"/>
              </a:rPr>
              <a:t>to better target the checks</a:t>
            </a:r>
            <a:r>
              <a:rPr lang="en-US" sz="1200" dirty="0">
                <a:solidFill>
                  <a:schemeClr val="tx2"/>
                </a:solidFill>
                <a:ea typeface="Futura Std Medium" charset="0"/>
                <a:cs typeface="Futura Std Medium" charset="0"/>
              </a:rPr>
              <a:t>.  </a:t>
            </a:r>
          </a:p>
        </p:txBody>
      </p:sp>
      <p:sp>
        <p:nvSpPr>
          <p:cNvPr id="53" name="Tekstvak 37"/>
          <p:cNvSpPr txBox="1"/>
          <p:nvPr/>
        </p:nvSpPr>
        <p:spPr>
          <a:xfrm>
            <a:off x="9871756" y="4366024"/>
            <a:ext cx="2231900" cy="671999"/>
          </a:xfrm>
          <a:prstGeom prst="rect">
            <a:avLst/>
          </a:prstGeom>
          <a:noFill/>
        </p:spPr>
        <p:txBody>
          <a:bodyPr wrap="square" rtlCol="0" anchor="ctr">
            <a:noAutofit/>
          </a:bodyPr>
          <a:lstStyle/>
          <a:p>
            <a:r>
              <a:rPr lang="en-US" sz="1200" dirty="0">
                <a:solidFill>
                  <a:schemeClr val="tx2"/>
                </a:solidFill>
                <a:ea typeface="Futura Std Medium" charset="0"/>
                <a:cs typeface="Futura Std Medium" charset="0"/>
              </a:rPr>
              <a:t>Always operating in interest</a:t>
            </a:r>
            <a:br>
              <a:rPr lang="en-US" sz="1200" dirty="0">
                <a:solidFill>
                  <a:schemeClr val="tx2"/>
                </a:solidFill>
                <a:ea typeface="Futura Std Medium" charset="0"/>
                <a:cs typeface="Futura Std Medium" charset="0"/>
              </a:rPr>
            </a:br>
            <a:r>
              <a:rPr lang="en-US" sz="1200" dirty="0">
                <a:solidFill>
                  <a:schemeClr val="tx2"/>
                </a:solidFill>
                <a:ea typeface="Futura Std Medium" charset="0"/>
                <a:cs typeface="Futura Std Medium" charset="0"/>
              </a:rPr>
              <a:t>of client.  </a:t>
            </a:r>
          </a:p>
        </p:txBody>
      </p:sp>
      <p:sp>
        <p:nvSpPr>
          <p:cNvPr id="54" name="Tekstvak 38"/>
          <p:cNvSpPr txBox="1"/>
          <p:nvPr/>
        </p:nvSpPr>
        <p:spPr>
          <a:xfrm>
            <a:off x="9913243" y="5301503"/>
            <a:ext cx="2231900" cy="671999"/>
          </a:xfrm>
          <a:prstGeom prst="rect">
            <a:avLst/>
          </a:prstGeom>
          <a:noFill/>
        </p:spPr>
        <p:txBody>
          <a:bodyPr wrap="square" rtlCol="0" anchor="ctr">
            <a:noAutofit/>
          </a:bodyPr>
          <a:lstStyle/>
          <a:p>
            <a:r>
              <a:rPr lang="en-US" sz="1200" dirty="0">
                <a:solidFill>
                  <a:schemeClr val="tx2"/>
                </a:solidFill>
                <a:ea typeface="Futura Std Medium" charset="0"/>
                <a:cs typeface="Futura Std Medium" charset="0"/>
              </a:rPr>
              <a:t>I.e. joint investments customs and private sector, joint risk analysis, partnerships.  </a:t>
            </a:r>
          </a:p>
        </p:txBody>
      </p:sp>
      <p:sp>
        <p:nvSpPr>
          <p:cNvPr id="7170" name="PIJL-OMHOOG 7169"/>
          <p:cNvSpPr/>
          <p:nvPr/>
        </p:nvSpPr>
        <p:spPr>
          <a:xfrm>
            <a:off x="6765540" y="1552575"/>
            <a:ext cx="576064" cy="4962525"/>
          </a:xfrm>
          <a:prstGeom prst="upArrow">
            <a:avLst/>
          </a:prstGeom>
          <a:gradFill>
            <a:gsLst>
              <a:gs pos="60000">
                <a:schemeClr val="bg1"/>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333" dirty="0">
                <a:solidFill>
                  <a:schemeClr val="accent6"/>
                </a:solidFill>
                <a:ea typeface="Futura Std Medium" charset="0"/>
                <a:cs typeface="Futura Std Medium" charset="0"/>
              </a:rPr>
              <a:t>RELATIONSHIP</a:t>
            </a:r>
          </a:p>
        </p:txBody>
      </p:sp>
      <p:sp>
        <p:nvSpPr>
          <p:cNvPr id="6" name="Tijdelijke aanduiding voor datum 5">
            <a:extLst>
              <a:ext uri="{FF2B5EF4-FFF2-40B4-BE49-F238E27FC236}">
                <a16:creationId xmlns:a16="http://schemas.microsoft.com/office/drawing/2014/main" id="{60A8233E-EF4F-411F-8E19-7F9869EB1DD2}"/>
              </a:ext>
            </a:extLst>
          </p:cNvPr>
          <p:cNvSpPr>
            <a:spLocks noGrp="1"/>
          </p:cNvSpPr>
          <p:nvPr>
            <p:ph type="dt" sz="half" idx="10"/>
          </p:nvPr>
        </p:nvSpPr>
        <p:spPr/>
        <p:txBody>
          <a:bodyPr/>
          <a:lstStyle/>
          <a:p>
            <a:fld id="{51EEE421-0BE0-472E-B82A-AAF798F8A29D}" type="datetime4">
              <a:rPr lang="en-GB" smtClean="0"/>
              <a:t>29 May 2020</a:t>
            </a:fld>
            <a:endParaRPr lang="en-GB" dirty="0"/>
          </a:p>
        </p:txBody>
      </p:sp>
      <p:sp>
        <p:nvSpPr>
          <p:cNvPr id="7" name="Tijdelijke aanduiding voor voettekst 6">
            <a:extLst>
              <a:ext uri="{FF2B5EF4-FFF2-40B4-BE49-F238E27FC236}">
                <a16:creationId xmlns:a16="http://schemas.microsoft.com/office/drawing/2014/main" id="{B6764DC9-3110-47E0-8026-119337E14B04}"/>
              </a:ext>
            </a:extLst>
          </p:cNvPr>
          <p:cNvSpPr>
            <a:spLocks noGrp="1"/>
          </p:cNvSpPr>
          <p:nvPr>
            <p:ph type="ftr" sz="quarter" idx="11"/>
          </p:nvPr>
        </p:nvSpPr>
        <p:spPr/>
        <p:txBody>
          <a:bodyPr/>
          <a:lstStyle/>
          <a:p>
            <a:r>
              <a:rPr lang="en-GB"/>
              <a:t>|</a:t>
            </a:r>
            <a:endParaRPr lang="en-GB" dirty="0"/>
          </a:p>
        </p:txBody>
      </p:sp>
      <p:sp>
        <p:nvSpPr>
          <p:cNvPr id="8" name="Tijdelijke aanduiding voor dianummer 7">
            <a:extLst>
              <a:ext uri="{FF2B5EF4-FFF2-40B4-BE49-F238E27FC236}">
                <a16:creationId xmlns:a16="http://schemas.microsoft.com/office/drawing/2014/main" id="{A3CACABE-690F-4DA9-8DA3-EF47611C34A4}"/>
              </a:ext>
            </a:extLst>
          </p:cNvPr>
          <p:cNvSpPr>
            <a:spLocks noGrp="1"/>
          </p:cNvSpPr>
          <p:nvPr>
            <p:ph type="sldNum" sz="quarter" idx="12"/>
          </p:nvPr>
        </p:nvSpPr>
        <p:spPr/>
        <p:txBody>
          <a:bodyPr/>
          <a:lstStyle/>
          <a:p>
            <a:fld id="{534B5F9C-CFE5-4EC6-9BBB-664E2F56B033}" type="slidenum">
              <a:rPr lang="en-GB" smtClean="0"/>
              <a:t>29</a:t>
            </a:fld>
            <a:endParaRPr lang="en-GB" dirty="0"/>
          </a:p>
        </p:txBody>
      </p:sp>
    </p:spTree>
    <p:custDataLst>
      <p:tags r:id="rId1"/>
    </p:custDataLst>
    <p:extLst>
      <p:ext uri="{BB962C8B-B14F-4D97-AF65-F5344CB8AC3E}">
        <p14:creationId xmlns:p14="http://schemas.microsoft.com/office/powerpoint/2010/main" val="67213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481327E-184F-4ED1-B3A0-E9CB448CC694}"/>
              </a:ext>
            </a:extLst>
          </p:cNvPr>
          <p:cNvSpPr>
            <a:spLocks noGrp="1"/>
          </p:cNvSpPr>
          <p:nvPr>
            <p:ph type="title"/>
          </p:nvPr>
        </p:nvSpPr>
        <p:spPr/>
        <p:txBody>
          <a:bodyPr/>
          <a:lstStyle/>
          <a:p>
            <a:r>
              <a:rPr lang="nl-NL" dirty="0"/>
              <a:t>WHY ROTTERDAM?</a:t>
            </a:r>
            <a:br>
              <a:rPr lang="nl-NL" dirty="0"/>
            </a:br>
            <a:br>
              <a:rPr lang="nl-NL" dirty="0"/>
            </a:br>
            <a:endParaRPr lang="nl-NL" dirty="0">
              <a:solidFill>
                <a:srgbClr val="001F4B"/>
              </a:solidFill>
            </a:endParaRPr>
          </a:p>
        </p:txBody>
      </p:sp>
      <p:sp>
        <p:nvSpPr>
          <p:cNvPr id="6" name="Tijdelijke aanduiding voor verticale tekst 5">
            <a:extLst>
              <a:ext uri="{FF2B5EF4-FFF2-40B4-BE49-F238E27FC236}">
                <a16:creationId xmlns:a16="http://schemas.microsoft.com/office/drawing/2014/main" id="{CD4DFEBB-EE0D-4C25-AF01-3AC87875ECB6}"/>
              </a:ext>
            </a:extLst>
          </p:cNvPr>
          <p:cNvSpPr>
            <a:spLocks noGrp="1"/>
          </p:cNvSpPr>
          <p:nvPr>
            <p:ph type="body" orient="vert" idx="1"/>
          </p:nvPr>
        </p:nvSpPr>
        <p:spPr/>
        <p:txBody>
          <a:bodyPr/>
          <a:lstStyle/>
          <a:p>
            <a:pPr marL="457200" indent="-457200">
              <a:buFont typeface="Arial" panose="020B0604020202020204" pitchFamily="34" charset="0"/>
              <a:buChar char="•"/>
            </a:pPr>
            <a:r>
              <a:rPr lang="en-US" dirty="0">
                <a:ea typeface="Futura Std Medium" charset="0"/>
                <a:cs typeface="Futura Std Medium" charset="0"/>
              </a:rPr>
              <a:t>The gateway to and from </a:t>
            </a:r>
            <a:r>
              <a:rPr lang="nl-NL" dirty="0">
                <a:ea typeface="Futura Std Medium" charset="0"/>
                <a:cs typeface="Futura Std Medium" charset="0"/>
              </a:rPr>
              <a:t>Europe</a:t>
            </a:r>
          </a:p>
          <a:p>
            <a:pPr marL="457200" indent="-457200">
              <a:buFont typeface="Arial" panose="020B0604020202020204" pitchFamily="34" charset="0"/>
              <a:buChar char="•"/>
            </a:pPr>
            <a:r>
              <a:rPr lang="nl-NL" dirty="0" err="1">
                <a:ea typeface="Futura Std Medium" charset="0"/>
                <a:cs typeface="Futura Std Medium" charset="0"/>
              </a:rPr>
              <a:t>Reliable</a:t>
            </a:r>
            <a:r>
              <a:rPr lang="nl-NL" dirty="0">
                <a:ea typeface="Futura Std Medium" charset="0"/>
                <a:cs typeface="Futura Std Medium" charset="0"/>
              </a:rPr>
              <a:t> &amp; </a:t>
            </a:r>
            <a:r>
              <a:rPr lang="nl-NL" dirty="0" err="1">
                <a:ea typeface="Futura Std Medium" charset="0"/>
                <a:cs typeface="Futura Std Medium" charset="0"/>
              </a:rPr>
              <a:t>Flexible</a:t>
            </a:r>
            <a:endParaRPr lang="nl-NL" dirty="0">
              <a:ea typeface="Futura Std Medium" charset="0"/>
              <a:cs typeface="Futura Std Medium" charset="0"/>
            </a:endParaRPr>
          </a:p>
          <a:p>
            <a:pPr marL="457200" indent="-457200">
              <a:buFont typeface="Arial" panose="020B0604020202020204" pitchFamily="34" charset="0"/>
              <a:buChar char="•"/>
            </a:pPr>
            <a:r>
              <a:rPr lang="nl-NL" dirty="0" err="1">
                <a:ea typeface="Futura Std Medium" charset="0"/>
                <a:cs typeface="Futura Std Medium" charset="0"/>
              </a:rPr>
              <a:t>Fast</a:t>
            </a:r>
            <a:r>
              <a:rPr lang="nl-NL" dirty="0">
                <a:ea typeface="Futura Std Medium" charset="0"/>
                <a:cs typeface="Futura Std Medium" charset="0"/>
              </a:rPr>
              <a:t> &amp; </a:t>
            </a:r>
            <a:r>
              <a:rPr lang="nl-NL" dirty="0" err="1">
                <a:ea typeface="Futura Std Medium" charset="0"/>
                <a:cs typeface="Futura Std Medium" charset="0"/>
              </a:rPr>
              <a:t>Efficient</a:t>
            </a:r>
            <a:endParaRPr lang="nl-NL" dirty="0">
              <a:ea typeface="Futura Std Medium" charset="0"/>
              <a:cs typeface="Futura Std Medium" charset="0"/>
            </a:endParaRPr>
          </a:p>
          <a:p>
            <a:pPr marL="457200" indent="-457200">
              <a:buFont typeface="Arial" panose="020B0604020202020204" pitchFamily="34" charset="0"/>
              <a:buChar char="•"/>
            </a:pPr>
            <a:r>
              <a:rPr lang="nl-NL" dirty="0">
                <a:ea typeface="Futura Std Medium" charset="0"/>
                <a:cs typeface="Futura Std Medium" charset="0"/>
              </a:rPr>
              <a:t>Safe &amp; </a:t>
            </a:r>
            <a:r>
              <a:rPr lang="nl-NL" dirty="0" err="1">
                <a:ea typeface="Futura Std Medium" charset="0"/>
                <a:cs typeface="Futura Std Medium" charset="0"/>
              </a:rPr>
              <a:t>Sustainable</a:t>
            </a:r>
            <a:endParaRPr lang="nl-NL" dirty="0">
              <a:ea typeface="Futura Std Medium" charset="0"/>
              <a:cs typeface="Futura Std Medium" charset="0"/>
            </a:endParaRPr>
          </a:p>
          <a:p>
            <a:pPr marL="457200" indent="-457200">
              <a:buFont typeface="Arial" panose="020B0604020202020204" pitchFamily="34" charset="0"/>
              <a:buChar char="•"/>
            </a:pPr>
            <a:r>
              <a:rPr lang="nl-NL" dirty="0" err="1">
                <a:ea typeface="Futura Std Medium" charset="0"/>
                <a:cs typeface="Futura Std Medium" charset="0"/>
              </a:rPr>
              <a:t>Smooth</a:t>
            </a:r>
            <a:r>
              <a:rPr lang="nl-NL" dirty="0">
                <a:ea typeface="Futura Std Medium" charset="0"/>
                <a:cs typeface="Futura Std Medium" charset="0"/>
              </a:rPr>
              <a:t> end-</a:t>
            </a:r>
            <a:r>
              <a:rPr lang="nl-NL" dirty="0" err="1">
                <a:ea typeface="Futura Std Medium" charset="0"/>
                <a:cs typeface="Futura Std Medium" charset="0"/>
              </a:rPr>
              <a:t>to</a:t>
            </a:r>
            <a:r>
              <a:rPr lang="nl-NL" dirty="0">
                <a:ea typeface="Futura Std Medium" charset="0"/>
                <a:cs typeface="Futura Std Medium" charset="0"/>
              </a:rPr>
              <a:t>-end flow</a:t>
            </a:r>
          </a:p>
          <a:p>
            <a:endParaRPr lang="nl-NL" dirty="0"/>
          </a:p>
        </p:txBody>
      </p:sp>
      <p:sp>
        <p:nvSpPr>
          <p:cNvPr id="2" name="Tijdelijke aanduiding voor datum 1">
            <a:extLst>
              <a:ext uri="{FF2B5EF4-FFF2-40B4-BE49-F238E27FC236}">
                <a16:creationId xmlns:a16="http://schemas.microsoft.com/office/drawing/2014/main" id="{2E1F41A9-FE72-4C2A-9F77-6CCACA8B4B23}"/>
              </a:ext>
            </a:extLst>
          </p:cNvPr>
          <p:cNvSpPr>
            <a:spLocks noGrp="1"/>
          </p:cNvSpPr>
          <p:nvPr>
            <p:ph type="dt" sz="half" idx="10"/>
          </p:nvPr>
        </p:nvSpPr>
        <p:spPr/>
        <p:txBody>
          <a:bodyPr/>
          <a:lstStyle/>
          <a:p>
            <a:fld id="{0423E0E4-5FD0-4C64-A5DB-C63E21FBA128}" type="datetime4">
              <a:rPr lang="en-GB" smtClean="0"/>
              <a:t>29 May 2020</a:t>
            </a:fld>
            <a:endParaRPr lang="en-GB" dirty="0"/>
          </a:p>
        </p:txBody>
      </p:sp>
      <p:sp>
        <p:nvSpPr>
          <p:cNvPr id="3" name="Tijdelijke aanduiding voor voettekst 2">
            <a:extLst>
              <a:ext uri="{FF2B5EF4-FFF2-40B4-BE49-F238E27FC236}">
                <a16:creationId xmlns:a16="http://schemas.microsoft.com/office/drawing/2014/main" id="{C3227540-8C0A-4F1E-82A6-466C28763794}"/>
              </a:ext>
            </a:extLst>
          </p:cNvPr>
          <p:cNvSpPr>
            <a:spLocks noGrp="1"/>
          </p:cNvSpPr>
          <p:nvPr>
            <p:ph type="ftr" sz="quarter" idx="11"/>
          </p:nvPr>
        </p:nvSpPr>
        <p:spPr/>
        <p:txBody>
          <a:bodyPr/>
          <a:lstStyle/>
          <a:p>
            <a:r>
              <a:rPr lang="en-GB"/>
              <a:t>|</a:t>
            </a:r>
            <a:endParaRPr lang="en-GB" dirty="0"/>
          </a:p>
        </p:txBody>
      </p:sp>
      <p:sp>
        <p:nvSpPr>
          <p:cNvPr id="4" name="Tijdelijke aanduiding voor dianummer 3">
            <a:extLst>
              <a:ext uri="{FF2B5EF4-FFF2-40B4-BE49-F238E27FC236}">
                <a16:creationId xmlns:a16="http://schemas.microsoft.com/office/drawing/2014/main" id="{8B19F5BB-6BAA-4CF7-9426-A838C445E761}"/>
              </a:ext>
            </a:extLst>
          </p:cNvPr>
          <p:cNvSpPr>
            <a:spLocks noGrp="1"/>
          </p:cNvSpPr>
          <p:nvPr>
            <p:ph type="sldNum" sz="quarter" idx="12"/>
          </p:nvPr>
        </p:nvSpPr>
        <p:spPr/>
        <p:txBody>
          <a:bodyPr/>
          <a:lstStyle/>
          <a:p>
            <a:fld id="{534B5F9C-CFE5-4EC6-9BBB-664E2F56B033}" type="slidenum">
              <a:rPr lang="en-GB" smtClean="0"/>
              <a:t>3</a:t>
            </a:fld>
            <a:endParaRPr lang="en-GB" dirty="0"/>
          </a:p>
        </p:txBody>
      </p:sp>
      <p:pic>
        <p:nvPicPr>
          <p:cNvPr id="10" name="Tijdelijke aanduiding voor afbeelding 9">
            <a:extLst>
              <a:ext uri="{FF2B5EF4-FFF2-40B4-BE49-F238E27FC236}">
                <a16:creationId xmlns:a16="http://schemas.microsoft.com/office/drawing/2014/main" id="{2E01C9A3-EE63-4050-A971-E262C913053F}"/>
              </a:ext>
            </a:extLst>
          </p:cNvPr>
          <p:cNvPicPr>
            <a:picLocks noGrp="1" noChangeAspect="1"/>
          </p:cNvPicPr>
          <p:nvPr>
            <p:ph type="pic" idx="13"/>
          </p:nvPr>
        </p:nvPicPr>
        <p:blipFill>
          <a:blip r:embed="rId4" cstate="print">
            <a:extLst>
              <a:ext uri="{28A0092B-C50C-407E-A947-70E740481C1C}">
                <a14:useLocalDpi xmlns:a14="http://schemas.microsoft.com/office/drawing/2010/main" val="0"/>
              </a:ext>
            </a:extLst>
          </a:blip>
          <a:srcRect l="5695" r="5695"/>
          <a:stretch>
            <a:fillRect/>
          </a:stretch>
        </p:blipFill>
        <p:spPr/>
      </p:pic>
    </p:spTree>
    <p:custDataLst>
      <p:tags r:id="rId1"/>
    </p:custDataLst>
    <p:extLst>
      <p:ext uri="{BB962C8B-B14F-4D97-AF65-F5344CB8AC3E}">
        <p14:creationId xmlns:p14="http://schemas.microsoft.com/office/powerpoint/2010/main" val="1827645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Afbeelding 9">
            <a:extLst>
              <a:ext uri="{FF2B5EF4-FFF2-40B4-BE49-F238E27FC236}">
                <a16:creationId xmlns:a16="http://schemas.microsoft.com/office/drawing/2014/main" id="{FF31C0D5-90FE-4FA6-89DB-7E82534D2BD9}"/>
              </a:ext>
            </a:extLst>
          </p:cNvPr>
          <p:cNvPicPr>
            <a:picLocks noChangeAspect="1"/>
          </p:cNvPicPr>
          <p:nvPr/>
        </p:nvPicPr>
        <p:blipFill rotWithShape="1">
          <a:blip r:embed="rId4">
            <a:extLst>
              <a:ext uri="{28A0092B-C50C-407E-A947-70E740481C1C}">
                <a14:useLocalDpi xmlns:a14="http://schemas.microsoft.com/office/drawing/2010/main" val="0"/>
              </a:ext>
            </a:extLst>
          </a:blip>
          <a:srcRect l="3273" t="19473" r="20502" b="16226"/>
          <a:stretch/>
        </p:blipFill>
        <p:spPr>
          <a:xfrm>
            <a:off x="0" y="0"/>
            <a:ext cx="14024344" cy="7886640"/>
          </a:xfrm>
          <a:prstGeom prst="rect">
            <a:avLst/>
          </a:prstGeom>
        </p:spPr>
      </p:pic>
      <p:sp>
        <p:nvSpPr>
          <p:cNvPr id="13" name="Titel 1">
            <a:extLst>
              <a:ext uri="{FF2B5EF4-FFF2-40B4-BE49-F238E27FC236}">
                <a16:creationId xmlns:a16="http://schemas.microsoft.com/office/drawing/2014/main" id="{3C4A8EAC-7182-4ABD-9C89-5B40F1ED3698}"/>
              </a:ext>
            </a:extLst>
          </p:cNvPr>
          <p:cNvSpPr>
            <a:spLocks noGrp="1"/>
          </p:cNvSpPr>
          <p:nvPr>
            <p:ph type="title"/>
          </p:nvPr>
        </p:nvSpPr>
        <p:spPr>
          <a:xfrm>
            <a:off x="471488" y="190500"/>
            <a:ext cx="11250612" cy="647700"/>
          </a:xfrm>
          <a:prstGeom prst="rect">
            <a:avLst/>
          </a:prstGeom>
        </p:spPr>
        <p:txBody>
          <a:bodyPr/>
          <a:lstStyle/>
          <a:p>
            <a:r>
              <a:rPr lang="nl-NL" dirty="0"/>
              <a:t>CONTAINER EXCHANGE ROUTE</a:t>
            </a:r>
            <a:br>
              <a:rPr lang="nl-NL" dirty="0"/>
            </a:br>
            <a:r>
              <a:rPr lang="nl-NL" b="0" dirty="0"/>
              <a:t>SMOOTH BUNDLING &amp; EXCHANGE OF CONTAINERS</a:t>
            </a:r>
          </a:p>
        </p:txBody>
      </p:sp>
      <p:sp>
        <p:nvSpPr>
          <p:cNvPr id="14" name="Tijdelijke aanduiding voor datum 2">
            <a:extLst>
              <a:ext uri="{FF2B5EF4-FFF2-40B4-BE49-F238E27FC236}">
                <a16:creationId xmlns:a16="http://schemas.microsoft.com/office/drawing/2014/main" id="{BEE7576A-57A3-488D-89A5-D01662927DFE}"/>
              </a:ext>
            </a:extLst>
          </p:cNvPr>
          <p:cNvSpPr>
            <a:spLocks noGrp="1"/>
          </p:cNvSpPr>
          <p:nvPr>
            <p:ph type="dt" sz="half" idx="10"/>
          </p:nvPr>
        </p:nvSpPr>
        <p:spPr>
          <a:xfrm>
            <a:off x="1524003" y="6244343"/>
            <a:ext cx="2744788" cy="365125"/>
          </a:xfrm>
        </p:spPr>
        <p:txBody>
          <a:bodyPr/>
          <a:lstStyle/>
          <a:p>
            <a:fld id="{42D673CB-7335-4D32-AAD5-B8EAE9A9BB1F}" type="datetime4">
              <a:rPr lang="en-GB" smtClean="0"/>
              <a:t>29 May 2020</a:t>
            </a:fld>
            <a:endParaRPr lang="en-GB" dirty="0"/>
          </a:p>
        </p:txBody>
      </p:sp>
      <p:sp>
        <p:nvSpPr>
          <p:cNvPr id="15" name="Tijdelijke aanduiding voor voettekst 6">
            <a:extLst>
              <a:ext uri="{FF2B5EF4-FFF2-40B4-BE49-F238E27FC236}">
                <a16:creationId xmlns:a16="http://schemas.microsoft.com/office/drawing/2014/main" id="{7ECC5079-7284-44B4-9E4D-0BDBDDC2429B}"/>
              </a:ext>
            </a:extLst>
          </p:cNvPr>
          <p:cNvSpPr>
            <a:spLocks noGrp="1"/>
          </p:cNvSpPr>
          <p:nvPr>
            <p:ph type="ftr" sz="quarter" idx="11"/>
          </p:nvPr>
        </p:nvSpPr>
        <p:spPr>
          <a:xfrm>
            <a:off x="769629" y="6208247"/>
            <a:ext cx="814092" cy="365125"/>
          </a:xfrm>
        </p:spPr>
        <p:txBody>
          <a:bodyPr/>
          <a:lstStyle/>
          <a:p>
            <a:r>
              <a:rPr lang="en-GB" dirty="0"/>
              <a:t>|</a:t>
            </a:r>
          </a:p>
        </p:txBody>
      </p:sp>
      <p:sp>
        <p:nvSpPr>
          <p:cNvPr id="16" name="Tijdelijke aanduiding voor dianummer 7">
            <a:extLst>
              <a:ext uri="{FF2B5EF4-FFF2-40B4-BE49-F238E27FC236}">
                <a16:creationId xmlns:a16="http://schemas.microsoft.com/office/drawing/2014/main" id="{A310FB30-185B-4B15-BFBE-BF858EB4DE64}"/>
              </a:ext>
            </a:extLst>
          </p:cNvPr>
          <p:cNvSpPr>
            <a:spLocks noGrp="1"/>
          </p:cNvSpPr>
          <p:nvPr>
            <p:ph type="sldNum" sz="quarter" idx="12"/>
          </p:nvPr>
        </p:nvSpPr>
        <p:spPr>
          <a:xfrm>
            <a:off x="288762" y="6244343"/>
            <a:ext cx="540585" cy="365125"/>
          </a:xfrm>
        </p:spPr>
        <p:txBody>
          <a:bodyPr/>
          <a:lstStyle/>
          <a:p>
            <a:fld id="{534B5F9C-CFE5-4EC6-9BBB-664E2F56B033}" type="slidenum">
              <a:rPr lang="en-GB" smtClean="0"/>
              <a:pPr/>
              <a:t>30</a:t>
            </a:fld>
            <a:endParaRPr lang="en-GB" dirty="0"/>
          </a:p>
        </p:txBody>
      </p:sp>
      <p:sp>
        <p:nvSpPr>
          <p:cNvPr id="17" name="Tijdelijke aanduiding voor SmartArt 5">
            <a:extLst>
              <a:ext uri="{FF2B5EF4-FFF2-40B4-BE49-F238E27FC236}">
                <a16:creationId xmlns:a16="http://schemas.microsoft.com/office/drawing/2014/main" id="{40A3F055-749F-4BCD-8DC7-D29BF672D542}"/>
              </a:ext>
            </a:extLst>
          </p:cNvPr>
          <p:cNvSpPr>
            <a:spLocks noGrp="1"/>
          </p:cNvSpPr>
          <p:nvPr>
            <p:ph type="dgm" sz="quarter" idx="14"/>
          </p:nvPr>
        </p:nvSpPr>
        <p:spPr>
          <a:xfrm>
            <a:off x="9936848" y="6147174"/>
            <a:ext cx="1778902" cy="580580"/>
          </a:xfrm>
        </p:spPr>
      </p:sp>
    </p:spTree>
    <p:custDataLst>
      <p:tags r:id="rId1"/>
    </p:custDataLst>
    <p:extLst>
      <p:ext uri="{BB962C8B-B14F-4D97-AF65-F5344CB8AC3E}">
        <p14:creationId xmlns:p14="http://schemas.microsoft.com/office/powerpoint/2010/main" val="1719434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a14="http://schemas.microsoft.com/office/drawing/2010/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fgeronde rechthoek 7"/>
          <p:cNvSpPr/>
          <p:nvPr/>
        </p:nvSpPr>
        <p:spPr>
          <a:xfrm>
            <a:off x="1588" y="894"/>
            <a:ext cx="12192000" cy="6856215"/>
          </a:xfrm>
          <a:prstGeom prst="roundRect">
            <a:avLst>
              <a:gd name="adj" fmla="val 1389"/>
            </a:avLst>
          </a:prstGeom>
          <a:blipFill dpi="0" rotWithShape="1">
            <a:blip r:embed="rId4" cstate="email">
              <a:extLst>
                <a:ext uri="{28A0092B-C50C-407E-A947-70E740481C1C}">
                  <a14:useLocalDpi xmlns:a14="http://schemas.microsoft.com/office/drawing/2010/main"/>
                </a:ext>
              </a:extLst>
            </a:blip>
            <a:srcRect/>
            <a:stretch>
              <a:fillRect l="-2000" t="-6000" r="-17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3199" dirty="0">
                <a:latin typeface="Helvetica" pitchFamily="34" charset="0"/>
              </a:rPr>
              <a:t> </a:t>
            </a:r>
          </a:p>
        </p:txBody>
      </p:sp>
      <p:sp>
        <p:nvSpPr>
          <p:cNvPr id="11" name="Titel 24"/>
          <p:cNvSpPr txBox="1">
            <a:spLocks/>
          </p:cNvSpPr>
          <p:nvPr/>
        </p:nvSpPr>
        <p:spPr>
          <a:xfrm>
            <a:off x="9033436" y="3069623"/>
            <a:ext cx="2540108" cy="647831"/>
          </a:xfrm>
          <a:prstGeom prst="rect">
            <a:avLst/>
          </a:prstGeom>
        </p:spPr>
        <p:txBody>
          <a:bodyPr vert="horz" lIns="71981" tIns="143963" rIns="71981" bIns="143963" rtlCol="0" anchor="t">
            <a:noAutofit/>
          </a:bodyPr>
          <a:lstStyle>
            <a:lvl1pPr algn="l" defTabSz="914400" rtl="0" eaLnBrk="1" latinLnBrk="0" hangingPunct="1">
              <a:lnSpc>
                <a:spcPct val="90000"/>
              </a:lnSpc>
              <a:spcBef>
                <a:spcPct val="0"/>
              </a:spcBef>
              <a:buNone/>
              <a:defRPr sz="3200" kern="1200">
                <a:solidFill>
                  <a:schemeClr val="tx2"/>
                </a:solidFill>
                <a:latin typeface="+mj-lt"/>
                <a:ea typeface="+mj-ea"/>
                <a:cs typeface="+mj-cs"/>
              </a:defRPr>
            </a:lvl1pPr>
          </a:lstStyle>
          <a:p>
            <a:pPr algn="ctr"/>
            <a:endParaRPr lang="nl-NL" sz="1800" b="1" dirty="0">
              <a:solidFill>
                <a:prstClr val="white"/>
              </a:solidFill>
              <a:latin typeface="Futura Std Bold" charset="0"/>
            </a:endParaRPr>
          </a:p>
        </p:txBody>
      </p:sp>
      <p:pic>
        <p:nvPicPr>
          <p:cNvPr id="8" name="Picture 2" descr="W:\DCZ_Marketingcommunicatie\Communicatiemiddelen\_ICONEN\Iconen\Terminals\0_Diapositief\PNG\Container-t-d.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481183" y="2349162"/>
            <a:ext cx="714189" cy="71418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W:\DCZ_Marketingcommunicatie\Communicatiemiddelen\_ICONEN\Iconen\Terminals\0_Diapositief\PNG\Container-t-d.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404407" y="3181306"/>
            <a:ext cx="714189" cy="71418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W:\DCZ_Marketingcommunicatie\Communicatiemiddelen\_ICONEN\Iconen\Terminals\0_Diapositief\PNG\Container-t-d.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79591" y="3181306"/>
            <a:ext cx="714189" cy="71418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W:\DCZ_Marketingcommunicatie\Communicatiemiddelen\_ICONEN\Iconen\Terminals\0_Diapositief\PNG\Container-t-d.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66993" y="3517792"/>
            <a:ext cx="714189" cy="71418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 descr="W:\DCZ_Marketingcommunicatie\Communicatiemiddelen\_ICONEN\Iconen\Modaliteiten\0_Diapositief\PNG\Rail.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193832" y="3871337"/>
            <a:ext cx="596936" cy="596936"/>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Rechte verbindingslijn 13"/>
          <p:cNvCxnSpPr/>
          <p:nvPr/>
        </p:nvCxnSpPr>
        <p:spPr>
          <a:xfrm flipH="1">
            <a:off x="820917" y="2829318"/>
            <a:ext cx="687553" cy="491191"/>
          </a:xfrm>
          <a:prstGeom prst="line">
            <a:avLst/>
          </a:prstGeom>
        </p:spPr>
        <p:style>
          <a:lnRef idx="1">
            <a:schemeClr val="dk1"/>
          </a:lnRef>
          <a:fillRef idx="0">
            <a:schemeClr val="dk1"/>
          </a:fillRef>
          <a:effectRef idx="0">
            <a:schemeClr val="dk1"/>
          </a:effectRef>
          <a:fontRef idx="minor">
            <a:schemeClr val="tx1"/>
          </a:fontRef>
        </p:style>
      </p:cxnSp>
      <p:cxnSp>
        <p:nvCxnSpPr>
          <p:cNvPr id="15" name="Rechte verbindingslijn 16"/>
          <p:cNvCxnSpPr>
            <a:endCxn id="13" idx="1"/>
          </p:cNvCxnSpPr>
          <p:nvPr/>
        </p:nvCxnSpPr>
        <p:spPr>
          <a:xfrm>
            <a:off x="3884740" y="2345660"/>
            <a:ext cx="6309091" cy="1824145"/>
          </a:xfrm>
          <a:prstGeom prst="line">
            <a:avLst/>
          </a:prstGeom>
        </p:spPr>
        <p:style>
          <a:lnRef idx="1">
            <a:schemeClr val="dk1"/>
          </a:lnRef>
          <a:fillRef idx="0">
            <a:schemeClr val="dk1"/>
          </a:fillRef>
          <a:effectRef idx="0">
            <a:schemeClr val="dk1"/>
          </a:effectRef>
          <a:fontRef idx="minor">
            <a:schemeClr val="tx1"/>
          </a:fontRef>
        </p:style>
      </p:cxnSp>
      <p:cxnSp>
        <p:nvCxnSpPr>
          <p:cNvPr id="16" name="Rechte verbindingslijn 19"/>
          <p:cNvCxnSpPr>
            <a:endCxn id="13" idx="1"/>
          </p:cNvCxnSpPr>
          <p:nvPr/>
        </p:nvCxnSpPr>
        <p:spPr>
          <a:xfrm>
            <a:off x="3807941" y="3177705"/>
            <a:ext cx="6385892" cy="992100"/>
          </a:xfrm>
          <a:prstGeom prst="line">
            <a:avLst/>
          </a:prstGeom>
        </p:spPr>
        <p:style>
          <a:lnRef idx="1">
            <a:schemeClr val="dk1"/>
          </a:lnRef>
          <a:fillRef idx="0">
            <a:schemeClr val="dk1"/>
          </a:fillRef>
          <a:effectRef idx="0">
            <a:schemeClr val="dk1"/>
          </a:effectRef>
          <a:fontRef idx="minor">
            <a:schemeClr val="tx1"/>
          </a:fontRef>
        </p:style>
      </p:cxnSp>
      <p:cxnSp>
        <p:nvCxnSpPr>
          <p:cNvPr id="18" name="Rechte verbindingslijn 22"/>
          <p:cNvCxnSpPr/>
          <p:nvPr/>
        </p:nvCxnSpPr>
        <p:spPr>
          <a:xfrm flipH="1">
            <a:off x="1354896" y="3631921"/>
            <a:ext cx="153551" cy="87711"/>
          </a:xfrm>
          <a:prstGeom prst="line">
            <a:avLst/>
          </a:prstGeom>
        </p:spPr>
        <p:style>
          <a:lnRef idx="1">
            <a:schemeClr val="dk1"/>
          </a:lnRef>
          <a:fillRef idx="0">
            <a:schemeClr val="dk1"/>
          </a:fillRef>
          <a:effectRef idx="0">
            <a:schemeClr val="dk1"/>
          </a:effectRef>
          <a:fontRef idx="minor">
            <a:schemeClr val="tx1"/>
          </a:fontRef>
        </p:style>
      </p:cxnSp>
      <p:cxnSp>
        <p:nvCxnSpPr>
          <p:cNvPr id="19" name="Rechte verbindingslijn 27"/>
          <p:cNvCxnSpPr/>
          <p:nvPr/>
        </p:nvCxnSpPr>
        <p:spPr>
          <a:xfrm>
            <a:off x="713068" y="3790724"/>
            <a:ext cx="107851" cy="99739"/>
          </a:xfrm>
          <a:prstGeom prst="line">
            <a:avLst/>
          </a:prstGeom>
        </p:spPr>
        <p:style>
          <a:lnRef idx="1">
            <a:schemeClr val="dk1"/>
          </a:lnRef>
          <a:fillRef idx="0">
            <a:schemeClr val="dk1"/>
          </a:fillRef>
          <a:effectRef idx="0">
            <a:schemeClr val="dk1"/>
          </a:effectRef>
          <a:fontRef idx="minor">
            <a:schemeClr val="tx1"/>
          </a:fontRef>
        </p:style>
      </p:cxnSp>
      <p:pic>
        <p:nvPicPr>
          <p:cNvPr id="20" name="Content Placeholder 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589" y="6236956"/>
            <a:ext cx="12188825" cy="359571"/>
          </a:xfrm>
          <a:prstGeom prst="rect">
            <a:avLst/>
          </a:prstGeom>
        </p:spPr>
      </p:pic>
      <p:pic>
        <p:nvPicPr>
          <p:cNvPr id="21" name="Content Placeholder 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99650" y="5805255"/>
            <a:ext cx="7355956" cy="668861"/>
          </a:xfrm>
          <a:prstGeom prst="rect">
            <a:avLst/>
          </a:prstGeom>
        </p:spPr>
      </p:pic>
      <p:pic>
        <p:nvPicPr>
          <p:cNvPr id="22" name="Picture 2"/>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025246" y="4581128"/>
            <a:ext cx="2199327" cy="12596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Title 23"/>
          <p:cNvSpPr>
            <a:spLocks noGrp="1"/>
          </p:cNvSpPr>
          <p:nvPr>
            <p:ph type="title"/>
          </p:nvPr>
        </p:nvSpPr>
        <p:spPr>
          <a:prstGeom prst="rect">
            <a:avLst/>
          </a:prstGeom>
        </p:spPr>
        <p:txBody>
          <a:bodyPr>
            <a:normAutofit fontScale="90000"/>
          </a:bodyPr>
          <a:lstStyle/>
          <a:p>
            <a:r>
              <a:rPr lang="en" sz="3599" dirty="0"/>
              <a:t>PORTSHUTTLE </a:t>
            </a:r>
            <a:br>
              <a:rPr lang="nl-NL" sz="3599" dirty="0"/>
            </a:br>
            <a:r>
              <a:rPr lang="en" sz="3599" b="0" dirty="0"/>
              <a:t>CONTAINER EXCHANGE</a:t>
            </a:r>
            <a:r>
              <a:rPr lang="nl-NL" sz="3599" b="0" dirty="0"/>
              <a:t> </a:t>
            </a:r>
            <a:r>
              <a:rPr lang="en" sz="3599" b="0" dirty="0"/>
              <a:t> BY RAIL</a:t>
            </a:r>
            <a:endParaRPr lang="en-US" b="0" dirty="0"/>
          </a:p>
        </p:txBody>
      </p:sp>
      <p:sp>
        <p:nvSpPr>
          <p:cNvPr id="4" name="Tijdelijke aanduiding voor SmartArt 3">
            <a:extLst>
              <a:ext uri="{FF2B5EF4-FFF2-40B4-BE49-F238E27FC236}">
                <a16:creationId xmlns:a16="http://schemas.microsoft.com/office/drawing/2014/main" id="{CACE1EEC-FAEB-4626-B9BD-CA336FF80BBD}"/>
              </a:ext>
            </a:extLst>
          </p:cNvPr>
          <p:cNvSpPr>
            <a:spLocks noGrp="1"/>
          </p:cNvSpPr>
          <p:nvPr>
            <p:ph type="dgm" sz="quarter" idx="14"/>
          </p:nvPr>
        </p:nvSpPr>
        <p:spPr/>
      </p:sp>
      <p:sp>
        <p:nvSpPr>
          <p:cNvPr id="3" name="Tijdelijke aanduiding voor datum 2">
            <a:extLst>
              <a:ext uri="{FF2B5EF4-FFF2-40B4-BE49-F238E27FC236}">
                <a16:creationId xmlns:a16="http://schemas.microsoft.com/office/drawing/2014/main" id="{8D16105E-04FF-4028-A10D-1776B707DFBA}"/>
              </a:ext>
            </a:extLst>
          </p:cNvPr>
          <p:cNvSpPr>
            <a:spLocks noGrp="1"/>
          </p:cNvSpPr>
          <p:nvPr>
            <p:ph type="dt" sz="half" idx="10"/>
          </p:nvPr>
        </p:nvSpPr>
        <p:spPr/>
        <p:txBody>
          <a:bodyPr/>
          <a:lstStyle/>
          <a:p>
            <a:fld id="{E7354F98-B3FC-41E5-8050-FE169A211077}" type="datetime4">
              <a:rPr lang="en-GB" smtClean="0"/>
              <a:t>29 May 2020</a:t>
            </a:fld>
            <a:endParaRPr lang="en-GB"/>
          </a:p>
        </p:txBody>
      </p:sp>
      <p:sp>
        <p:nvSpPr>
          <p:cNvPr id="5" name="Tijdelijke aanduiding voor voettekst 4">
            <a:extLst>
              <a:ext uri="{FF2B5EF4-FFF2-40B4-BE49-F238E27FC236}">
                <a16:creationId xmlns:a16="http://schemas.microsoft.com/office/drawing/2014/main" id="{4F4FEAFA-70F7-463A-A46C-A62CA6CEEC5C}"/>
              </a:ext>
            </a:extLst>
          </p:cNvPr>
          <p:cNvSpPr>
            <a:spLocks noGrp="1"/>
          </p:cNvSpPr>
          <p:nvPr>
            <p:ph type="ftr" sz="quarter" idx="11"/>
          </p:nvPr>
        </p:nvSpPr>
        <p:spPr/>
        <p:txBody>
          <a:bodyPr/>
          <a:lstStyle/>
          <a:p>
            <a:r>
              <a:rPr lang="en-GB"/>
              <a:t>|</a:t>
            </a:r>
          </a:p>
        </p:txBody>
      </p:sp>
      <p:sp>
        <p:nvSpPr>
          <p:cNvPr id="7" name="Tijdelijke aanduiding voor dianummer 6">
            <a:extLst>
              <a:ext uri="{FF2B5EF4-FFF2-40B4-BE49-F238E27FC236}">
                <a16:creationId xmlns:a16="http://schemas.microsoft.com/office/drawing/2014/main" id="{BCCD3574-6BD4-42F2-82A8-376E8536F120}"/>
              </a:ext>
            </a:extLst>
          </p:cNvPr>
          <p:cNvSpPr>
            <a:spLocks noGrp="1"/>
          </p:cNvSpPr>
          <p:nvPr>
            <p:ph type="sldNum" sz="quarter" idx="12"/>
          </p:nvPr>
        </p:nvSpPr>
        <p:spPr/>
        <p:txBody>
          <a:bodyPr/>
          <a:lstStyle/>
          <a:p>
            <a:fld id="{534B5F9C-CFE5-4EC6-9BBB-664E2F56B033}" type="slidenum">
              <a:rPr lang="en-GB" smtClean="0"/>
              <a:pPr/>
              <a:t>31</a:t>
            </a:fld>
            <a:endParaRPr lang="en-GB" dirty="0"/>
          </a:p>
        </p:txBody>
      </p:sp>
    </p:spTree>
    <p:custDataLst>
      <p:tags r:id="rId1"/>
    </p:custDataLst>
    <p:extLst>
      <p:ext uri="{BB962C8B-B14F-4D97-AF65-F5344CB8AC3E}">
        <p14:creationId xmlns:p14="http://schemas.microsoft.com/office/powerpoint/2010/main" val="341354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a14="http://schemas.microsoft.com/office/drawing/2010/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Afgeronde rechthoek 7"/>
          <p:cNvSpPr/>
          <p:nvPr/>
        </p:nvSpPr>
        <p:spPr>
          <a:xfrm>
            <a:off x="1587" y="-27384"/>
            <a:ext cx="12192000" cy="6934951"/>
          </a:xfrm>
          <a:prstGeom prst="roundRect">
            <a:avLst>
              <a:gd name="adj" fmla="val 1389"/>
            </a:avLst>
          </a:prstGeom>
          <a:blipFill dpi="0" rotWithShape="1">
            <a:blip r:embed="rId4"/>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latin typeface="Helvetica" pitchFamily="34" charset="0"/>
            </a:endParaRPr>
          </a:p>
        </p:txBody>
      </p:sp>
      <p:sp>
        <p:nvSpPr>
          <p:cNvPr id="3" name="Tijdelijke aanduiding voor afbeelding 2">
            <a:extLst>
              <a:ext uri="{FF2B5EF4-FFF2-40B4-BE49-F238E27FC236}">
                <a16:creationId xmlns:a16="http://schemas.microsoft.com/office/drawing/2014/main" id="{402C953B-711B-45B1-9C5E-BFCDA181BA08}"/>
              </a:ext>
            </a:extLst>
          </p:cNvPr>
          <p:cNvSpPr>
            <a:spLocks noGrp="1"/>
          </p:cNvSpPr>
          <p:nvPr>
            <p:ph type="pic" idx="13"/>
          </p:nvPr>
        </p:nvSpPr>
        <p:spPr/>
      </p:sp>
      <p:sp>
        <p:nvSpPr>
          <p:cNvPr id="2" name="Titel 1"/>
          <p:cNvSpPr>
            <a:spLocks noGrp="1"/>
          </p:cNvSpPr>
          <p:nvPr>
            <p:ph type="title"/>
          </p:nvPr>
        </p:nvSpPr>
        <p:spPr>
          <a:prstGeom prst="rect">
            <a:avLst/>
          </a:prstGeom>
        </p:spPr>
        <p:txBody>
          <a:bodyPr>
            <a:noAutofit/>
          </a:bodyPr>
          <a:lstStyle/>
          <a:p>
            <a:r>
              <a:rPr lang="en-US" dirty="0"/>
              <a:t>ATTRACTIVE CASH FLOW ADVANTAGE</a:t>
            </a:r>
            <a:br>
              <a:rPr lang="en-US" dirty="0"/>
            </a:br>
            <a:r>
              <a:rPr lang="nl-NL" b="0" dirty="0"/>
              <a:t>VAT </a:t>
            </a:r>
            <a:r>
              <a:rPr lang="en-US" b="0" dirty="0"/>
              <a:t>DEFERMENT</a:t>
            </a:r>
            <a:r>
              <a:rPr lang="nl-NL" b="0" dirty="0"/>
              <a:t> </a:t>
            </a:r>
            <a:r>
              <a:rPr lang="nl-NL" dirty="0"/>
              <a:t>		</a:t>
            </a:r>
            <a:endParaRPr lang="en-GB" dirty="0"/>
          </a:p>
        </p:txBody>
      </p:sp>
      <p:sp>
        <p:nvSpPr>
          <p:cNvPr id="4" name="Tijdelijke aanduiding voor SmartArt 3">
            <a:extLst>
              <a:ext uri="{FF2B5EF4-FFF2-40B4-BE49-F238E27FC236}">
                <a16:creationId xmlns:a16="http://schemas.microsoft.com/office/drawing/2014/main" id="{BF0A58CE-398B-4E54-A656-49BA6839AFDD}"/>
              </a:ext>
            </a:extLst>
          </p:cNvPr>
          <p:cNvSpPr>
            <a:spLocks noGrp="1"/>
          </p:cNvSpPr>
          <p:nvPr>
            <p:ph type="dgm" sz="quarter" idx="14"/>
          </p:nvPr>
        </p:nvSpPr>
        <p:spPr/>
      </p:sp>
      <p:sp>
        <p:nvSpPr>
          <p:cNvPr id="5" name="Tijdelijke aanduiding voor datum 4">
            <a:extLst>
              <a:ext uri="{FF2B5EF4-FFF2-40B4-BE49-F238E27FC236}">
                <a16:creationId xmlns:a16="http://schemas.microsoft.com/office/drawing/2014/main" id="{24E5696B-5369-4914-8507-D2DEADD676DD}"/>
              </a:ext>
            </a:extLst>
          </p:cNvPr>
          <p:cNvSpPr>
            <a:spLocks noGrp="1"/>
          </p:cNvSpPr>
          <p:nvPr>
            <p:ph type="dt" sz="half" idx="10"/>
          </p:nvPr>
        </p:nvSpPr>
        <p:spPr/>
        <p:txBody>
          <a:bodyPr/>
          <a:lstStyle/>
          <a:p>
            <a:fld id="{655F08D5-706E-4827-9D7F-F1042581A10F}" type="datetime4">
              <a:rPr lang="en-GB" smtClean="0"/>
              <a:t>29 May 2020</a:t>
            </a:fld>
            <a:endParaRPr lang="en-GB"/>
          </a:p>
        </p:txBody>
      </p:sp>
      <p:sp>
        <p:nvSpPr>
          <p:cNvPr id="6" name="Tijdelijke aanduiding voor voettekst 5">
            <a:extLst>
              <a:ext uri="{FF2B5EF4-FFF2-40B4-BE49-F238E27FC236}">
                <a16:creationId xmlns:a16="http://schemas.microsoft.com/office/drawing/2014/main" id="{77702A98-17D0-4A2A-905F-1E0A68B32A9E}"/>
              </a:ext>
            </a:extLst>
          </p:cNvPr>
          <p:cNvSpPr>
            <a:spLocks noGrp="1"/>
          </p:cNvSpPr>
          <p:nvPr>
            <p:ph type="ftr" sz="quarter" idx="11"/>
          </p:nvPr>
        </p:nvSpPr>
        <p:spPr/>
        <p:txBody>
          <a:bodyPr/>
          <a:lstStyle/>
          <a:p>
            <a:r>
              <a:rPr lang="en-GB"/>
              <a:t>|</a:t>
            </a:r>
          </a:p>
        </p:txBody>
      </p:sp>
      <p:sp>
        <p:nvSpPr>
          <p:cNvPr id="7" name="Tijdelijke aanduiding voor dianummer 6">
            <a:extLst>
              <a:ext uri="{FF2B5EF4-FFF2-40B4-BE49-F238E27FC236}">
                <a16:creationId xmlns:a16="http://schemas.microsoft.com/office/drawing/2014/main" id="{38702B42-7780-4C83-A7C9-BCB6E4DB9BB6}"/>
              </a:ext>
            </a:extLst>
          </p:cNvPr>
          <p:cNvSpPr>
            <a:spLocks noGrp="1"/>
          </p:cNvSpPr>
          <p:nvPr>
            <p:ph type="sldNum" sz="quarter" idx="12"/>
          </p:nvPr>
        </p:nvSpPr>
        <p:spPr/>
        <p:txBody>
          <a:bodyPr/>
          <a:lstStyle/>
          <a:p>
            <a:fld id="{534B5F9C-CFE5-4EC6-9BBB-664E2F56B033}" type="slidenum">
              <a:rPr lang="en-GB" smtClean="0"/>
              <a:t>32</a:t>
            </a:fld>
            <a:endParaRPr lang="en-GB"/>
          </a:p>
        </p:txBody>
      </p:sp>
    </p:spTree>
    <p:custDataLst>
      <p:tags r:id="rId1"/>
    </p:custDataLst>
    <p:extLst>
      <p:ext uri="{BB962C8B-B14F-4D97-AF65-F5344CB8AC3E}">
        <p14:creationId xmlns:p14="http://schemas.microsoft.com/office/powerpoint/2010/main" val="403004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prstGeom prst="rect">
            <a:avLst/>
          </a:prstGeom>
        </p:spPr>
        <p:txBody>
          <a:bodyPr/>
          <a:lstStyle/>
          <a:p>
            <a:r>
              <a:rPr lang="nl-NL" dirty="0"/>
              <a:t>SAFETY FIRST</a:t>
            </a:r>
          </a:p>
        </p:txBody>
      </p:sp>
      <p:sp>
        <p:nvSpPr>
          <p:cNvPr id="3" name="Tijdelijke aanduiding voor verticale tekst 2"/>
          <p:cNvSpPr>
            <a:spLocks noGrp="1"/>
          </p:cNvSpPr>
          <p:nvPr>
            <p:ph type="body" orient="vert" idx="1"/>
          </p:nvPr>
        </p:nvSpPr>
        <p:spPr>
          <a:xfrm>
            <a:off x="5076825" y="1420283"/>
            <a:ext cx="7118351" cy="4562043"/>
          </a:xfrm>
          <a:prstGeom prst="rect">
            <a:avLst/>
          </a:prstGeom>
        </p:spPr>
        <p:txBody>
          <a:bodyPr/>
          <a:lstStyle/>
          <a:p>
            <a:pPr>
              <a:lnSpc>
                <a:spcPct val="150000"/>
              </a:lnSpc>
            </a:pPr>
            <a:r>
              <a:rPr lang="en-US" sz="1867" dirty="0"/>
              <a:t>The Port of Rotterdam Authority works to ensure that the port and its environs remain safe, healthy and attractive. Safety is our number one priority in the port. And not just for local shipping, but also for residents, people working in the port, companies and professional and recreational users of the port area. Safety is a very broad concept. It can relate to social safety, water safety, workplace safety and cybersecurity.</a:t>
            </a:r>
          </a:p>
        </p:txBody>
      </p:sp>
      <p:pic>
        <p:nvPicPr>
          <p:cNvPr id="10" name="Tijdelijke aanduiding voor inhoud 9">
            <a:extLst>
              <a:ext uri="{FF2B5EF4-FFF2-40B4-BE49-F238E27FC236}">
                <a16:creationId xmlns:a16="http://schemas.microsoft.com/office/drawing/2014/main" id="{D2771555-A519-4F95-97AC-4375350A4DE6}"/>
              </a:ext>
            </a:extLst>
          </p:cNvPr>
          <p:cNvPicPr>
            <a:picLocks noGrp="1" noChangeAspect="1"/>
          </p:cNvPicPr>
          <p:nvPr>
            <p:ph type="pic" idx="13"/>
          </p:nvPr>
        </p:nvPicPr>
        <p:blipFill>
          <a:blip r:embed="rId4">
            <a:extLst>
              <a:ext uri="{28A0092B-C50C-407E-A947-70E740481C1C}">
                <a14:useLocalDpi xmlns:a14="http://schemas.microsoft.com/office/drawing/2010/main" val="0"/>
              </a:ext>
            </a:extLst>
          </a:blip>
          <a:srcRect t="7408" b="7408"/>
          <a:stretch>
            <a:fillRect/>
          </a:stretch>
        </p:blipFill>
        <p:spPr/>
      </p:pic>
      <p:sp>
        <p:nvSpPr>
          <p:cNvPr id="4" name="Tijdelijke aanduiding voor datum 3">
            <a:extLst>
              <a:ext uri="{FF2B5EF4-FFF2-40B4-BE49-F238E27FC236}">
                <a16:creationId xmlns:a16="http://schemas.microsoft.com/office/drawing/2014/main" id="{E12E9F7D-1D18-4712-8A84-33344C98913B}"/>
              </a:ext>
            </a:extLst>
          </p:cNvPr>
          <p:cNvSpPr>
            <a:spLocks noGrp="1"/>
          </p:cNvSpPr>
          <p:nvPr>
            <p:ph type="dt" sz="half" idx="10"/>
          </p:nvPr>
        </p:nvSpPr>
        <p:spPr/>
        <p:txBody>
          <a:bodyPr/>
          <a:lstStyle/>
          <a:p>
            <a:fld id="{226F5566-91AB-48F6-8D09-7C015EF5B04A}" type="datetime4">
              <a:rPr lang="en-GB" smtClean="0"/>
              <a:t>29 May 2020</a:t>
            </a:fld>
            <a:endParaRPr lang="en-GB"/>
          </a:p>
        </p:txBody>
      </p:sp>
      <p:sp>
        <p:nvSpPr>
          <p:cNvPr id="5" name="Tijdelijke aanduiding voor voettekst 4">
            <a:extLst>
              <a:ext uri="{FF2B5EF4-FFF2-40B4-BE49-F238E27FC236}">
                <a16:creationId xmlns:a16="http://schemas.microsoft.com/office/drawing/2014/main" id="{06BF23E0-7F9B-43AB-9251-A43EEA5BF3EC}"/>
              </a:ext>
            </a:extLst>
          </p:cNvPr>
          <p:cNvSpPr>
            <a:spLocks noGrp="1"/>
          </p:cNvSpPr>
          <p:nvPr>
            <p:ph type="ftr" sz="quarter" idx="11"/>
          </p:nvPr>
        </p:nvSpPr>
        <p:spPr/>
        <p:txBody>
          <a:bodyPr/>
          <a:lstStyle/>
          <a:p>
            <a:r>
              <a:rPr lang="en-GB"/>
              <a:t>|</a:t>
            </a:r>
            <a:endParaRPr lang="en-GB" dirty="0"/>
          </a:p>
        </p:txBody>
      </p:sp>
      <p:sp>
        <p:nvSpPr>
          <p:cNvPr id="6" name="Tijdelijke aanduiding voor dianummer 5">
            <a:extLst>
              <a:ext uri="{FF2B5EF4-FFF2-40B4-BE49-F238E27FC236}">
                <a16:creationId xmlns:a16="http://schemas.microsoft.com/office/drawing/2014/main" id="{CD0238E5-7DAC-453B-AB90-AC8CC2D9FE77}"/>
              </a:ext>
            </a:extLst>
          </p:cNvPr>
          <p:cNvSpPr>
            <a:spLocks noGrp="1"/>
          </p:cNvSpPr>
          <p:nvPr>
            <p:ph type="sldNum" sz="quarter" idx="12"/>
          </p:nvPr>
        </p:nvSpPr>
        <p:spPr/>
        <p:txBody>
          <a:bodyPr/>
          <a:lstStyle/>
          <a:p>
            <a:fld id="{534B5F9C-CFE5-4EC6-9BBB-664E2F56B033}" type="slidenum">
              <a:rPr lang="en-GB" smtClean="0"/>
              <a:t>33</a:t>
            </a:fld>
            <a:endParaRPr lang="en-GB"/>
          </a:p>
        </p:txBody>
      </p:sp>
    </p:spTree>
    <p:custDataLst>
      <p:tags r:id="rId1"/>
    </p:custDataLst>
    <p:extLst>
      <p:ext uri="{BB962C8B-B14F-4D97-AF65-F5344CB8AC3E}">
        <p14:creationId xmlns:p14="http://schemas.microsoft.com/office/powerpoint/2010/main" val="1077008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7D89D297-8DCD-4D8F-9FA1-8B205C6964AF}"/>
              </a:ext>
            </a:extLst>
          </p:cNvPr>
          <p:cNvSpPr>
            <a:spLocks noGrp="1"/>
          </p:cNvSpPr>
          <p:nvPr>
            <p:ph type="title"/>
          </p:nvPr>
        </p:nvSpPr>
        <p:spPr>
          <a:prstGeom prst="rect">
            <a:avLst/>
          </a:prstGeom>
        </p:spPr>
        <p:txBody>
          <a:bodyPr/>
          <a:lstStyle/>
          <a:p>
            <a:r>
              <a:rPr lang="en-US" dirty="0"/>
              <a:t>5 SUSTAINABLE, SAFE &amp; STATE OF THE ART </a:t>
            </a:r>
            <a:br>
              <a:rPr lang="en-US" dirty="0"/>
            </a:br>
            <a:r>
              <a:rPr lang="en-US" dirty="0"/>
              <a:t>DEEP SEA TERMINALS</a:t>
            </a:r>
            <a:endParaRPr lang="nl-NL" dirty="0"/>
          </a:p>
        </p:txBody>
      </p:sp>
      <p:sp>
        <p:nvSpPr>
          <p:cNvPr id="3" name="Tijdelijke aanduiding voor tekst 2">
            <a:extLst>
              <a:ext uri="{FF2B5EF4-FFF2-40B4-BE49-F238E27FC236}">
                <a16:creationId xmlns:a16="http://schemas.microsoft.com/office/drawing/2014/main" id="{5AD916E6-45DD-437F-9F84-560B391461D2}"/>
              </a:ext>
            </a:extLst>
          </p:cNvPr>
          <p:cNvSpPr>
            <a:spLocks noGrp="1"/>
          </p:cNvSpPr>
          <p:nvPr>
            <p:ph type="body" orient="vert" idx="1"/>
          </p:nvPr>
        </p:nvSpPr>
        <p:spPr>
          <a:xfrm>
            <a:off x="394109" y="3051833"/>
            <a:ext cx="11250000" cy="2863192"/>
          </a:xfrm>
        </p:spPr>
        <p:txBody>
          <a:bodyPr/>
          <a:lstStyle/>
          <a:p>
            <a:pPr marL="342891" indent="-342891">
              <a:buFont typeface="Arial" panose="020B0604020202020204" pitchFamily="34" charset="0"/>
              <a:buChar char="•"/>
            </a:pPr>
            <a:r>
              <a:rPr lang="en-GB" sz="1800" dirty="0"/>
              <a:t>Highly efficient operations to minimize environmental impact </a:t>
            </a:r>
          </a:p>
          <a:p>
            <a:pPr marL="342891" indent="-342891">
              <a:buFont typeface="Arial" panose="020B0604020202020204" pitchFamily="34" charset="0"/>
              <a:buChar char="•"/>
            </a:pPr>
            <a:r>
              <a:rPr lang="en-US" sz="1800" dirty="0"/>
              <a:t>Battery powered Automated Guided Vehicles (AGV) transport of containers around the terminals for up to eight hours </a:t>
            </a:r>
          </a:p>
          <a:p>
            <a:pPr marL="342891" indent="-342891">
              <a:buFont typeface="Arial" panose="020B0604020202020204" pitchFamily="34" charset="0"/>
              <a:buChar char="•"/>
            </a:pPr>
            <a:r>
              <a:rPr lang="en-GB" sz="1800" dirty="0"/>
              <a:t>ECT Delta: first fully-automated terminal in the world </a:t>
            </a:r>
          </a:p>
          <a:p>
            <a:pPr marL="342891" indent="-342891">
              <a:buFont typeface="Arial" panose="020B0604020202020204" pitchFamily="34" charset="0"/>
              <a:buChar char="•"/>
            </a:pPr>
            <a:r>
              <a:rPr lang="en-GB" sz="1800" dirty="0"/>
              <a:t>APMT-II: world’s first zero emission terminal for CO2,</a:t>
            </a:r>
            <a:r>
              <a:rPr lang="en-US" sz="1800" dirty="0"/>
              <a:t> NOx and particulates</a:t>
            </a:r>
          </a:p>
          <a:p>
            <a:pPr marL="342891" indent="-342891">
              <a:buFont typeface="Arial" panose="020B0604020202020204" pitchFamily="34" charset="0"/>
              <a:buChar char="•"/>
            </a:pPr>
            <a:r>
              <a:rPr lang="en-GB" sz="1800" dirty="0"/>
              <a:t>RWG: fully electric and CO2 neutral terminal</a:t>
            </a:r>
          </a:p>
          <a:p>
            <a:pPr marL="342891" indent="-342891">
              <a:buFont typeface="Arial" panose="020B0604020202020204" pitchFamily="34" charset="0"/>
              <a:buChar char="•"/>
            </a:pPr>
            <a:r>
              <a:rPr lang="en-GB" sz="1800" dirty="0"/>
              <a:t>Sustainable hinterland connections through dedicated barge quays and onsite rail terminals  </a:t>
            </a:r>
          </a:p>
        </p:txBody>
      </p:sp>
      <p:pic>
        <p:nvPicPr>
          <p:cNvPr id="9" name="Afbeelding 8">
            <a:extLst>
              <a:ext uri="{FF2B5EF4-FFF2-40B4-BE49-F238E27FC236}">
                <a16:creationId xmlns:a16="http://schemas.microsoft.com/office/drawing/2014/main" id="{43287106-E92C-4E8F-B2DF-688CE203CAB0}"/>
              </a:ext>
            </a:extLst>
          </p:cNvPr>
          <p:cNvPicPr>
            <a:picLocks noChangeAspect="1"/>
          </p:cNvPicPr>
          <p:nvPr/>
        </p:nvPicPr>
        <p:blipFill>
          <a:blip r:embed="rId4"/>
          <a:stretch>
            <a:fillRect/>
          </a:stretch>
        </p:blipFill>
        <p:spPr>
          <a:xfrm>
            <a:off x="428703" y="1646094"/>
            <a:ext cx="2087685" cy="1392879"/>
          </a:xfrm>
          <a:prstGeom prst="rect">
            <a:avLst/>
          </a:prstGeom>
        </p:spPr>
      </p:pic>
      <p:pic>
        <p:nvPicPr>
          <p:cNvPr id="16" name="Afbeelding 15">
            <a:extLst>
              <a:ext uri="{FF2B5EF4-FFF2-40B4-BE49-F238E27FC236}">
                <a16:creationId xmlns:a16="http://schemas.microsoft.com/office/drawing/2014/main" id="{6B85F01E-98E6-4918-AA94-E1F436E8239B}"/>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709459" y="1665675"/>
            <a:ext cx="2087685" cy="1401495"/>
          </a:xfrm>
          <a:prstGeom prst="rect">
            <a:avLst/>
          </a:prstGeom>
        </p:spPr>
      </p:pic>
      <p:pic>
        <p:nvPicPr>
          <p:cNvPr id="17" name="Afbeelding 16">
            <a:extLst>
              <a:ext uri="{FF2B5EF4-FFF2-40B4-BE49-F238E27FC236}">
                <a16:creationId xmlns:a16="http://schemas.microsoft.com/office/drawing/2014/main" id="{94CD4BD7-2318-4806-A83A-166C0F96F29C}"/>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t="2167"/>
          <a:stretch/>
        </p:blipFill>
        <p:spPr>
          <a:xfrm>
            <a:off x="4978871" y="1665675"/>
            <a:ext cx="2080477" cy="1401495"/>
          </a:xfrm>
          <a:prstGeom prst="rect">
            <a:avLst/>
          </a:prstGeom>
        </p:spPr>
      </p:pic>
      <p:pic>
        <p:nvPicPr>
          <p:cNvPr id="18" name="Afbeelding 17">
            <a:extLst>
              <a:ext uri="{FF2B5EF4-FFF2-40B4-BE49-F238E27FC236}">
                <a16:creationId xmlns:a16="http://schemas.microsoft.com/office/drawing/2014/main" id="{C9AB7303-FF1E-49A6-8A77-EBD0CFBD9FCE}"/>
              </a:ext>
            </a:extLst>
          </p:cNvPr>
          <p:cNvPicPr>
            <a:picLocks noChangeAspect="1"/>
          </p:cNvPicPr>
          <p:nvPr/>
        </p:nvPicPr>
        <p:blipFill>
          <a:blip r:embed="rId7"/>
          <a:stretch>
            <a:fillRect/>
          </a:stretch>
        </p:blipFill>
        <p:spPr>
          <a:xfrm>
            <a:off x="7241075" y="1644972"/>
            <a:ext cx="2080477" cy="1406861"/>
          </a:xfrm>
          <a:prstGeom prst="rect">
            <a:avLst/>
          </a:prstGeom>
        </p:spPr>
      </p:pic>
      <p:pic>
        <p:nvPicPr>
          <p:cNvPr id="19" name="Afbeelding 18">
            <a:extLst>
              <a:ext uri="{FF2B5EF4-FFF2-40B4-BE49-F238E27FC236}">
                <a16:creationId xmlns:a16="http://schemas.microsoft.com/office/drawing/2014/main" id="{B0D65613-AE7C-423B-9975-BD319B2E99ED}"/>
              </a:ext>
            </a:extLst>
          </p:cNvPr>
          <p:cNvPicPr>
            <a:picLocks noChangeAspect="1"/>
          </p:cNvPicPr>
          <p:nvPr/>
        </p:nvPicPr>
        <p:blipFill>
          <a:blip r:embed="rId8"/>
          <a:stretch>
            <a:fillRect/>
          </a:stretch>
        </p:blipFill>
        <p:spPr>
          <a:xfrm>
            <a:off x="9521831" y="1644972"/>
            <a:ext cx="2080477" cy="1399179"/>
          </a:xfrm>
          <a:prstGeom prst="rect">
            <a:avLst/>
          </a:prstGeom>
        </p:spPr>
      </p:pic>
      <p:sp>
        <p:nvSpPr>
          <p:cNvPr id="2" name="Tijdelijke aanduiding voor datum 1">
            <a:extLst>
              <a:ext uri="{FF2B5EF4-FFF2-40B4-BE49-F238E27FC236}">
                <a16:creationId xmlns:a16="http://schemas.microsoft.com/office/drawing/2014/main" id="{F6FA09C4-4A22-422E-9E36-94170E14F309}"/>
              </a:ext>
            </a:extLst>
          </p:cNvPr>
          <p:cNvSpPr>
            <a:spLocks noGrp="1"/>
          </p:cNvSpPr>
          <p:nvPr>
            <p:ph type="dt" sz="half" idx="10"/>
          </p:nvPr>
        </p:nvSpPr>
        <p:spPr/>
        <p:txBody>
          <a:bodyPr/>
          <a:lstStyle/>
          <a:p>
            <a:fld id="{6B1D5AC3-A4F4-4505-B8EA-A4DB89F0689D}" type="datetime4">
              <a:rPr lang="en-GB" smtClean="0"/>
              <a:t>29 May 2020</a:t>
            </a:fld>
            <a:endParaRPr lang="en-GB" dirty="0"/>
          </a:p>
        </p:txBody>
      </p:sp>
      <p:sp>
        <p:nvSpPr>
          <p:cNvPr id="4" name="Tijdelijke aanduiding voor voettekst 3">
            <a:extLst>
              <a:ext uri="{FF2B5EF4-FFF2-40B4-BE49-F238E27FC236}">
                <a16:creationId xmlns:a16="http://schemas.microsoft.com/office/drawing/2014/main" id="{4BD95D60-BD47-4349-A703-C8C8917ACA4C}"/>
              </a:ext>
            </a:extLst>
          </p:cNvPr>
          <p:cNvSpPr>
            <a:spLocks noGrp="1"/>
          </p:cNvSpPr>
          <p:nvPr>
            <p:ph type="ftr" sz="quarter" idx="11"/>
          </p:nvPr>
        </p:nvSpPr>
        <p:spPr/>
        <p:txBody>
          <a:bodyPr/>
          <a:lstStyle/>
          <a:p>
            <a:r>
              <a:rPr lang="en-GB"/>
              <a:t>|</a:t>
            </a:r>
            <a:endParaRPr lang="en-GB" dirty="0"/>
          </a:p>
        </p:txBody>
      </p:sp>
      <p:sp>
        <p:nvSpPr>
          <p:cNvPr id="5" name="Tijdelijke aanduiding voor dianummer 4">
            <a:extLst>
              <a:ext uri="{FF2B5EF4-FFF2-40B4-BE49-F238E27FC236}">
                <a16:creationId xmlns:a16="http://schemas.microsoft.com/office/drawing/2014/main" id="{8E50CBA8-C05C-4585-9143-19D0CC943706}"/>
              </a:ext>
            </a:extLst>
          </p:cNvPr>
          <p:cNvSpPr>
            <a:spLocks noGrp="1"/>
          </p:cNvSpPr>
          <p:nvPr>
            <p:ph type="sldNum" sz="quarter" idx="12"/>
          </p:nvPr>
        </p:nvSpPr>
        <p:spPr/>
        <p:txBody>
          <a:bodyPr/>
          <a:lstStyle/>
          <a:p>
            <a:fld id="{534B5F9C-CFE5-4EC6-9BBB-664E2F56B033}" type="slidenum">
              <a:rPr lang="en-GB" smtClean="0"/>
              <a:t>34</a:t>
            </a:fld>
            <a:endParaRPr lang="en-GB" dirty="0"/>
          </a:p>
        </p:txBody>
      </p:sp>
    </p:spTree>
    <p:custDataLst>
      <p:tags r:id="rId1"/>
    </p:custDataLst>
    <p:extLst>
      <p:ext uri="{BB962C8B-B14F-4D97-AF65-F5344CB8AC3E}">
        <p14:creationId xmlns:p14="http://schemas.microsoft.com/office/powerpoint/2010/main" val="1187372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prstGeom prst="rect">
            <a:avLst/>
          </a:prstGeom>
        </p:spPr>
        <p:txBody>
          <a:bodyPr>
            <a:normAutofit fontScale="90000"/>
          </a:bodyPr>
          <a:lstStyle/>
          <a:p>
            <a:r>
              <a:rPr lang="en-GB" dirty="0"/>
              <a:t>A HIGHLY SKILLED AND Motivated WORKFORCE</a:t>
            </a:r>
          </a:p>
        </p:txBody>
      </p:sp>
      <p:sp>
        <p:nvSpPr>
          <p:cNvPr id="3" name="Tijdelijke aanduiding voor tekst 2"/>
          <p:cNvSpPr>
            <a:spLocks noGrp="1"/>
          </p:cNvSpPr>
          <p:nvPr>
            <p:ph type="body" orient="vert" idx="1"/>
          </p:nvPr>
        </p:nvSpPr>
        <p:spPr>
          <a:xfrm>
            <a:off x="472587" y="1286749"/>
            <a:ext cx="11250000" cy="4553403"/>
          </a:xfrm>
          <a:prstGeom prst="rect">
            <a:avLst/>
          </a:prstGeom>
        </p:spPr>
        <p:txBody>
          <a:bodyPr/>
          <a:lstStyle/>
          <a:p>
            <a:pPr marL="380990" indent="-380990">
              <a:buFont typeface="Arial" panose="020B0604020202020204" pitchFamily="34" charset="0"/>
              <a:buChar char="•"/>
            </a:pPr>
            <a:r>
              <a:rPr lang="en-US" sz="1800" dirty="0"/>
              <a:t>The Netherlands’ workforce is highly educated as well as motivated and flexible.</a:t>
            </a:r>
          </a:p>
          <a:p>
            <a:pPr marL="380990" indent="-380990">
              <a:buFont typeface="Arial" panose="020B0604020202020204" pitchFamily="34" charset="0"/>
              <a:buChar char="•"/>
            </a:pPr>
            <a:r>
              <a:rPr lang="en-US" sz="1800" dirty="0"/>
              <a:t>The Netherlands is one of the most multilingual nations in Europe</a:t>
            </a:r>
          </a:p>
          <a:p>
            <a:pPr marL="380990" indent="-380990">
              <a:buFont typeface="Arial" panose="020B0604020202020204" pitchFamily="34" charset="0"/>
              <a:buChar char="•"/>
            </a:pPr>
            <a:r>
              <a:rPr lang="en-US" sz="1800" dirty="0"/>
              <a:t>Labor productivity, measured as GDP per hour worked, is above average.</a:t>
            </a:r>
          </a:p>
          <a:p>
            <a:pPr marL="380990" indent="-380990">
              <a:buFont typeface="Arial" panose="020B0604020202020204" pitchFamily="34" charset="0"/>
              <a:buChar char="•"/>
            </a:pPr>
            <a:r>
              <a:rPr lang="en-US" sz="1800" dirty="0"/>
              <a:t>More than 800,000 logistics professionals</a:t>
            </a:r>
          </a:p>
          <a:p>
            <a:pPr marL="380990" indent="-380990">
              <a:buFont typeface="Arial" panose="020B0604020202020204" pitchFamily="34" charset="0"/>
              <a:buChar char="•"/>
            </a:pPr>
            <a:endParaRPr lang="en-US" sz="1800" dirty="0"/>
          </a:p>
          <a:p>
            <a:pPr marL="380990" indent="-380990">
              <a:buFont typeface="Arial" panose="020B0604020202020204" pitchFamily="34" charset="0"/>
              <a:buChar char="•"/>
            </a:pPr>
            <a:endParaRPr lang="en-US" sz="1800" dirty="0"/>
          </a:p>
          <a:p>
            <a:pPr marL="380990" indent="-380990">
              <a:buFont typeface="Arial" panose="020B0604020202020204" pitchFamily="34" charset="0"/>
              <a:buChar char="•"/>
            </a:pPr>
            <a:endParaRPr lang="en-US" sz="1800" dirty="0"/>
          </a:p>
          <a:p>
            <a:pPr marL="380990" indent="-380990">
              <a:buFont typeface="Arial" panose="020B0604020202020204" pitchFamily="34" charset="0"/>
              <a:buChar char="•"/>
            </a:pPr>
            <a:endParaRPr lang="nl-NL" sz="1800" dirty="0"/>
          </a:p>
        </p:txBody>
      </p:sp>
      <p:graphicFrame>
        <p:nvGraphicFramePr>
          <p:cNvPr id="30" name="Tijdelijke aanduiding voor inhoud 1"/>
          <p:cNvGraphicFramePr>
            <a:graphicFrameLocks noGrp="1"/>
          </p:cNvGraphicFramePr>
          <p:nvPr>
            <p:extLst>
              <p:ext uri="{D42A27DB-BD31-4B8C-83A1-F6EECF244321}">
                <p14:modId xmlns:p14="http://schemas.microsoft.com/office/powerpoint/2010/main" val="1485932009"/>
              </p:ext>
            </p:extLst>
          </p:nvPr>
        </p:nvGraphicFramePr>
        <p:xfrm>
          <a:off x="474175" y="3226713"/>
          <a:ext cx="11721000" cy="3439286"/>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p:cNvSpPr txBox="1"/>
          <p:nvPr/>
        </p:nvSpPr>
        <p:spPr>
          <a:xfrm>
            <a:off x="9073917" y="5437901"/>
            <a:ext cx="3394307" cy="420756"/>
          </a:xfrm>
          <a:prstGeom prst="rect">
            <a:avLst/>
          </a:prstGeom>
          <a:noFill/>
        </p:spPr>
        <p:txBody>
          <a:bodyPr wrap="square" rtlCol="0">
            <a:spAutoFit/>
          </a:bodyPr>
          <a:lstStyle/>
          <a:p>
            <a:r>
              <a:rPr lang="nl-NL" sz="1067" dirty="0">
                <a:solidFill>
                  <a:schemeClr val="tx2"/>
                </a:solidFill>
                <a:ea typeface="Futura Std Book" charset="0"/>
                <a:cs typeface="Futura Std Book" charset="0"/>
              </a:rPr>
              <a:t>source: European </a:t>
            </a:r>
            <a:r>
              <a:rPr lang="nl-NL" sz="1067" dirty="0" err="1">
                <a:solidFill>
                  <a:schemeClr val="tx2"/>
                </a:solidFill>
                <a:ea typeface="Futura Std Book" charset="0"/>
                <a:cs typeface="Futura Std Book" charset="0"/>
              </a:rPr>
              <a:t>Commission</a:t>
            </a:r>
            <a:r>
              <a:rPr lang="nl-NL" sz="1067" dirty="0">
                <a:solidFill>
                  <a:schemeClr val="tx2"/>
                </a:solidFill>
                <a:ea typeface="Futura Std Book" charset="0"/>
                <a:cs typeface="Futura Std Book" charset="0"/>
              </a:rPr>
              <a:t>, Eurobarometer: </a:t>
            </a:r>
            <a:r>
              <a:rPr lang="nl-NL" sz="1067" dirty="0" err="1">
                <a:solidFill>
                  <a:schemeClr val="tx2"/>
                </a:solidFill>
                <a:ea typeface="Futura Std Book" charset="0"/>
                <a:cs typeface="Futura Std Book" charset="0"/>
              </a:rPr>
              <a:t>Europeans</a:t>
            </a:r>
            <a:r>
              <a:rPr lang="nl-NL" sz="1067" dirty="0">
                <a:solidFill>
                  <a:schemeClr val="tx2"/>
                </a:solidFill>
                <a:ea typeface="Futura Std Book" charset="0"/>
                <a:cs typeface="Futura Std Book" charset="0"/>
              </a:rPr>
              <a:t> </a:t>
            </a:r>
            <a:r>
              <a:rPr lang="nl-NL" sz="1067" dirty="0" err="1">
                <a:solidFill>
                  <a:schemeClr val="tx2"/>
                </a:solidFill>
                <a:ea typeface="Futura Std Book" charset="0"/>
                <a:cs typeface="Futura Std Book" charset="0"/>
              </a:rPr>
              <a:t>and</a:t>
            </a:r>
            <a:r>
              <a:rPr lang="nl-NL" sz="1067" dirty="0">
                <a:solidFill>
                  <a:schemeClr val="tx2"/>
                </a:solidFill>
                <a:ea typeface="Futura Std Book" charset="0"/>
                <a:cs typeface="Futura Std Book" charset="0"/>
              </a:rPr>
              <a:t> </a:t>
            </a:r>
            <a:r>
              <a:rPr lang="nl-NL" sz="1067" dirty="0" err="1">
                <a:solidFill>
                  <a:schemeClr val="tx2"/>
                </a:solidFill>
                <a:ea typeface="Futura Std Book" charset="0"/>
                <a:cs typeface="Futura Std Book" charset="0"/>
              </a:rPr>
              <a:t>their</a:t>
            </a:r>
            <a:r>
              <a:rPr lang="nl-NL" sz="1067" dirty="0">
                <a:solidFill>
                  <a:schemeClr val="tx2"/>
                </a:solidFill>
                <a:ea typeface="Futura Std Book" charset="0"/>
                <a:cs typeface="Futura Std Book" charset="0"/>
              </a:rPr>
              <a:t> </a:t>
            </a:r>
            <a:r>
              <a:rPr lang="nl-NL" sz="1067" dirty="0" err="1">
                <a:solidFill>
                  <a:schemeClr val="tx2"/>
                </a:solidFill>
                <a:ea typeface="Futura Std Book" charset="0"/>
                <a:cs typeface="Futura Std Book" charset="0"/>
              </a:rPr>
              <a:t>Languages</a:t>
            </a:r>
            <a:r>
              <a:rPr lang="nl-NL" sz="1067" dirty="0">
                <a:solidFill>
                  <a:schemeClr val="tx2"/>
                </a:solidFill>
                <a:ea typeface="Futura Std Book" charset="0"/>
                <a:cs typeface="Futura Std Book" charset="0"/>
              </a:rPr>
              <a:t>, 2012</a:t>
            </a:r>
          </a:p>
        </p:txBody>
      </p:sp>
      <p:sp>
        <p:nvSpPr>
          <p:cNvPr id="5" name="Tijdelijke aanduiding voor datum 4">
            <a:extLst>
              <a:ext uri="{FF2B5EF4-FFF2-40B4-BE49-F238E27FC236}">
                <a16:creationId xmlns:a16="http://schemas.microsoft.com/office/drawing/2014/main" id="{A943E1D3-B733-4E7A-9981-F43F0260C2D7}"/>
              </a:ext>
            </a:extLst>
          </p:cNvPr>
          <p:cNvSpPr>
            <a:spLocks noGrp="1"/>
          </p:cNvSpPr>
          <p:nvPr>
            <p:ph type="dt" sz="half" idx="10"/>
          </p:nvPr>
        </p:nvSpPr>
        <p:spPr/>
        <p:txBody>
          <a:bodyPr/>
          <a:lstStyle/>
          <a:p>
            <a:fld id="{50DD10F7-5F20-4BD6-8109-AC0D9DE0D965}" type="datetime4">
              <a:rPr lang="en-GB" smtClean="0"/>
              <a:t>29 May 2020</a:t>
            </a:fld>
            <a:endParaRPr lang="en-GB" dirty="0"/>
          </a:p>
        </p:txBody>
      </p:sp>
      <p:sp>
        <p:nvSpPr>
          <p:cNvPr id="6" name="Tijdelijke aanduiding voor voettekst 5">
            <a:extLst>
              <a:ext uri="{FF2B5EF4-FFF2-40B4-BE49-F238E27FC236}">
                <a16:creationId xmlns:a16="http://schemas.microsoft.com/office/drawing/2014/main" id="{35C98857-E33B-4609-AE4B-AEF8CFD121A0}"/>
              </a:ext>
            </a:extLst>
          </p:cNvPr>
          <p:cNvSpPr>
            <a:spLocks noGrp="1"/>
          </p:cNvSpPr>
          <p:nvPr>
            <p:ph type="ftr" sz="quarter" idx="11"/>
          </p:nvPr>
        </p:nvSpPr>
        <p:spPr/>
        <p:txBody>
          <a:bodyPr/>
          <a:lstStyle/>
          <a:p>
            <a:r>
              <a:rPr lang="en-GB"/>
              <a:t>|</a:t>
            </a:r>
            <a:endParaRPr lang="en-GB" dirty="0"/>
          </a:p>
        </p:txBody>
      </p:sp>
      <p:sp>
        <p:nvSpPr>
          <p:cNvPr id="7" name="Tijdelijke aanduiding voor dianummer 6">
            <a:extLst>
              <a:ext uri="{FF2B5EF4-FFF2-40B4-BE49-F238E27FC236}">
                <a16:creationId xmlns:a16="http://schemas.microsoft.com/office/drawing/2014/main" id="{6F5A5AA7-8DB6-48FF-AEAC-88D08EC4D68E}"/>
              </a:ext>
            </a:extLst>
          </p:cNvPr>
          <p:cNvSpPr>
            <a:spLocks noGrp="1"/>
          </p:cNvSpPr>
          <p:nvPr>
            <p:ph type="sldNum" sz="quarter" idx="12"/>
          </p:nvPr>
        </p:nvSpPr>
        <p:spPr/>
        <p:txBody>
          <a:bodyPr/>
          <a:lstStyle/>
          <a:p>
            <a:fld id="{534B5F9C-CFE5-4EC6-9BBB-664E2F56B033}" type="slidenum">
              <a:rPr lang="en-GB" smtClean="0"/>
              <a:t>35</a:t>
            </a:fld>
            <a:endParaRPr lang="en-GB" dirty="0"/>
          </a:p>
        </p:txBody>
      </p:sp>
    </p:spTree>
    <p:custDataLst>
      <p:tags r:id="rId1"/>
    </p:custDataLst>
    <p:extLst>
      <p:ext uri="{BB962C8B-B14F-4D97-AF65-F5344CB8AC3E}">
        <p14:creationId xmlns:p14="http://schemas.microsoft.com/office/powerpoint/2010/main" val="257092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c="http://schemas.openxmlformats.org/drawingml/2006/chart"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prstGeom prst="rect">
            <a:avLst/>
          </a:prstGeom>
        </p:spPr>
        <p:txBody>
          <a:bodyPr>
            <a:noAutofit/>
          </a:bodyPr>
          <a:lstStyle/>
          <a:p>
            <a:r>
              <a:rPr lang="nl-NL" dirty="0"/>
              <a:t>FRONTRUNNER IN ENERGY TRANSITION</a:t>
            </a:r>
          </a:p>
        </p:txBody>
      </p:sp>
      <p:sp>
        <p:nvSpPr>
          <p:cNvPr id="2801" name="Rectangle"/>
          <p:cNvSpPr/>
          <p:nvPr/>
        </p:nvSpPr>
        <p:spPr>
          <a:xfrm>
            <a:off x="266171" y="4936421"/>
            <a:ext cx="1927583" cy="932475"/>
          </a:xfrm>
          <a:prstGeom prst="rect">
            <a:avLst/>
          </a:prstGeom>
          <a:solidFill>
            <a:schemeClr val="bg2"/>
          </a:solidFill>
          <a:ln w="12700">
            <a:miter lim="400000"/>
          </a:ln>
        </p:spPr>
        <p:txBody>
          <a:bodyPr lIns="45681" tIns="45681" rIns="45681" bIns="45681" anchor="t"/>
          <a:lstStyle/>
          <a:p>
            <a:pPr defTabSz="1218275" hangingPunct="0">
              <a:lnSpc>
                <a:spcPct val="110000"/>
              </a:lnSpc>
              <a:buSzPct val="100000"/>
              <a:defRPr sz="1500">
                <a:latin typeface="Futura Std"/>
                <a:ea typeface="Futura Std"/>
                <a:cs typeface="Futura Std"/>
                <a:sym typeface="Futura Std"/>
              </a:defRPr>
            </a:pPr>
            <a:r>
              <a:rPr lang="nl-NL" sz="1067" b="1" kern="0" dirty="0">
                <a:solidFill>
                  <a:schemeClr val="accent6"/>
                </a:solidFill>
                <a:ea typeface="Futura Std Medium" charset="0"/>
                <a:cs typeface="Futura Std Medium" charset="0"/>
                <a:sym typeface="Futura Std"/>
              </a:rPr>
              <a:t>2011</a:t>
            </a:r>
          </a:p>
          <a:p>
            <a:pPr marL="124881" indent="-124881" defTabSz="1218275" hangingPunct="0">
              <a:lnSpc>
                <a:spcPct val="110000"/>
              </a:lnSpc>
              <a:buSzPct val="100000"/>
              <a:buFont typeface="Arial" charset="0"/>
              <a:buChar char="•"/>
              <a:defRPr sz="1500">
                <a:latin typeface="Futura Std"/>
                <a:ea typeface="Futura Std"/>
                <a:cs typeface="Futura Std"/>
                <a:sym typeface="Futura Std"/>
              </a:defRPr>
            </a:pPr>
            <a:r>
              <a:rPr lang="nl-NL" sz="1067" kern="0" dirty="0">
                <a:solidFill>
                  <a:schemeClr val="accent6"/>
                </a:solidFill>
                <a:ea typeface="Futura Std Medium" charset="0"/>
                <a:cs typeface="Futura Std Medium" charset="0"/>
                <a:sym typeface="Futura Std"/>
              </a:rPr>
              <a:t>50/50 Vopak/</a:t>
            </a:r>
            <a:r>
              <a:rPr lang="nl-NL" sz="1067" kern="0" dirty="0" err="1">
                <a:solidFill>
                  <a:schemeClr val="accent6"/>
                </a:solidFill>
                <a:ea typeface="Futura Std Medium" charset="0"/>
                <a:cs typeface="Futura Std Medium" charset="0"/>
                <a:sym typeface="Futura Std"/>
              </a:rPr>
              <a:t>Gasunie</a:t>
            </a:r>
            <a:endParaRPr lang="nl-NL" sz="1067" kern="0" dirty="0">
              <a:solidFill>
                <a:schemeClr val="accent6"/>
              </a:solidFill>
              <a:ea typeface="Futura Std Medium" charset="0"/>
              <a:cs typeface="Futura Std Medium" charset="0"/>
              <a:sym typeface="Futura Std"/>
            </a:endParaRPr>
          </a:p>
          <a:p>
            <a:pPr marL="124881" indent="-124881" defTabSz="1218275" hangingPunct="0">
              <a:lnSpc>
                <a:spcPct val="110000"/>
              </a:lnSpc>
              <a:buSzPct val="100000"/>
              <a:buFont typeface="Arial" charset="0"/>
              <a:buChar char="•"/>
              <a:defRPr sz="1500">
                <a:latin typeface="Futura Std"/>
                <a:ea typeface="Futura Std"/>
                <a:cs typeface="Futura Std"/>
                <a:sym typeface="Futura Std"/>
              </a:defRPr>
            </a:pPr>
            <a:r>
              <a:rPr lang="nl-NL" sz="1067" kern="0" dirty="0">
                <a:solidFill>
                  <a:schemeClr val="accent6"/>
                </a:solidFill>
                <a:ea typeface="Futura Std Medium" charset="0"/>
                <a:cs typeface="Futura Std Medium" charset="0"/>
                <a:sym typeface="Futura Std"/>
              </a:rPr>
              <a:t>3x180.000 m3 </a:t>
            </a:r>
          </a:p>
          <a:p>
            <a:pPr marL="124881" indent="-124881" defTabSz="1218275" hangingPunct="0">
              <a:lnSpc>
                <a:spcPct val="110000"/>
              </a:lnSpc>
              <a:buSzPct val="100000"/>
              <a:buFont typeface="Arial" charset="0"/>
              <a:buChar char="•"/>
              <a:defRPr sz="1500">
                <a:latin typeface="Futura Std"/>
                <a:ea typeface="Futura Std"/>
                <a:cs typeface="Futura Std"/>
                <a:sym typeface="Futura Std"/>
              </a:defRPr>
            </a:pPr>
            <a:r>
              <a:rPr lang="nl-NL" sz="1067" kern="0" dirty="0">
                <a:solidFill>
                  <a:schemeClr val="accent6"/>
                </a:solidFill>
                <a:ea typeface="Futura Std Medium" charset="0"/>
                <a:cs typeface="Futura Std Medium" charset="0"/>
                <a:sym typeface="Futura Std"/>
              </a:rPr>
              <a:t>2 </a:t>
            </a:r>
            <a:r>
              <a:rPr lang="nl-NL" sz="1067" kern="0" dirty="0" err="1">
                <a:solidFill>
                  <a:schemeClr val="accent6"/>
                </a:solidFill>
                <a:ea typeface="Futura Std Medium" charset="0"/>
                <a:cs typeface="Futura Std Medium" charset="0"/>
                <a:sym typeface="Futura Std"/>
              </a:rPr>
              <a:t>Jetties</a:t>
            </a:r>
            <a:r>
              <a:rPr lang="nl-NL" sz="1067" kern="0" dirty="0">
                <a:solidFill>
                  <a:schemeClr val="accent6"/>
                </a:solidFill>
                <a:ea typeface="Futura Std Medium" charset="0"/>
                <a:cs typeface="Futura Std Medium" charset="0"/>
                <a:sym typeface="Futura Std"/>
              </a:rPr>
              <a:t> </a:t>
            </a:r>
          </a:p>
          <a:p>
            <a:pPr marL="124881" indent="-124881" defTabSz="1218275" hangingPunct="0">
              <a:lnSpc>
                <a:spcPct val="110000"/>
              </a:lnSpc>
              <a:buSzPct val="100000"/>
              <a:buFont typeface="Arial" charset="0"/>
              <a:buChar char="•"/>
              <a:defRPr sz="1500">
                <a:latin typeface="Futura Std"/>
                <a:ea typeface="Futura Std"/>
                <a:cs typeface="Futura Std"/>
                <a:sym typeface="Futura Std"/>
              </a:defRPr>
            </a:pPr>
            <a:r>
              <a:rPr lang="nl-NL" sz="1067" kern="0" dirty="0">
                <a:solidFill>
                  <a:schemeClr val="accent6"/>
                </a:solidFill>
                <a:ea typeface="Futura Std Medium" charset="0"/>
                <a:cs typeface="Futura Std Medium" charset="0"/>
                <a:sym typeface="Futura Std"/>
              </a:rPr>
              <a:t>Vessels &gt;7.000 m</a:t>
            </a:r>
            <a:r>
              <a:rPr lang="nl-NL" sz="1067" kern="0" baseline="31999" dirty="0">
                <a:solidFill>
                  <a:schemeClr val="accent6"/>
                </a:solidFill>
                <a:ea typeface="Futura Std Medium" charset="0"/>
                <a:cs typeface="Futura Std Medium" charset="0"/>
                <a:sym typeface="Futura Std"/>
              </a:rPr>
              <a:t>3</a:t>
            </a:r>
          </a:p>
        </p:txBody>
      </p:sp>
      <p:sp>
        <p:nvSpPr>
          <p:cNvPr id="2802" name="Rectangle"/>
          <p:cNvSpPr/>
          <p:nvPr/>
        </p:nvSpPr>
        <p:spPr>
          <a:xfrm>
            <a:off x="266171" y="2240029"/>
            <a:ext cx="1920000" cy="624000"/>
          </a:xfrm>
          <a:prstGeom prst="rect">
            <a:avLst/>
          </a:prstGeom>
          <a:solidFill>
            <a:schemeClr val="accent6"/>
          </a:solidFill>
          <a:ln w="12700">
            <a:miter lim="400000"/>
          </a:ln>
        </p:spPr>
        <p:txBody>
          <a:bodyPr lIns="45681" tIns="45681" rIns="45681" bIns="45681" anchor="ctr"/>
          <a:lstStyle/>
          <a:p>
            <a:pPr algn="ctr" defTabSz="1218275" hangingPunct="0"/>
            <a:r>
              <a:rPr lang="en-US" sz="1600" kern="0" dirty="0">
                <a:solidFill>
                  <a:srgbClr val="D9EBF8">
                    <a:hueOff val="-12309678"/>
                    <a:satOff val="-68888"/>
                    <a:lumOff val="8823"/>
                  </a:srgbClr>
                </a:solidFill>
                <a:ea typeface="Futura Std Medium" charset="0"/>
                <a:cs typeface="Futura Std Medium" charset="0"/>
              </a:rPr>
              <a:t>GATE</a:t>
            </a:r>
            <a:br>
              <a:rPr lang="en-US" sz="1600" kern="0" dirty="0">
                <a:solidFill>
                  <a:srgbClr val="D9EBF8">
                    <a:hueOff val="-12309678"/>
                    <a:satOff val="-68888"/>
                    <a:lumOff val="8823"/>
                  </a:srgbClr>
                </a:solidFill>
                <a:ea typeface="Futura Std Medium" charset="0"/>
                <a:cs typeface="Futura Std Medium" charset="0"/>
              </a:rPr>
            </a:br>
            <a:r>
              <a:rPr lang="en-US" sz="1600" kern="0" dirty="0">
                <a:solidFill>
                  <a:srgbClr val="D9EBF8">
                    <a:hueOff val="-12309678"/>
                    <a:satOff val="-68888"/>
                    <a:lumOff val="8823"/>
                  </a:srgbClr>
                </a:solidFill>
                <a:ea typeface="Futura Std Medium" charset="0"/>
                <a:cs typeface="Futura Std Medium" charset="0"/>
              </a:rPr>
              <a:t>TERMINAL</a:t>
            </a:r>
          </a:p>
        </p:txBody>
      </p:sp>
      <p:pic>
        <p:nvPicPr>
          <p:cNvPr id="2805" name="Image" descr="Image"/>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266168" y="3016421"/>
            <a:ext cx="1920000" cy="1920000"/>
          </a:xfrm>
          <a:prstGeom prst="rect">
            <a:avLst/>
          </a:prstGeom>
          <a:ln w="12700">
            <a:miter lim="400000"/>
          </a:ln>
        </p:spPr>
      </p:pic>
      <p:sp>
        <p:nvSpPr>
          <p:cNvPr id="2806" name="Rectangle"/>
          <p:cNvSpPr/>
          <p:nvPr/>
        </p:nvSpPr>
        <p:spPr>
          <a:xfrm>
            <a:off x="6189215" y="4936420"/>
            <a:ext cx="1920000" cy="932475"/>
          </a:xfrm>
          <a:prstGeom prst="rect">
            <a:avLst/>
          </a:prstGeom>
          <a:solidFill>
            <a:schemeClr val="bg2"/>
          </a:solidFill>
          <a:ln w="12700">
            <a:miter lim="400000"/>
          </a:ln>
        </p:spPr>
        <p:txBody>
          <a:bodyPr lIns="45681" tIns="45681" rIns="45681" bIns="45681" anchor="t"/>
          <a:lstStyle/>
          <a:p>
            <a:pPr defTabSz="1218275" hangingPunct="0">
              <a:lnSpc>
                <a:spcPct val="110000"/>
              </a:lnSpc>
              <a:buSzPct val="100000"/>
              <a:defRPr sz="1500">
                <a:latin typeface="Futura Std"/>
                <a:ea typeface="Futura Std"/>
                <a:cs typeface="Futura Std"/>
                <a:sym typeface="Futura Std"/>
              </a:defRPr>
            </a:pPr>
            <a:r>
              <a:rPr lang="en-US" sz="1067" b="1" kern="0" dirty="0">
                <a:solidFill>
                  <a:schemeClr val="accent6"/>
                </a:solidFill>
                <a:ea typeface="Futura Std Medium" charset="0"/>
                <a:cs typeface="Futura Std Medium" charset="0"/>
                <a:sym typeface="Futura Std"/>
              </a:rPr>
              <a:t>2016</a:t>
            </a:r>
          </a:p>
          <a:p>
            <a:pPr marL="124881" indent="-124881" defTabSz="1218275" hangingPunct="0">
              <a:lnSpc>
                <a:spcPct val="110000"/>
              </a:lnSpc>
              <a:buSzPct val="100000"/>
              <a:buFont typeface="Arial" charset="0"/>
              <a:buChar char="•"/>
              <a:defRPr sz="1500">
                <a:latin typeface="Futura Std"/>
                <a:ea typeface="Futura Std"/>
                <a:cs typeface="Futura Std"/>
                <a:sym typeface="Futura Std"/>
              </a:defRPr>
            </a:pPr>
            <a:r>
              <a:rPr lang="en-US" sz="1067" kern="0" dirty="0">
                <a:solidFill>
                  <a:schemeClr val="accent6"/>
                </a:solidFill>
                <a:ea typeface="Futura Std Medium" charset="0"/>
                <a:cs typeface="Futura Std Medium" charset="0"/>
                <a:sym typeface="Futura Std"/>
              </a:rPr>
              <a:t>Loading and  re-export </a:t>
            </a:r>
          </a:p>
          <a:p>
            <a:pPr marL="124881" indent="-124881" defTabSz="1218275" hangingPunct="0">
              <a:lnSpc>
                <a:spcPct val="110000"/>
              </a:lnSpc>
              <a:buSzPct val="100000"/>
              <a:buFont typeface="Arial" charset="0"/>
              <a:buChar char="•"/>
              <a:defRPr sz="1500">
                <a:latin typeface="Futura Std"/>
                <a:ea typeface="Futura Std"/>
                <a:cs typeface="Futura Std"/>
                <a:sym typeface="Futura Std"/>
              </a:defRPr>
            </a:pPr>
            <a:r>
              <a:rPr lang="en-US" sz="1067" kern="0" dirty="0">
                <a:solidFill>
                  <a:schemeClr val="accent6"/>
                </a:solidFill>
                <a:ea typeface="Futura Std Medium" charset="0"/>
                <a:cs typeface="Futura Std Medium" charset="0"/>
                <a:sym typeface="Futura Std"/>
              </a:rPr>
              <a:t>Vessels and (bunker) barges  &lt; 7.000 m</a:t>
            </a:r>
            <a:r>
              <a:rPr lang="en-US" sz="1067" kern="0" baseline="31999" dirty="0">
                <a:solidFill>
                  <a:schemeClr val="accent6"/>
                </a:solidFill>
                <a:ea typeface="Futura Std Medium" charset="0"/>
                <a:cs typeface="Futura Std Medium" charset="0"/>
                <a:sym typeface="Futura Std"/>
              </a:rPr>
              <a:t>3</a:t>
            </a:r>
          </a:p>
        </p:txBody>
      </p:sp>
      <p:sp>
        <p:nvSpPr>
          <p:cNvPr id="2807" name="Rectangle"/>
          <p:cNvSpPr/>
          <p:nvPr/>
        </p:nvSpPr>
        <p:spPr>
          <a:xfrm>
            <a:off x="6175607" y="2248726"/>
            <a:ext cx="1920000" cy="624000"/>
          </a:xfrm>
          <a:prstGeom prst="rect">
            <a:avLst/>
          </a:prstGeom>
          <a:solidFill>
            <a:schemeClr val="accent6"/>
          </a:solidFill>
          <a:ln w="12700">
            <a:miter lim="400000"/>
          </a:ln>
        </p:spPr>
        <p:txBody>
          <a:bodyPr lIns="45681" tIns="45681" rIns="45681" bIns="45681" anchor="ctr"/>
          <a:lstStyle/>
          <a:p>
            <a:pPr algn="ctr" defTabSz="1218275" hangingPunct="0"/>
            <a:r>
              <a:rPr lang="nl-NL" sz="1600" kern="0" dirty="0">
                <a:solidFill>
                  <a:srgbClr val="D9EBF8">
                    <a:hueOff val="-12309678"/>
                    <a:satOff val="-68888"/>
                    <a:lumOff val="8823"/>
                  </a:srgbClr>
                </a:solidFill>
                <a:ea typeface="Futura Std Medium" charset="0"/>
                <a:cs typeface="Futura Std Medium" charset="0"/>
              </a:rPr>
              <a:t>GATE BREAK</a:t>
            </a:r>
          </a:p>
          <a:p>
            <a:pPr algn="ctr" defTabSz="1218275" hangingPunct="0"/>
            <a:r>
              <a:rPr lang="nl-NL" sz="1600" kern="0" dirty="0">
                <a:solidFill>
                  <a:srgbClr val="D9EBF8">
                    <a:hueOff val="-12309678"/>
                    <a:satOff val="-68888"/>
                    <a:lumOff val="8823"/>
                  </a:srgbClr>
                </a:solidFill>
                <a:ea typeface="Futura Std Medium" charset="0"/>
                <a:cs typeface="Futura Std Medium" charset="0"/>
              </a:rPr>
              <a:t>BULK FACILITY</a:t>
            </a:r>
          </a:p>
        </p:txBody>
      </p:sp>
      <p:pic>
        <p:nvPicPr>
          <p:cNvPr id="2810" name="Image" descr="Image"/>
          <p:cNvPicPr>
            <a:picLocks noChangeAspect="1"/>
          </p:cNvPicPr>
          <p:nvPr/>
        </p:nvPicPr>
        <p:blipFill rotWithShape="1">
          <a:blip r:embed="rId5" cstate="email">
            <a:extLst>
              <a:ext uri="{28A0092B-C50C-407E-A947-70E740481C1C}">
                <a14:useLocalDpi xmlns:a14="http://schemas.microsoft.com/office/drawing/2010/main"/>
              </a:ext>
            </a:extLst>
          </a:blip>
          <a:srcRect r="1193"/>
          <a:stretch/>
        </p:blipFill>
        <p:spPr>
          <a:xfrm>
            <a:off x="6198508" y="3016421"/>
            <a:ext cx="1897099" cy="1920000"/>
          </a:xfrm>
          <a:prstGeom prst="rect">
            <a:avLst/>
          </a:prstGeom>
          <a:solidFill>
            <a:schemeClr val="accent6"/>
          </a:solidFill>
          <a:ln w="12700">
            <a:miter lim="400000"/>
          </a:ln>
        </p:spPr>
      </p:pic>
      <p:sp>
        <p:nvSpPr>
          <p:cNvPr id="2811" name="Rectangle"/>
          <p:cNvSpPr/>
          <p:nvPr/>
        </p:nvSpPr>
        <p:spPr>
          <a:xfrm>
            <a:off x="4203448" y="4937917"/>
            <a:ext cx="1920000" cy="932475"/>
          </a:xfrm>
          <a:prstGeom prst="rect">
            <a:avLst/>
          </a:prstGeom>
          <a:solidFill>
            <a:schemeClr val="bg2"/>
          </a:solidFill>
          <a:ln w="12700">
            <a:miter lim="400000"/>
          </a:ln>
        </p:spPr>
        <p:txBody>
          <a:bodyPr lIns="45681" tIns="45681" rIns="45681" bIns="45681" anchor="t"/>
          <a:lstStyle/>
          <a:p>
            <a:pPr defTabSz="1218275" hangingPunct="0">
              <a:lnSpc>
                <a:spcPct val="110000"/>
              </a:lnSpc>
              <a:buSzPct val="100000"/>
              <a:defRPr sz="1500">
                <a:latin typeface="Futura Std"/>
                <a:ea typeface="Futura Std"/>
                <a:cs typeface="Futura Std"/>
                <a:sym typeface="Futura Std"/>
              </a:defRPr>
            </a:pPr>
            <a:r>
              <a:rPr lang="nl-NL" sz="1067" b="1" kern="0" dirty="0">
                <a:solidFill>
                  <a:schemeClr val="accent6"/>
                </a:solidFill>
                <a:latin typeface="Futura Std Medium" charset="0"/>
                <a:ea typeface="Futura Std Medium" charset="0"/>
                <a:cs typeface="Futura Std Medium" charset="0"/>
                <a:sym typeface="Futura Std"/>
              </a:rPr>
              <a:t>2015</a:t>
            </a:r>
          </a:p>
          <a:p>
            <a:pPr marL="124881" indent="-124881" defTabSz="1218275" hangingPunct="0">
              <a:lnSpc>
                <a:spcPct val="110000"/>
              </a:lnSpc>
              <a:buSzPct val="100000"/>
              <a:buFont typeface="Arial" charset="0"/>
              <a:buChar char="•"/>
              <a:defRPr sz="1500">
                <a:latin typeface="Futura Std"/>
                <a:ea typeface="Futura Std"/>
                <a:cs typeface="Futura Std"/>
                <a:sym typeface="Futura Std"/>
              </a:defRPr>
            </a:pPr>
            <a:r>
              <a:rPr lang="nl-NL" sz="1067" kern="0" dirty="0" err="1">
                <a:solidFill>
                  <a:schemeClr val="accent6"/>
                </a:solidFill>
                <a:latin typeface="Futura Std Medium" charset="0"/>
                <a:ea typeface="Futura Std Medium" charset="0"/>
                <a:cs typeface="Futura Std Medium" charset="0"/>
                <a:sym typeface="Futura Std"/>
              </a:rPr>
              <a:t>Ship</a:t>
            </a:r>
            <a:r>
              <a:rPr lang="nl-NL" sz="1067" kern="0" dirty="0">
                <a:solidFill>
                  <a:schemeClr val="accent6"/>
                </a:solidFill>
                <a:latin typeface="Futura Std Medium" charset="0"/>
                <a:ea typeface="Futura Std Medium" charset="0"/>
                <a:cs typeface="Futura Std Medium" charset="0"/>
                <a:sym typeface="Futura Std"/>
              </a:rPr>
              <a:t>-to-</a:t>
            </a:r>
            <a:r>
              <a:rPr lang="nl-NL" sz="1067" kern="0" dirty="0" err="1">
                <a:solidFill>
                  <a:schemeClr val="accent6"/>
                </a:solidFill>
                <a:latin typeface="Futura Std Medium" charset="0"/>
                <a:ea typeface="Futura Std Medium" charset="0"/>
                <a:cs typeface="Futura Std Medium" charset="0"/>
                <a:sym typeface="Futura Std"/>
              </a:rPr>
              <a:t>Ship</a:t>
            </a:r>
            <a:r>
              <a:rPr lang="nl-NL" sz="1067" kern="0" dirty="0">
                <a:solidFill>
                  <a:schemeClr val="accent6"/>
                </a:solidFill>
                <a:latin typeface="Futura Std Medium" charset="0"/>
                <a:ea typeface="Futura Std Medium" charset="0"/>
                <a:cs typeface="Futura Std Medium" charset="0"/>
                <a:sym typeface="Futura Std"/>
              </a:rPr>
              <a:t> Transfer</a:t>
            </a:r>
          </a:p>
          <a:p>
            <a:pPr marL="124881" indent="-124881" defTabSz="1218275" hangingPunct="0">
              <a:lnSpc>
                <a:spcPct val="110000"/>
              </a:lnSpc>
              <a:buSzPct val="100000"/>
              <a:buFont typeface="Arial" charset="0"/>
              <a:buChar char="•"/>
              <a:defRPr sz="1500">
                <a:latin typeface="Futura Std"/>
                <a:ea typeface="Futura Std"/>
                <a:cs typeface="Futura Std"/>
                <a:sym typeface="Futura Std"/>
              </a:defRPr>
            </a:pPr>
            <a:r>
              <a:rPr lang="nl-NL" sz="1067" kern="0" dirty="0" err="1">
                <a:solidFill>
                  <a:schemeClr val="accent6"/>
                </a:solidFill>
                <a:latin typeface="Futura Std Medium" charset="0"/>
                <a:ea typeface="Futura Std Medium" charset="0"/>
                <a:cs typeface="Futura Std Medium" charset="0"/>
                <a:sym typeface="Futura Std"/>
              </a:rPr>
              <a:t>Ship-to-Ship</a:t>
            </a:r>
            <a:r>
              <a:rPr lang="nl-NL" sz="1067" kern="0" dirty="0">
                <a:solidFill>
                  <a:schemeClr val="accent6"/>
                </a:solidFill>
                <a:latin typeface="Futura Std Medium" charset="0"/>
                <a:ea typeface="Futura Std Medium" charset="0"/>
                <a:cs typeface="Futura Std Medium" charset="0"/>
                <a:sym typeface="Futura Std"/>
              </a:rPr>
              <a:t> LNG bunker</a:t>
            </a:r>
          </a:p>
          <a:p>
            <a:pPr marL="124881" indent="-124881" defTabSz="1218275" hangingPunct="0">
              <a:lnSpc>
                <a:spcPct val="110000"/>
              </a:lnSpc>
              <a:buSzPct val="100000"/>
              <a:buFont typeface="Arial" charset="0"/>
              <a:buChar char="•"/>
              <a:defRPr sz="1500">
                <a:latin typeface="Futura Std"/>
                <a:ea typeface="Futura Std"/>
                <a:cs typeface="Futura Std"/>
                <a:sym typeface="Futura Std"/>
              </a:defRPr>
            </a:pPr>
            <a:r>
              <a:rPr lang="nl-NL" sz="1067" kern="0" dirty="0">
                <a:solidFill>
                  <a:schemeClr val="accent6"/>
                </a:solidFill>
                <a:latin typeface="Futura Std Medium" charset="0"/>
                <a:ea typeface="Futura Std Medium" charset="0"/>
                <a:cs typeface="Futura Std Medium" charset="0"/>
                <a:sym typeface="Futura Std"/>
              </a:rPr>
              <a:t>LNG Priority</a:t>
            </a:r>
          </a:p>
          <a:p>
            <a:pPr marL="124881" indent="-124881" defTabSz="1218275" hangingPunct="0">
              <a:lnSpc>
                <a:spcPct val="110000"/>
              </a:lnSpc>
              <a:buSzPct val="100000"/>
              <a:buFont typeface="Arial" charset="0"/>
              <a:buChar char="•"/>
              <a:defRPr sz="1500">
                <a:latin typeface="Futura Std"/>
                <a:ea typeface="Futura Std"/>
                <a:cs typeface="Futura Std"/>
                <a:sym typeface="Futura Std"/>
              </a:defRPr>
            </a:pPr>
            <a:r>
              <a:rPr lang="nl-NL" sz="1067" kern="0" dirty="0">
                <a:solidFill>
                  <a:schemeClr val="accent6"/>
                </a:solidFill>
                <a:latin typeface="Futura Std Medium" charset="0"/>
                <a:ea typeface="Futura Std Medium" charset="0"/>
                <a:cs typeface="Futura Std Medium" charset="0"/>
                <a:sym typeface="Futura Std"/>
              </a:rPr>
              <a:t>EU </a:t>
            </a:r>
            <a:r>
              <a:rPr lang="nl-NL" sz="1067" kern="0" dirty="0" err="1">
                <a:solidFill>
                  <a:schemeClr val="accent6"/>
                </a:solidFill>
                <a:latin typeface="Futura Std Medium" charset="0"/>
                <a:ea typeface="Futura Std Medium" charset="0"/>
                <a:cs typeface="Futura Std Medium" charset="0"/>
                <a:sym typeface="Futura Std"/>
              </a:rPr>
              <a:t>Funded</a:t>
            </a:r>
            <a:endParaRPr lang="nl-NL" sz="1067" kern="0" dirty="0">
              <a:solidFill>
                <a:schemeClr val="accent6"/>
              </a:solidFill>
              <a:latin typeface="Futura Std Medium" charset="0"/>
              <a:ea typeface="Futura Std Medium" charset="0"/>
              <a:cs typeface="Futura Std Medium" charset="0"/>
              <a:sym typeface="Futura Std"/>
            </a:endParaRPr>
          </a:p>
        </p:txBody>
      </p:sp>
      <p:sp>
        <p:nvSpPr>
          <p:cNvPr id="2812" name="Rectangle"/>
          <p:cNvSpPr/>
          <p:nvPr/>
        </p:nvSpPr>
        <p:spPr>
          <a:xfrm>
            <a:off x="4205795" y="2248726"/>
            <a:ext cx="1920000" cy="624000"/>
          </a:xfrm>
          <a:prstGeom prst="rect">
            <a:avLst/>
          </a:prstGeom>
          <a:solidFill>
            <a:schemeClr val="accent6"/>
          </a:solidFill>
          <a:ln w="12700">
            <a:miter lim="400000"/>
          </a:ln>
        </p:spPr>
        <p:txBody>
          <a:bodyPr lIns="45681" tIns="45681" rIns="45681" bIns="45681" anchor="ctr"/>
          <a:lstStyle/>
          <a:p>
            <a:pPr algn="ctr" defTabSz="1218275" hangingPunct="0"/>
            <a:r>
              <a:rPr lang="nl-NL" sz="1600" kern="0" dirty="0">
                <a:solidFill>
                  <a:srgbClr val="D9EBF8">
                    <a:hueOff val="-12309678"/>
                    <a:satOff val="-68888"/>
                    <a:lumOff val="8823"/>
                  </a:srgbClr>
                </a:solidFill>
                <a:ea typeface="Futura Std Medium" charset="0"/>
                <a:cs typeface="Futura Std Medium" charset="0"/>
              </a:rPr>
              <a:t>LNG DOLPHINS</a:t>
            </a:r>
          </a:p>
        </p:txBody>
      </p:sp>
      <p:pic>
        <p:nvPicPr>
          <p:cNvPr id="2815" name="Image" descr="Image"/>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a:xfrm>
            <a:off x="4213771" y="3016421"/>
            <a:ext cx="1920000" cy="1920000"/>
          </a:xfrm>
          <a:prstGeom prst="rect">
            <a:avLst/>
          </a:prstGeom>
          <a:ln w="12700">
            <a:miter lim="400000"/>
          </a:ln>
        </p:spPr>
      </p:pic>
      <p:sp>
        <p:nvSpPr>
          <p:cNvPr id="2816" name="Rectangle"/>
          <p:cNvSpPr/>
          <p:nvPr/>
        </p:nvSpPr>
        <p:spPr>
          <a:xfrm>
            <a:off x="8164659" y="4936419"/>
            <a:ext cx="1920000" cy="932475"/>
          </a:xfrm>
          <a:prstGeom prst="rect">
            <a:avLst/>
          </a:prstGeom>
          <a:solidFill>
            <a:schemeClr val="bg2"/>
          </a:solidFill>
          <a:ln w="12700">
            <a:miter lim="400000"/>
          </a:ln>
        </p:spPr>
        <p:txBody>
          <a:bodyPr lIns="45681" tIns="45681" rIns="45681" bIns="45681" anchor="t"/>
          <a:lstStyle/>
          <a:p>
            <a:pPr defTabSz="1218275" hangingPunct="0">
              <a:lnSpc>
                <a:spcPct val="110000"/>
              </a:lnSpc>
              <a:buSzPct val="100000"/>
              <a:defRPr sz="1500">
                <a:latin typeface="Futura Std"/>
                <a:ea typeface="Futura Std"/>
                <a:cs typeface="Futura Std"/>
                <a:sym typeface="Futura Std"/>
              </a:defRPr>
            </a:pPr>
            <a:r>
              <a:rPr lang="nl-NL" sz="1067" b="1" kern="0" dirty="0">
                <a:solidFill>
                  <a:schemeClr val="accent6"/>
                </a:solidFill>
                <a:latin typeface="Futura Std Medium" charset="0"/>
                <a:ea typeface="Futura Std Medium" charset="0"/>
                <a:cs typeface="Futura Std Medium" charset="0"/>
                <a:sym typeface="Futura Std"/>
              </a:rPr>
              <a:t>2017</a:t>
            </a:r>
          </a:p>
          <a:p>
            <a:pPr marL="124881" indent="-124881" defTabSz="1218275" hangingPunct="0">
              <a:lnSpc>
                <a:spcPct val="110000"/>
              </a:lnSpc>
              <a:buSzPct val="100000"/>
              <a:buFont typeface="Arial" charset="0"/>
              <a:buChar char="•"/>
              <a:defRPr sz="1500">
                <a:latin typeface="Futura Std"/>
                <a:ea typeface="Futura Std"/>
                <a:cs typeface="Futura Std"/>
                <a:sym typeface="Futura Std"/>
              </a:defRPr>
            </a:pPr>
            <a:r>
              <a:rPr lang="nl-NL" sz="1067" kern="0" dirty="0" err="1">
                <a:solidFill>
                  <a:schemeClr val="accent6"/>
                </a:solidFill>
                <a:latin typeface="Futura Std Medium" charset="0"/>
                <a:ea typeface="Futura Std Medium" charset="0"/>
                <a:cs typeface="Futura Std Medium" charset="0"/>
                <a:sym typeface="Futura Std"/>
              </a:rPr>
              <a:t>Capacity</a:t>
            </a:r>
            <a:r>
              <a:rPr lang="nl-NL" sz="1067" kern="0" dirty="0">
                <a:solidFill>
                  <a:schemeClr val="accent6"/>
                </a:solidFill>
                <a:latin typeface="Futura Std Medium" charset="0"/>
                <a:ea typeface="Futura Std Medium" charset="0"/>
                <a:cs typeface="Futura Std Medium" charset="0"/>
                <a:sym typeface="Futura Std"/>
              </a:rPr>
              <a:t> 6.800 m</a:t>
            </a:r>
            <a:r>
              <a:rPr lang="nl-NL" sz="1067" kern="0" baseline="31999" dirty="0">
                <a:solidFill>
                  <a:schemeClr val="accent6"/>
                </a:solidFill>
                <a:latin typeface="Futura Std Medium" charset="0"/>
                <a:ea typeface="Futura Std Medium" charset="0"/>
                <a:cs typeface="Futura Std Medium" charset="0"/>
                <a:sym typeface="Futura Std"/>
              </a:rPr>
              <a:t>3</a:t>
            </a:r>
          </a:p>
          <a:p>
            <a:pPr marL="124881" indent="-124881" defTabSz="1218275" hangingPunct="0">
              <a:lnSpc>
                <a:spcPct val="110000"/>
              </a:lnSpc>
              <a:buSzPct val="100000"/>
              <a:buFont typeface="Arial" charset="0"/>
              <a:buChar char="•"/>
              <a:defRPr sz="1500">
                <a:latin typeface="Futura Std"/>
                <a:ea typeface="Futura Std"/>
                <a:cs typeface="Futura Std"/>
                <a:sym typeface="Futura Std"/>
              </a:defRPr>
            </a:pPr>
            <a:r>
              <a:rPr lang="nl-NL" sz="1067" kern="0" dirty="0" err="1">
                <a:solidFill>
                  <a:schemeClr val="accent6"/>
                </a:solidFill>
                <a:latin typeface="Futura Std Medium" charset="0"/>
                <a:ea typeface="Futura Std Medium" charset="0"/>
                <a:cs typeface="Futura Std Medium" charset="0"/>
                <a:sym typeface="Futura Std"/>
              </a:rPr>
              <a:t>Operat</a:t>
            </a:r>
            <a:r>
              <a:rPr lang="nl-NL" sz="1067" kern="0" dirty="0">
                <a:solidFill>
                  <a:schemeClr val="accent6"/>
                </a:solidFill>
                <a:latin typeface="Futura Std Medium" charset="0"/>
                <a:ea typeface="Futura Std Medium" charset="0"/>
                <a:cs typeface="Futura Std Medium" charset="0"/>
                <a:sym typeface="Futura Std"/>
              </a:rPr>
              <a:t>. &amp; </a:t>
            </a:r>
            <a:r>
              <a:rPr lang="nl-NL" sz="1067" kern="0" dirty="0" err="1">
                <a:solidFill>
                  <a:schemeClr val="accent6"/>
                </a:solidFill>
                <a:latin typeface="Futura Std Medium" charset="0"/>
                <a:ea typeface="Futura Std Medium" charset="0"/>
                <a:cs typeface="Futura Std Medium" charset="0"/>
                <a:sym typeface="Futura Std"/>
              </a:rPr>
              <a:t>owned</a:t>
            </a:r>
            <a:r>
              <a:rPr lang="nl-NL" sz="1067" kern="0" dirty="0">
                <a:solidFill>
                  <a:schemeClr val="accent6"/>
                </a:solidFill>
                <a:latin typeface="Futura Std Medium" charset="0"/>
                <a:ea typeface="Futura Std Medium" charset="0"/>
                <a:cs typeface="Futura Std Medium" charset="0"/>
                <a:sym typeface="Futura Std"/>
              </a:rPr>
              <a:t> </a:t>
            </a:r>
            <a:r>
              <a:rPr lang="nl-NL" sz="1067" kern="0" dirty="0" err="1">
                <a:solidFill>
                  <a:schemeClr val="accent6"/>
                </a:solidFill>
                <a:latin typeface="Futura Std Medium" charset="0"/>
                <a:ea typeface="Futura Std Medium" charset="0"/>
                <a:cs typeface="Futura Std Medium" charset="0"/>
                <a:sym typeface="Futura Std"/>
              </a:rPr>
              <a:t>by</a:t>
            </a:r>
            <a:r>
              <a:rPr lang="nl-NL" sz="1067" kern="0" dirty="0">
                <a:solidFill>
                  <a:schemeClr val="accent6"/>
                </a:solidFill>
                <a:latin typeface="Futura Std Medium" charset="0"/>
                <a:ea typeface="Futura Std Medium" charset="0"/>
                <a:cs typeface="Futura Std Medium" charset="0"/>
                <a:sym typeface="Futura Std"/>
              </a:rPr>
              <a:t> Shell</a:t>
            </a:r>
          </a:p>
          <a:p>
            <a:pPr marL="124881" indent="-124881" defTabSz="1218275" hangingPunct="0">
              <a:lnSpc>
                <a:spcPct val="110000"/>
              </a:lnSpc>
              <a:buSzPct val="100000"/>
              <a:buFont typeface="Arial" charset="0"/>
              <a:buChar char="•"/>
              <a:defRPr sz="1500">
                <a:latin typeface="Futura Std"/>
                <a:ea typeface="Futura Std"/>
                <a:cs typeface="Futura Std"/>
                <a:sym typeface="Futura Std"/>
              </a:defRPr>
            </a:pPr>
            <a:r>
              <a:rPr lang="nl-NL" sz="1067" kern="0" dirty="0">
                <a:solidFill>
                  <a:schemeClr val="accent6"/>
                </a:solidFill>
                <a:latin typeface="Futura Std Medium" charset="0"/>
                <a:ea typeface="Futura Std Medium" charset="0"/>
                <a:cs typeface="Futura Std Medium" charset="0"/>
                <a:sym typeface="Futura Std"/>
              </a:rPr>
              <a:t>&gt; 6 bunker vessels </a:t>
            </a:r>
            <a:r>
              <a:rPr lang="nl-NL" sz="1067" kern="0" dirty="0" err="1">
                <a:solidFill>
                  <a:schemeClr val="accent6"/>
                </a:solidFill>
                <a:latin typeface="Futura Std Medium" charset="0"/>
                <a:ea typeface="Futura Std Medium" charset="0"/>
                <a:cs typeface="Futura Std Medium" charset="0"/>
                <a:sym typeface="Futura Std"/>
              </a:rPr>
              <a:t>by</a:t>
            </a:r>
            <a:r>
              <a:rPr lang="nl-NL" sz="1067" kern="0" dirty="0">
                <a:solidFill>
                  <a:schemeClr val="accent6"/>
                </a:solidFill>
                <a:latin typeface="Futura Std Medium" charset="0"/>
                <a:ea typeface="Futura Std Medium" charset="0"/>
                <a:cs typeface="Futura Std Medium" charset="0"/>
                <a:sym typeface="Futura Std"/>
              </a:rPr>
              <a:t> 2020</a:t>
            </a:r>
          </a:p>
        </p:txBody>
      </p:sp>
      <p:sp>
        <p:nvSpPr>
          <p:cNvPr id="2817" name="Rectangle"/>
          <p:cNvSpPr/>
          <p:nvPr/>
        </p:nvSpPr>
        <p:spPr>
          <a:xfrm>
            <a:off x="8146795" y="2245730"/>
            <a:ext cx="1920000" cy="624000"/>
          </a:xfrm>
          <a:prstGeom prst="rect">
            <a:avLst/>
          </a:prstGeom>
          <a:solidFill>
            <a:schemeClr val="accent6"/>
          </a:solidFill>
          <a:ln w="12700">
            <a:miter lim="400000"/>
          </a:ln>
        </p:spPr>
        <p:txBody>
          <a:bodyPr lIns="45681" tIns="45681" rIns="45681" bIns="45681" anchor="ctr"/>
          <a:lstStyle/>
          <a:p>
            <a:pPr algn="ctr" defTabSz="1218275" hangingPunct="0"/>
            <a:r>
              <a:rPr lang="nl-NL" sz="1600" kern="0" dirty="0">
                <a:solidFill>
                  <a:srgbClr val="D9EBF8">
                    <a:hueOff val="-12309678"/>
                    <a:satOff val="-68888"/>
                    <a:lumOff val="8823"/>
                  </a:srgbClr>
                </a:solidFill>
                <a:ea typeface="Futura Std Medium" charset="0"/>
                <a:cs typeface="Futura Std Medium" charset="0"/>
              </a:rPr>
              <a:t>FIRST LNG</a:t>
            </a:r>
          </a:p>
          <a:p>
            <a:pPr algn="ctr" defTabSz="1218275" hangingPunct="0"/>
            <a:r>
              <a:rPr lang="nl-NL" sz="1600" kern="0" dirty="0">
                <a:solidFill>
                  <a:srgbClr val="D9EBF8">
                    <a:hueOff val="-12309678"/>
                    <a:satOff val="-68888"/>
                    <a:lumOff val="8823"/>
                  </a:srgbClr>
                </a:solidFill>
                <a:ea typeface="Futura Std Medium" charset="0"/>
                <a:cs typeface="Futura Std Medium" charset="0"/>
              </a:rPr>
              <a:t>BUNKER VESSEL</a:t>
            </a:r>
          </a:p>
        </p:txBody>
      </p:sp>
      <p:pic>
        <p:nvPicPr>
          <p:cNvPr id="2820" name="Image" descr="Image"/>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a:xfrm>
            <a:off x="8161374" y="3024183"/>
            <a:ext cx="1920000" cy="1920000"/>
          </a:xfrm>
          <a:prstGeom prst="rect">
            <a:avLst/>
          </a:prstGeom>
          <a:ln w="12700">
            <a:miter lim="400000"/>
          </a:ln>
        </p:spPr>
      </p:pic>
      <p:sp>
        <p:nvSpPr>
          <p:cNvPr id="2821" name="Rectangle"/>
          <p:cNvSpPr/>
          <p:nvPr/>
        </p:nvSpPr>
        <p:spPr>
          <a:xfrm>
            <a:off x="2242394" y="4944183"/>
            <a:ext cx="1920000" cy="932475"/>
          </a:xfrm>
          <a:prstGeom prst="rect">
            <a:avLst/>
          </a:prstGeom>
          <a:solidFill>
            <a:schemeClr val="bg2"/>
          </a:solidFill>
          <a:ln w="12700">
            <a:miter lim="400000"/>
          </a:ln>
        </p:spPr>
        <p:txBody>
          <a:bodyPr lIns="45681" tIns="45681" rIns="45681" bIns="45681" anchor="t"/>
          <a:lstStyle/>
          <a:p>
            <a:pPr defTabSz="1218275" hangingPunct="0">
              <a:lnSpc>
                <a:spcPct val="110000"/>
              </a:lnSpc>
              <a:buSzPct val="100000"/>
              <a:defRPr sz="1500">
                <a:latin typeface="Futura Std"/>
                <a:ea typeface="Futura Std"/>
                <a:cs typeface="Futura Std"/>
                <a:sym typeface="Futura Std"/>
              </a:defRPr>
            </a:pPr>
            <a:r>
              <a:rPr lang="nl-NL" sz="1067" b="1" kern="0" dirty="0">
                <a:solidFill>
                  <a:schemeClr val="accent6"/>
                </a:solidFill>
                <a:ea typeface="Futura Std Medium" charset="0"/>
                <a:cs typeface="Futura Std Medium" charset="0"/>
                <a:sym typeface="Futura Std"/>
              </a:rPr>
              <a:t>2011</a:t>
            </a:r>
          </a:p>
          <a:p>
            <a:pPr marL="124881" indent="-124881" defTabSz="1218275" hangingPunct="0">
              <a:lnSpc>
                <a:spcPct val="110000"/>
              </a:lnSpc>
              <a:buSzPct val="100000"/>
              <a:buFont typeface="Arial" charset="0"/>
              <a:buChar char="•"/>
              <a:defRPr sz="1500">
                <a:latin typeface="Futura Std"/>
                <a:ea typeface="Futura Std"/>
                <a:cs typeface="Futura Std"/>
                <a:sym typeface="Futura Std"/>
              </a:defRPr>
            </a:pPr>
            <a:r>
              <a:rPr lang="nl-NL" sz="1067" kern="0" dirty="0">
                <a:solidFill>
                  <a:schemeClr val="accent6"/>
                </a:solidFill>
                <a:ea typeface="Futura Std Medium" charset="0"/>
                <a:cs typeface="Futura Std Medium" charset="0"/>
                <a:sym typeface="Futura Std"/>
              </a:rPr>
              <a:t>Truck-to-Barge </a:t>
            </a:r>
            <a:r>
              <a:rPr lang="nl-NL" sz="1067" kern="0" dirty="0" err="1">
                <a:solidFill>
                  <a:schemeClr val="accent6"/>
                </a:solidFill>
                <a:ea typeface="Futura Std Medium" charset="0"/>
                <a:cs typeface="Futura Std Medium" charset="0"/>
                <a:sym typeface="Futura Std"/>
              </a:rPr>
              <a:t>bunkering</a:t>
            </a:r>
            <a:endParaRPr lang="nl-NL" sz="1067" kern="0" dirty="0">
              <a:solidFill>
                <a:schemeClr val="accent6"/>
              </a:solidFill>
              <a:ea typeface="Futura Std Medium" charset="0"/>
              <a:cs typeface="Futura Std Medium" charset="0"/>
              <a:sym typeface="Futura Std"/>
            </a:endParaRPr>
          </a:p>
          <a:p>
            <a:pPr marL="124881" indent="-124881" defTabSz="1218275" hangingPunct="0">
              <a:lnSpc>
                <a:spcPct val="110000"/>
              </a:lnSpc>
              <a:buSzPct val="100000"/>
              <a:buFont typeface="Arial" charset="0"/>
              <a:buChar char="•"/>
              <a:defRPr sz="1500">
                <a:latin typeface="Futura Std"/>
                <a:ea typeface="Futura Std"/>
                <a:cs typeface="Futura Std"/>
                <a:sym typeface="Futura Std"/>
              </a:defRPr>
            </a:pPr>
            <a:r>
              <a:rPr lang="nl-NL" sz="1067" kern="0" dirty="0" err="1">
                <a:solidFill>
                  <a:schemeClr val="accent6"/>
                </a:solidFill>
                <a:ea typeface="Futura Std Medium" charset="0"/>
                <a:cs typeface="Futura Std Medium" charset="0"/>
                <a:sym typeface="Futura Std"/>
              </a:rPr>
              <a:t>Location</a:t>
            </a:r>
            <a:r>
              <a:rPr lang="nl-NL" sz="1067" kern="0" dirty="0">
                <a:solidFill>
                  <a:schemeClr val="accent6"/>
                </a:solidFill>
                <a:ea typeface="Futura Std Medium" charset="0"/>
                <a:cs typeface="Futura Std Medium" charset="0"/>
                <a:sym typeface="Futura Std"/>
              </a:rPr>
              <a:t> : Seinehaven</a:t>
            </a:r>
          </a:p>
        </p:txBody>
      </p:sp>
      <p:sp>
        <p:nvSpPr>
          <p:cNvPr id="2822" name="Rectangle"/>
          <p:cNvSpPr/>
          <p:nvPr/>
        </p:nvSpPr>
        <p:spPr>
          <a:xfrm>
            <a:off x="2235983" y="2240293"/>
            <a:ext cx="1920000" cy="624000"/>
          </a:xfrm>
          <a:prstGeom prst="rect">
            <a:avLst/>
          </a:prstGeom>
          <a:solidFill>
            <a:schemeClr val="accent6"/>
          </a:solidFill>
          <a:ln w="12700">
            <a:miter lim="400000"/>
          </a:ln>
        </p:spPr>
        <p:txBody>
          <a:bodyPr lIns="45681" tIns="45681" rIns="45681" bIns="45681" anchor="ctr"/>
          <a:lstStyle/>
          <a:p>
            <a:pPr algn="ctr" defTabSz="1218275" hangingPunct="0"/>
            <a:r>
              <a:rPr lang="nl-NL" sz="1600" kern="0" dirty="0">
                <a:solidFill>
                  <a:srgbClr val="D9EBF8">
                    <a:hueOff val="-12309678"/>
                    <a:satOff val="-68888"/>
                    <a:lumOff val="8823"/>
                  </a:srgbClr>
                </a:solidFill>
                <a:ea typeface="Futura Std Medium" charset="0"/>
                <a:cs typeface="Futura Std Medium" charset="0"/>
              </a:rPr>
              <a:t>TRUCK TO BARGE</a:t>
            </a:r>
          </a:p>
          <a:p>
            <a:pPr algn="ctr" defTabSz="1218275" hangingPunct="0"/>
            <a:r>
              <a:rPr lang="nl-NL" sz="1600" kern="0" dirty="0">
                <a:solidFill>
                  <a:srgbClr val="D9EBF8">
                    <a:hueOff val="-12309678"/>
                    <a:satOff val="-68888"/>
                    <a:lumOff val="8823"/>
                  </a:srgbClr>
                </a:solidFill>
                <a:ea typeface="Futura Std Medium" charset="0"/>
                <a:cs typeface="Futura Std Medium" charset="0"/>
              </a:rPr>
              <a:t>BUNKERING</a:t>
            </a:r>
          </a:p>
        </p:txBody>
      </p:sp>
      <p:pic>
        <p:nvPicPr>
          <p:cNvPr id="2825" name="Image" descr="Image"/>
          <p:cNvPicPr>
            <a:picLocks noChangeAspect="1"/>
          </p:cNvPicPr>
          <p:nvPr/>
        </p:nvPicPr>
        <p:blipFill rotWithShape="1">
          <a:blip r:embed="rId8" cstate="email">
            <a:extLst>
              <a:ext uri="{28A0092B-C50C-407E-A947-70E740481C1C}">
                <a14:useLocalDpi xmlns:a14="http://schemas.microsoft.com/office/drawing/2010/main"/>
              </a:ext>
            </a:extLst>
          </a:blip>
          <a:srcRect r="1246"/>
          <a:stretch/>
        </p:blipFill>
        <p:spPr>
          <a:xfrm>
            <a:off x="2250905" y="3024183"/>
            <a:ext cx="1896069" cy="1920000"/>
          </a:xfrm>
          <a:prstGeom prst="rect">
            <a:avLst/>
          </a:prstGeom>
          <a:ln w="12700">
            <a:miter lim="400000"/>
          </a:ln>
        </p:spPr>
      </p:pic>
      <p:sp>
        <p:nvSpPr>
          <p:cNvPr id="2826" name="Rectangle"/>
          <p:cNvSpPr/>
          <p:nvPr/>
        </p:nvSpPr>
        <p:spPr>
          <a:xfrm>
            <a:off x="10147141" y="4936418"/>
            <a:ext cx="1920000" cy="932475"/>
          </a:xfrm>
          <a:prstGeom prst="rect">
            <a:avLst/>
          </a:prstGeom>
          <a:solidFill>
            <a:schemeClr val="bg2"/>
          </a:solidFill>
          <a:ln w="12700">
            <a:miter lim="400000"/>
          </a:ln>
        </p:spPr>
        <p:txBody>
          <a:bodyPr lIns="45681" tIns="45681" rIns="45681" bIns="45681" anchor="t"/>
          <a:lstStyle/>
          <a:p>
            <a:pPr defTabSz="1218275" hangingPunct="0">
              <a:lnSpc>
                <a:spcPct val="110000"/>
              </a:lnSpc>
              <a:buSzPct val="100000"/>
              <a:defRPr sz="1500">
                <a:latin typeface="Futura Std"/>
                <a:ea typeface="Futura Std"/>
                <a:cs typeface="Futura Std"/>
                <a:sym typeface="Futura Std"/>
              </a:defRPr>
            </a:pPr>
            <a:r>
              <a:rPr lang="nl-NL" sz="1067" b="1" kern="0" dirty="0">
                <a:solidFill>
                  <a:schemeClr val="accent6"/>
                </a:solidFill>
                <a:latin typeface="Futura Std Medium" charset="0"/>
                <a:ea typeface="Futura Std Medium" charset="0"/>
                <a:cs typeface="Futura Std Medium" charset="0"/>
                <a:sym typeface="Futura Std"/>
              </a:rPr>
              <a:t>2018</a:t>
            </a:r>
          </a:p>
          <a:p>
            <a:pPr marL="124881" indent="-124881" defTabSz="1218275" hangingPunct="0">
              <a:lnSpc>
                <a:spcPct val="110000"/>
              </a:lnSpc>
              <a:buSzPct val="100000"/>
              <a:buFont typeface="Arial" charset="0"/>
              <a:buChar char="•"/>
              <a:defRPr sz="1500">
                <a:latin typeface="Futura Std"/>
                <a:ea typeface="Futura Std"/>
                <a:cs typeface="Futura Std"/>
                <a:sym typeface="Futura Std"/>
              </a:defRPr>
            </a:pPr>
            <a:r>
              <a:rPr lang="nl-NL" sz="1067" kern="0" dirty="0">
                <a:solidFill>
                  <a:schemeClr val="accent6"/>
                </a:solidFill>
                <a:latin typeface="Futura Std Medium" charset="0"/>
                <a:ea typeface="Futura Std Medium" charset="0"/>
                <a:cs typeface="Futura Std Medium" charset="0"/>
                <a:sym typeface="Futura Std"/>
              </a:rPr>
              <a:t>Multiple truck-to-</a:t>
            </a:r>
            <a:r>
              <a:rPr lang="nl-NL" sz="1067" kern="0" dirty="0" err="1">
                <a:solidFill>
                  <a:schemeClr val="accent6"/>
                </a:solidFill>
                <a:latin typeface="Futura Std Medium" charset="0"/>
                <a:ea typeface="Futura Std Medium" charset="0"/>
                <a:cs typeface="Futura Std Medium" charset="0"/>
                <a:sym typeface="Futura Std"/>
              </a:rPr>
              <a:t>ship</a:t>
            </a:r>
            <a:r>
              <a:rPr lang="nl-NL" sz="1067" kern="0" dirty="0">
                <a:solidFill>
                  <a:schemeClr val="accent6"/>
                </a:solidFill>
                <a:latin typeface="Futura Std Medium" charset="0"/>
                <a:ea typeface="Futura Std Medium" charset="0"/>
                <a:cs typeface="Futura Std Medium" charset="0"/>
                <a:sym typeface="Futura Std"/>
              </a:rPr>
              <a:t> </a:t>
            </a:r>
            <a:r>
              <a:rPr lang="nl-NL" sz="1067" kern="0" dirty="0" err="1">
                <a:solidFill>
                  <a:schemeClr val="accent6"/>
                </a:solidFill>
                <a:latin typeface="Futura Std Medium" charset="0"/>
                <a:ea typeface="Futura Std Medium" charset="0"/>
                <a:cs typeface="Futura Std Medium" charset="0"/>
                <a:sym typeface="Futura Std"/>
              </a:rPr>
              <a:t>bunkering</a:t>
            </a:r>
            <a:endParaRPr lang="nl-NL" sz="1067" kern="0" dirty="0">
              <a:solidFill>
                <a:schemeClr val="accent6"/>
              </a:solidFill>
              <a:latin typeface="Futura Std Medium" charset="0"/>
              <a:ea typeface="Futura Std Medium" charset="0"/>
              <a:cs typeface="Futura Std Medium" charset="0"/>
              <a:sym typeface="Futura Std"/>
            </a:endParaRPr>
          </a:p>
          <a:p>
            <a:pPr marL="124881" indent="-124881" defTabSz="1218275" hangingPunct="0">
              <a:lnSpc>
                <a:spcPct val="110000"/>
              </a:lnSpc>
              <a:buSzPct val="100000"/>
              <a:buFont typeface="Arial" charset="0"/>
              <a:buChar char="•"/>
              <a:defRPr sz="1500">
                <a:latin typeface="Futura Std"/>
                <a:ea typeface="Futura Std"/>
                <a:cs typeface="Futura Std"/>
                <a:sym typeface="Futura Std"/>
              </a:defRPr>
            </a:pPr>
            <a:r>
              <a:rPr lang="nl-NL" sz="1067" kern="0" dirty="0">
                <a:solidFill>
                  <a:schemeClr val="accent6"/>
                </a:solidFill>
                <a:latin typeface="Futura Std Medium" charset="0"/>
                <a:ea typeface="Futura Std Medium" charset="0"/>
                <a:cs typeface="Futura Std Medium" charset="0"/>
                <a:sym typeface="Futura Std"/>
              </a:rPr>
              <a:t>Open access</a:t>
            </a:r>
          </a:p>
          <a:p>
            <a:pPr marL="124881" indent="-124881" defTabSz="1218275" hangingPunct="0">
              <a:lnSpc>
                <a:spcPct val="110000"/>
              </a:lnSpc>
              <a:buSzPct val="100000"/>
              <a:buFont typeface="Arial" charset="0"/>
              <a:buChar char="•"/>
              <a:defRPr sz="1500">
                <a:latin typeface="Futura Std"/>
                <a:ea typeface="Futura Std"/>
                <a:cs typeface="Futura Std"/>
                <a:sym typeface="Futura Std"/>
              </a:defRPr>
            </a:pPr>
            <a:r>
              <a:rPr lang="nl-NL" sz="1067" kern="0" dirty="0" err="1">
                <a:solidFill>
                  <a:schemeClr val="accent6"/>
                </a:solidFill>
                <a:latin typeface="Futura Std Medium" charset="0"/>
                <a:ea typeface="Futura Std Medium" charset="0"/>
                <a:cs typeface="Futura Std Medium" charset="0"/>
                <a:sym typeface="Futura Std"/>
              </a:rPr>
              <a:t>Location</a:t>
            </a:r>
            <a:r>
              <a:rPr lang="nl-NL" sz="1067" kern="0" dirty="0">
                <a:solidFill>
                  <a:schemeClr val="accent6"/>
                </a:solidFill>
                <a:latin typeface="Futura Std Medium" charset="0"/>
                <a:ea typeface="Futura Std Medium" charset="0"/>
                <a:cs typeface="Futura Std Medium" charset="0"/>
                <a:sym typeface="Futura Std"/>
              </a:rPr>
              <a:t>: Waalhaven</a:t>
            </a:r>
          </a:p>
        </p:txBody>
      </p:sp>
      <p:sp>
        <p:nvSpPr>
          <p:cNvPr id="2827" name="Rectangle"/>
          <p:cNvSpPr/>
          <p:nvPr/>
        </p:nvSpPr>
        <p:spPr>
          <a:xfrm>
            <a:off x="10116954" y="2250119"/>
            <a:ext cx="1920000" cy="624000"/>
          </a:xfrm>
          <a:prstGeom prst="rect">
            <a:avLst/>
          </a:prstGeom>
          <a:solidFill>
            <a:schemeClr val="accent6"/>
          </a:solidFill>
          <a:ln w="12700">
            <a:miter lim="400000"/>
          </a:ln>
        </p:spPr>
        <p:txBody>
          <a:bodyPr lIns="45681" tIns="45681" rIns="45681" bIns="45681" anchor="ctr"/>
          <a:lstStyle/>
          <a:p>
            <a:pPr algn="ctr" defTabSz="1218275" hangingPunct="0"/>
            <a:r>
              <a:rPr lang="nl-NL" sz="1600" kern="0" dirty="0">
                <a:solidFill>
                  <a:srgbClr val="D9EBF8">
                    <a:hueOff val="-12309678"/>
                    <a:satOff val="-68888"/>
                    <a:lumOff val="8823"/>
                  </a:srgbClr>
                </a:solidFill>
                <a:ea typeface="Futura Std Medium" charset="0"/>
                <a:cs typeface="Futura Std Medium" charset="0"/>
              </a:rPr>
              <a:t>TRUCK TO </a:t>
            </a:r>
          </a:p>
          <a:p>
            <a:pPr algn="ctr" defTabSz="1218275" hangingPunct="0"/>
            <a:r>
              <a:rPr lang="nl-NL" sz="1600" kern="0" dirty="0">
                <a:solidFill>
                  <a:srgbClr val="D9EBF8">
                    <a:hueOff val="-12309678"/>
                    <a:satOff val="-68888"/>
                    <a:lumOff val="8823"/>
                  </a:srgbClr>
                </a:solidFill>
                <a:ea typeface="Futura Std Medium" charset="0"/>
                <a:cs typeface="Futura Std Medium" charset="0"/>
              </a:rPr>
              <a:t>SHIP BUNKERING</a:t>
            </a:r>
          </a:p>
        </p:txBody>
      </p:sp>
      <p:pic>
        <p:nvPicPr>
          <p:cNvPr id="2830" name="Image" descr="Image"/>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a:xfrm>
            <a:off x="10147141" y="3016421"/>
            <a:ext cx="1920000" cy="1920000"/>
          </a:xfrm>
          <a:prstGeom prst="rect">
            <a:avLst/>
          </a:prstGeom>
          <a:ln w="12700">
            <a:miter lim="400000"/>
          </a:ln>
        </p:spPr>
      </p:pic>
      <p:sp>
        <p:nvSpPr>
          <p:cNvPr id="43" name="PIJL-OMHOOG 7169"/>
          <p:cNvSpPr/>
          <p:nvPr/>
        </p:nvSpPr>
        <p:spPr>
          <a:xfrm rot="5400000">
            <a:off x="5887575" y="-4030325"/>
            <a:ext cx="576064" cy="11817936"/>
          </a:xfrm>
          <a:prstGeom prst="up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333" dirty="0">
                <a:solidFill>
                  <a:schemeClr val="accent6"/>
                </a:solidFill>
                <a:ea typeface="Futura Std Medium" charset="0"/>
                <a:cs typeface="Futura Std Medium" charset="0"/>
              </a:rPr>
              <a:t>TIMELINE</a:t>
            </a:r>
          </a:p>
        </p:txBody>
      </p:sp>
      <p:sp>
        <p:nvSpPr>
          <p:cNvPr id="3" name="Tijdelijke aanduiding voor datum 2">
            <a:extLst>
              <a:ext uri="{FF2B5EF4-FFF2-40B4-BE49-F238E27FC236}">
                <a16:creationId xmlns:a16="http://schemas.microsoft.com/office/drawing/2014/main" id="{C2F7E582-4EF6-49E2-8116-7BB4025032D3}"/>
              </a:ext>
            </a:extLst>
          </p:cNvPr>
          <p:cNvSpPr>
            <a:spLocks noGrp="1"/>
          </p:cNvSpPr>
          <p:nvPr>
            <p:ph type="dt" sz="half" idx="10"/>
          </p:nvPr>
        </p:nvSpPr>
        <p:spPr/>
        <p:txBody>
          <a:bodyPr/>
          <a:lstStyle/>
          <a:p>
            <a:fld id="{E17191EC-D3DE-46E8-9528-5886B14F1E91}" type="datetime4">
              <a:rPr lang="en-GB" smtClean="0"/>
              <a:t>29 May 2020</a:t>
            </a:fld>
            <a:endParaRPr lang="en-GB" dirty="0"/>
          </a:p>
        </p:txBody>
      </p:sp>
      <p:sp>
        <p:nvSpPr>
          <p:cNvPr id="4" name="Tijdelijke aanduiding voor voettekst 3">
            <a:extLst>
              <a:ext uri="{FF2B5EF4-FFF2-40B4-BE49-F238E27FC236}">
                <a16:creationId xmlns:a16="http://schemas.microsoft.com/office/drawing/2014/main" id="{3883F8A3-FE29-4225-ABF1-71EA61E17A61}"/>
              </a:ext>
            </a:extLst>
          </p:cNvPr>
          <p:cNvSpPr>
            <a:spLocks noGrp="1"/>
          </p:cNvSpPr>
          <p:nvPr>
            <p:ph type="ftr" sz="quarter" idx="11"/>
          </p:nvPr>
        </p:nvSpPr>
        <p:spPr/>
        <p:txBody>
          <a:bodyPr/>
          <a:lstStyle/>
          <a:p>
            <a:r>
              <a:rPr lang="en-GB"/>
              <a:t>|</a:t>
            </a:r>
            <a:endParaRPr lang="en-GB" dirty="0"/>
          </a:p>
        </p:txBody>
      </p:sp>
      <p:sp>
        <p:nvSpPr>
          <p:cNvPr id="5" name="Tijdelijke aanduiding voor dianummer 4">
            <a:extLst>
              <a:ext uri="{FF2B5EF4-FFF2-40B4-BE49-F238E27FC236}">
                <a16:creationId xmlns:a16="http://schemas.microsoft.com/office/drawing/2014/main" id="{25A85DE8-D425-4CF0-B9BC-09708E0574A1}"/>
              </a:ext>
            </a:extLst>
          </p:cNvPr>
          <p:cNvSpPr>
            <a:spLocks noGrp="1"/>
          </p:cNvSpPr>
          <p:nvPr>
            <p:ph type="sldNum" sz="quarter" idx="12"/>
          </p:nvPr>
        </p:nvSpPr>
        <p:spPr/>
        <p:txBody>
          <a:bodyPr/>
          <a:lstStyle/>
          <a:p>
            <a:fld id="{534B5F9C-CFE5-4EC6-9BBB-664E2F56B033}" type="slidenum">
              <a:rPr lang="en-GB" smtClean="0"/>
              <a:t>36</a:t>
            </a:fld>
            <a:endParaRPr lang="en-GB" dirty="0"/>
          </a:p>
        </p:txBody>
      </p:sp>
    </p:spTree>
    <p:custDataLst>
      <p:tags r:id="rId1"/>
    </p:custDataLst>
    <p:extLst>
      <p:ext uri="{BB962C8B-B14F-4D97-AF65-F5344CB8AC3E}">
        <p14:creationId xmlns:p14="http://schemas.microsoft.com/office/powerpoint/2010/main" val="1010612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a14="http://schemas.microsoft.com/office/drawing/2010/main"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49" name="CO2 Emissions Logistics"/>
          <p:cNvSpPr txBox="1">
            <a:spLocks noGrp="1"/>
          </p:cNvSpPr>
          <p:nvPr>
            <p:ph type="title"/>
          </p:nvPr>
        </p:nvSpPr>
        <p:spPr>
          <a:prstGeom prst="rect">
            <a:avLst/>
          </a:prstGeom>
        </p:spPr>
        <p:txBody>
          <a:bodyPr/>
          <a:lstStyle/>
          <a:p>
            <a:pPr defTabSz="813585">
              <a:defRPr sz="2848"/>
            </a:pPr>
            <a:r>
              <a:rPr dirty="0"/>
              <a:t>CO</a:t>
            </a:r>
            <a:r>
              <a:rPr baseline="-5999" dirty="0"/>
              <a:t>2</a:t>
            </a:r>
            <a:r>
              <a:rPr dirty="0"/>
              <a:t> </a:t>
            </a:r>
            <a:r>
              <a:rPr lang="nl-NL" dirty="0"/>
              <a:t>EMISSIONS IN TRANSPORT</a:t>
            </a:r>
            <a:endParaRPr dirty="0"/>
          </a:p>
        </p:txBody>
      </p:sp>
      <p:sp>
        <p:nvSpPr>
          <p:cNvPr id="11" name="Tijdelijke aanduiding voor verticale tekst 10">
            <a:extLst>
              <a:ext uri="{FF2B5EF4-FFF2-40B4-BE49-F238E27FC236}">
                <a16:creationId xmlns:a16="http://schemas.microsoft.com/office/drawing/2014/main" id="{024F8CCA-EE69-4E5F-9D10-E06103C453F9}"/>
              </a:ext>
            </a:extLst>
          </p:cNvPr>
          <p:cNvSpPr>
            <a:spLocks noGrp="1"/>
          </p:cNvSpPr>
          <p:nvPr>
            <p:ph type="body" orient="vert" idx="1"/>
          </p:nvPr>
        </p:nvSpPr>
        <p:spPr/>
        <p:txBody>
          <a:bodyPr/>
          <a:lstStyle/>
          <a:p>
            <a:endParaRPr lang="nl-NL" dirty="0"/>
          </a:p>
        </p:txBody>
      </p:sp>
      <p:grpSp>
        <p:nvGrpSpPr>
          <p:cNvPr id="4" name="Group 3">
            <a:extLst>
              <a:ext uri="{FF2B5EF4-FFF2-40B4-BE49-F238E27FC236}">
                <a16:creationId xmlns:a16="http://schemas.microsoft.com/office/drawing/2014/main" id="{70C2B7A5-CC40-2445-82F0-5958753CD657}"/>
              </a:ext>
            </a:extLst>
          </p:cNvPr>
          <p:cNvGrpSpPr/>
          <p:nvPr/>
        </p:nvGrpSpPr>
        <p:grpSpPr>
          <a:xfrm>
            <a:off x="4991112" y="1947505"/>
            <a:ext cx="2226963" cy="1422564"/>
            <a:chOff x="4989524" y="1759242"/>
            <a:chExt cx="2226962" cy="1422934"/>
          </a:xfrm>
          <a:effectLst/>
        </p:grpSpPr>
        <p:sp>
          <p:nvSpPr>
            <p:cNvPr id="30" name="Cloud">
              <a:extLst>
                <a:ext uri="{FF2B5EF4-FFF2-40B4-BE49-F238E27FC236}">
                  <a16:creationId xmlns:a16="http://schemas.microsoft.com/office/drawing/2014/main" id="{8E58B1AA-0E18-E546-A08C-BA92699B5737}"/>
                </a:ext>
              </a:extLst>
            </p:cNvPr>
            <p:cNvSpPr/>
            <p:nvPr/>
          </p:nvSpPr>
          <p:spPr>
            <a:xfrm>
              <a:off x="4989524" y="1759242"/>
              <a:ext cx="2226962" cy="1422934"/>
            </a:xfrm>
            <a:custGeom>
              <a:avLst/>
              <a:gdLst/>
              <a:ahLst/>
              <a:cxnLst>
                <a:cxn ang="0">
                  <a:pos x="wd2" y="hd2"/>
                </a:cxn>
                <a:cxn ang="5400000">
                  <a:pos x="wd2" y="hd2"/>
                </a:cxn>
                <a:cxn ang="10800000">
                  <a:pos x="wd2" y="hd2"/>
                </a:cxn>
                <a:cxn ang="16200000">
                  <a:pos x="wd2" y="hd2"/>
                </a:cxn>
              </a:cxnLst>
              <a:rect l="0" t="0" r="r" b="b"/>
              <a:pathLst>
                <a:path w="21600" h="21600" extrusionOk="0">
                  <a:moveTo>
                    <a:pt x="10603" y="0"/>
                  </a:moveTo>
                  <a:cubicBezTo>
                    <a:pt x="7967" y="0"/>
                    <a:pt x="5720" y="2939"/>
                    <a:pt x="4858" y="7062"/>
                  </a:cubicBezTo>
                  <a:cubicBezTo>
                    <a:pt x="4628" y="6992"/>
                    <a:pt x="4391" y="6953"/>
                    <a:pt x="4150" y="6953"/>
                  </a:cubicBezTo>
                  <a:cubicBezTo>
                    <a:pt x="1857" y="6953"/>
                    <a:pt x="0" y="10233"/>
                    <a:pt x="0" y="14278"/>
                  </a:cubicBezTo>
                  <a:cubicBezTo>
                    <a:pt x="0" y="18323"/>
                    <a:pt x="1857" y="21600"/>
                    <a:pt x="4150" y="21600"/>
                  </a:cubicBezTo>
                  <a:cubicBezTo>
                    <a:pt x="4193" y="21600"/>
                    <a:pt x="4237" y="21597"/>
                    <a:pt x="4279" y="21594"/>
                  </a:cubicBezTo>
                  <a:lnTo>
                    <a:pt x="10532" y="21597"/>
                  </a:lnTo>
                  <a:cubicBezTo>
                    <a:pt x="10555" y="21598"/>
                    <a:pt x="10579" y="21600"/>
                    <a:pt x="10603" y="21600"/>
                  </a:cubicBezTo>
                  <a:cubicBezTo>
                    <a:pt x="10626" y="21600"/>
                    <a:pt x="10648" y="21598"/>
                    <a:pt x="10672" y="21597"/>
                  </a:cubicBezTo>
                  <a:lnTo>
                    <a:pt x="18141" y="21600"/>
                  </a:lnTo>
                  <a:cubicBezTo>
                    <a:pt x="20051" y="21600"/>
                    <a:pt x="21600" y="18868"/>
                    <a:pt x="21600" y="15496"/>
                  </a:cubicBezTo>
                  <a:cubicBezTo>
                    <a:pt x="21600" y="12124"/>
                    <a:pt x="20051" y="9389"/>
                    <a:pt x="18141" y="9389"/>
                  </a:cubicBezTo>
                  <a:cubicBezTo>
                    <a:pt x="17627" y="9389"/>
                    <a:pt x="17139" y="9589"/>
                    <a:pt x="16701" y="9943"/>
                  </a:cubicBezTo>
                  <a:cubicBezTo>
                    <a:pt x="16453" y="4379"/>
                    <a:pt x="13819" y="0"/>
                    <a:pt x="10603" y="0"/>
                  </a:cubicBezTo>
                  <a:close/>
                </a:path>
              </a:pathLst>
            </a:custGeom>
            <a:solidFill>
              <a:schemeClr val="accent4">
                <a:hueOff val="-12309678"/>
                <a:satOff val="-68888"/>
                <a:lumOff val="8823"/>
              </a:schemeClr>
            </a:solidFill>
            <a:ln w="38100">
              <a:solidFill>
                <a:schemeClr val="accent4">
                  <a:hueOff val="-12309678"/>
                  <a:satOff val="-68888"/>
                  <a:lumOff val="8823"/>
                </a:schemeClr>
              </a:solidFill>
              <a:miter/>
            </a:ln>
            <a:effectLst/>
          </p:spPr>
          <p:txBody>
            <a:bodyPr lIns="45707" rIns="45707" anchor="ctr"/>
            <a:lstStyle/>
            <a:p>
              <a:pPr>
                <a:defRPr sz="2400"/>
              </a:pPr>
              <a:endParaRPr sz="3200">
                <a:solidFill>
                  <a:prstClr val="black"/>
                </a:solidFill>
              </a:endParaRPr>
            </a:p>
          </p:txBody>
        </p:sp>
        <p:sp>
          <p:nvSpPr>
            <p:cNvPr id="7353" name="30%…"/>
            <p:cNvSpPr txBox="1"/>
            <p:nvPr/>
          </p:nvSpPr>
          <p:spPr>
            <a:xfrm>
              <a:off x="5047953" y="2049698"/>
              <a:ext cx="2110103" cy="1077370"/>
            </a:xfrm>
            <a:prstGeom prst="rect">
              <a:avLst/>
            </a:prstGeom>
            <a:ln w="12700">
              <a:miter lim="400000"/>
            </a:ln>
            <a:extLst>
              <a:ext uri="{C572A759-6A51-4108-AA02-DFA0A04FC94B}">
                <ma14:wrappingTextBoxFlag xmlns:ma14="http://schemas.microsoft.com/office/mac/drawingml/2011/main" xmlns:mc="http://schemas.openxmlformats.org/markup-compatibility/2006" xmlns:p14="http://schemas.microsoft.com/office/powerpoint/2010/main" xmlns:a14="http://schemas.microsoft.com/office/drawing/2010/main" xmlns:a16="http://schemas.microsoft.com/office/drawing/2014/main" xmlns="" val="1"/>
              </a:ext>
            </a:extLst>
          </p:spPr>
          <p:txBody>
            <a:bodyPr wrap="square" lIns="45707" rIns="45707">
              <a:spAutoFit/>
            </a:bodyPr>
            <a:lstStyle/>
            <a:p>
              <a:pPr algn="ctr">
                <a:defRPr sz="1400">
                  <a:solidFill>
                    <a:srgbClr val="081F48"/>
                  </a:solidFill>
                  <a:latin typeface="Futura LT Pro"/>
                  <a:ea typeface="Futura LT Pro"/>
                  <a:cs typeface="Futura LT Pro"/>
                  <a:sym typeface="Futura LT Pro"/>
                </a:defRPr>
              </a:pPr>
              <a:r>
                <a:rPr sz="3199" dirty="0">
                  <a:solidFill>
                    <a:srgbClr val="081F48"/>
                  </a:solidFill>
                  <a:latin typeface="Futura Std Medium" charset="0"/>
                  <a:ea typeface="Futura Std Medium" charset="0"/>
                  <a:cs typeface="Futura Std Medium" charset="0"/>
                  <a:sym typeface="Futura LT Pro"/>
                </a:rPr>
                <a:t>30% </a:t>
              </a:r>
            </a:p>
            <a:p>
              <a:pPr algn="ctr">
                <a:defRPr sz="1000">
                  <a:solidFill>
                    <a:srgbClr val="081F48"/>
                  </a:solidFill>
                  <a:latin typeface="Futura LT Pro"/>
                  <a:ea typeface="Futura LT Pro"/>
                  <a:cs typeface="Futura LT Pro"/>
                  <a:sym typeface="Futura LT Pro"/>
                </a:defRPr>
              </a:pPr>
              <a:r>
                <a:rPr sz="1600" dirty="0">
                  <a:solidFill>
                    <a:srgbClr val="081F48"/>
                  </a:solidFill>
                  <a:latin typeface="Futura Std Medium" charset="0"/>
                  <a:ea typeface="Futura Std Medium" charset="0"/>
                  <a:cs typeface="Futura Std Medium" charset="0"/>
                  <a:sym typeface="Futura LT Pro"/>
                </a:rPr>
                <a:t>caused by transport </a:t>
              </a:r>
              <a:r>
                <a:rPr lang="nl-NL" sz="1600" dirty="0">
                  <a:solidFill>
                    <a:srgbClr val="081F48"/>
                  </a:solidFill>
                  <a:latin typeface="Futura Std Medium" charset="0"/>
                  <a:ea typeface="Futura Std Medium" charset="0"/>
                  <a:cs typeface="Futura Std Medium" charset="0"/>
                  <a:sym typeface="Futura LT Pro"/>
                </a:rPr>
                <a:t>of </a:t>
              </a:r>
              <a:r>
                <a:rPr sz="1600" dirty="0">
                  <a:solidFill>
                    <a:srgbClr val="081F48"/>
                  </a:solidFill>
                  <a:latin typeface="Futura Std Medium" charset="0"/>
                  <a:ea typeface="Futura Std Medium" charset="0"/>
                  <a:cs typeface="Futura Std Medium" charset="0"/>
                  <a:sym typeface="Futura LT Pro"/>
                </a:rPr>
                <a:t>goods</a:t>
              </a:r>
            </a:p>
          </p:txBody>
        </p:sp>
      </p:grpSp>
      <p:grpSp>
        <p:nvGrpSpPr>
          <p:cNvPr id="5" name="Group 4">
            <a:extLst>
              <a:ext uri="{FF2B5EF4-FFF2-40B4-BE49-F238E27FC236}">
                <a16:creationId xmlns:a16="http://schemas.microsoft.com/office/drawing/2014/main" id="{C845D221-D431-124D-A0A9-5324B80BDBD0}"/>
              </a:ext>
            </a:extLst>
          </p:cNvPr>
          <p:cNvGrpSpPr/>
          <p:nvPr/>
        </p:nvGrpSpPr>
        <p:grpSpPr>
          <a:xfrm>
            <a:off x="4851830" y="3881193"/>
            <a:ext cx="2563149" cy="1675967"/>
            <a:chOff x="4796452" y="3516653"/>
            <a:chExt cx="2563150" cy="1676403"/>
          </a:xfrm>
        </p:grpSpPr>
        <p:pic>
          <p:nvPicPr>
            <p:cNvPr id="7359" name="Image" descr="Image"/>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96452" y="3516653"/>
              <a:ext cx="780841" cy="838201"/>
            </a:xfrm>
            <a:prstGeom prst="rect">
              <a:avLst/>
            </a:prstGeom>
            <a:ln w="12700">
              <a:miter lim="400000"/>
            </a:ln>
          </p:spPr>
        </p:pic>
        <p:pic>
          <p:nvPicPr>
            <p:cNvPr id="7360" name="Image" descr="Image"/>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87607" y="3516653"/>
              <a:ext cx="780840" cy="838201"/>
            </a:xfrm>
            <a:prstGeom prst="rect">
              <a:avLst/>
            </a:prstGeom>
            <a:ln w="12700">
              <a:miter lim="400000"/>
            </a:ln>
          </p:spPr>
        </p:pic>
        <p:pic>
          <p:nvPicPr>
            <p:cNvPr id="7361" name="Image" descr="Image"/>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578762" y="3516653"/>
              <a:ext cx="780840" cy="838201"/>
            </a:xfrm>
            <a:prstGeom prst="rect">
              <a:avLst/>
            </a:prstGeom>
            <a:ln w="12700">
              <a:miter lim="400000"/>
            </a:ln>
          </p:spPr>
        </p:pic>
        <p:pic>
          <p:nvPicPr>
            <p:cNvPr id="7362" name="Image" descr="Image"/>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796452" y="4354853"/>
              <a:ext cx="780841" cy="838202"/>
            </a:xfrm>
            <a:prstGeom prst="rect">
              <a:avLst/>
            </a:prstGeom>
            <a:ln w="12700">
              <a:miter lim="400000"/>
            </a:ln>
          </p:spPr>
        </p:pic>
        <p:pic>
          <p:nvPicPr>
            <p:cNvPr id="7363" name="Image" descr="Image"/>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568817" y="4354854"/>
              <a:ext cx="780841" cy="838202"/>
            </a:xfrm>
            <a:prstGeom prst="rect">
              <a:avLst/>
            </a:prstGeom>
            <a:ln w="12700">
              <a:miter lim="400000"/>
            </a:ln>
          </p:spPr>
        </p:pic>
        <p:pic>
          <p:nvPicPr>
            <p:cNvPr id="7364" name="Image" descr="Image"/>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687607" y="4354854"/>
              <a:ext cx="780841" cy="838201"/>
            </a:xfrm>
            <a:prstGeom prst="rect">
              <a:avLst/>
            </a:prstGeom>
            <a:ln w="12700">
              <a:miter lim="400000"/>
            </a:ln>
          </p:spPr>
        </p:pic>
      </p:grpSp>
      <p:grpSp>
        <p:nvGrpSpPr>
          <p:cNvPr id="6" name="Group 5">
            <a:extLst>
              <a:ext uri="{FF2B5EF4-FFF2-40B4-BE49-F238E27FC236}">
                <a16:creationId xmlns:a16="http://schemas.microsoft.com/office/drawing/2014/main" id="{BC135CFC-2924-7949-B155-077C64DB96A1}"/>
              </a:ext>
            </a:extLst>
          </p:cNvPr>
          <p:cNvGrpSpPr/>
          <p:nvPr/>
        </p:nvGrpSpPr>
        <p:grpSpPr>
          <a:xfrm>
            <a:off x="9300860" y="2079918"/>
            <a:ext cx="2003295" cy="1207137"/>
            <a:chOff x="9292364" y="1828612"/>
            <a:chExt cx="2003294" cy="1207452"/>
          </a:xfrm>
          <a:effectLst/>
        </p:grpSpPr>
        <p:sp>
          <p:nvSpPr>
            <p:cNvPr id="31" name="Cloud">
              <a:extLst>
                <a:ext uri="{FF2B5EF4-FFF2-40B4-BE49-F238E27FC236}">
                  <a16:creationId xmlns:a16="http://schemas.microsoft.com/office/drawing/2014/main" id="{0238F8BA-27FA-3E42-AE5F-5C4648870F37}"/>
                </a:ext>
              </a:extLst>
            </p:cNvPr>
            <p:cNvSpPr/>
            <p:nvPr/>
          </p:nvSpPr>
          <p:spPr>
            <a:xfrm>
              <a:off x="9292364" y="1828612"/>
              <a:ext cx="2003294" cy="1207298"/>
            </a:xfrm>
            <a:custGeom>
              <a:avLst/>
              <a:gdLst/>
              <a:ahLst/>
              <a:cxnLst>
                <a:cxn ang="0">
                  <a:pos x="wd2" y="hd2"/>
                </a:cxn>
                <a:cxn ang="5400000">
                  <a:pos x="wd2" y="hd2"/>
                </a:cxn>
                <a:cxn ang="10800000">
                  <a:pos x="wd2" y="hd2"/>
                </a:cxn>
                <a:cxn ang="16200000">
                  <a:pos x="wd2" y="hd2"/>
                </a:cxn>
              </a:cxnLst>
              <a:rect l="0" t="0" r="r" b="b"/>
              <a:pathLst>
                <a:path w="21600" h="21600" extrusionOk="0">
                  <a:moveTo>
                    <a:pt x="10603" y="0"/>
                  </a:moveTo>
                  <a:cubicBezTo>
                    <a:pt x="7967" y="0"/>
                    <a:pt x="5720" y="2939"/>
                    <a:pt x="4858" y="7062"/>
                  </a:cubicBezTo>
                  <a:cubicBezTo>
                    <a:pt x="4628" y="6992"/>
                    <a:pt x="4391" y="6953"/>
                    <a:pt x="4150" y="6953"/>
                  </a:cubicBezTo>
                  <a:cubicBezTo>
                    <a:pt x="1857" y="6953"/>
                    <a:pt x="0" y="10233"/>
                    <a:pt x="0" y="14278"/>
                  </a:cubicBezTo>
                  <a:cubicBezTo>
                    <a:pt x="0" y="18323"/>
                    <a:pt x="1857" y="21600"/>
                    <a:pt x="4150" y="21600"/>
                  </a:cubicBezTo>
                  <a:cubicBezTo>
                    <a:pt x="4193" y="21600"/>
                    <a:pt x="4237" y="21597"/>
                    <a:pt x="4279" y="21594"/>
                  </a:cubicBezTo>
                  <a:lnTo>
                    <a:pt x="10532" y="21597"/>
                  </a:lnTo>
                  <a:cubicBezTo>
                    <a:pt x="10555" y="21598"/>
                    <a:pt x="10579" y="21600"/>
                    <a:pt x="10603" y="21600"/>
                  </a:cubicBezTo>
                  <a:cubicBezTo>
                    <a:pt x="10626" y="21600"/>
                    <a:pt x="10648" y="21598"/>
                    <a:pt x="10672" y="21597"/>
                  </a:cubicBezTo>
                  <a:lnTo>
                    <a:pt x="18141" y="21600"/>
                  </a:lnTo>
                  <a:cubicBezTo>
                    <a:pt x="20051" y="21600"/>
                    <a:pt x="21600" y="18868"/>
                    <a:pt x="21600" y="15496"/>
                  </a:cubicBezTo>
                  <a:cubicBezTo>
                    <a:pt x="21600" y="12124"/>
                    <a:pt x="20051" y="9389"/>
                    <a:pt x="18141" y="9389"/>
                  </a:cubicBezTo>
                  <a:cubicBezTo>
                    <a:pt x="17627" y="9389"/>
                    <a:pt x="17139" y="9589"/>
                    <a:pt x="16701" y="9943"/>
                  </a:cubicBezTo>
                  <a:cubicBezTo>
                    <a:pt x="16453" y="4379"/>
                    <a:pt x="13819" y="0"/>
                    <a:pt x="10603" y="0"/>
                  </a:cubicBezTo>
                  <a:close/>
                </a:path>
              </a:pathLst>
            </a:custGeom>
            <a:solidFill>
              <a:schemeClr val="accent4">
                <a:hueOff val="-12309678"/>
                <a:satOff val="-68888"/>
                <a:lumOff val="8823"/>
              </a:schemeClr>
            </a:solidFill>
            <a:ln w="38100">
              <a:solidFill>
                <a:schemeClr val="accent4">
                  <a:hueOff val="-12309678"/>
                  <a:satOff val="-68888"/>
                  <a:lumOff val="8823"/>
                </a:schemeClr>
              </a:solidFill>
              <a:miter/>
            </a:ln>
            <a:effectLst/>
          </p:spPr>
          <p:txBody>
            <a:bodyPr lIns="45707" rIns="45707" anchor="ctr"/>
            <a:lstStyle/>
            <a:p>
              <a:pPr>
                <a:defRPr sz="2400"/>
              </a:pPr>
              <a:endParaRPr sz="3200">
                <a:solidFill>
                  <a:prstClr val="black"/>
                </a:solidFill>
              </a:endParaRPr>
            </a:p>
          </p:txBody>
        </p:sp>
        <p:sp>
          <p:nvSpPr>
            <p:cNvPr id="7365" name="3%…"/>
            <p:cNvSpPr txBox="1"/>
            <p:nvPr/>
          </p:nvSpPr>
          <p:spPr>
            <a:xfrm>
              <a:off x="9623323" y="1958693"/>
              <a:ext cx="1402780" cy="1077371"/>
            </a:xfrm>
            <a:prstGeom prst="rect">
              <a:avLst/>
            </a:prstGeom>
            <a:ln w="12700">
              <a:miter lim="400000"/>
            </a:ln>
            <a:extLst>
              <a:ext uri="{C572A759-6A51-4108-AA02-DFA0A04FC94B}">
                <ma14:wrappingTextBoxFlag xmlns:ma14="http://schemas.microsoft.com/office/mac/drawingml/2011/main" xmlns:mc="http://schemas.openxmlformats.org/markup-compatibility/2006" xmlns:p14="http://schemas.microsoft.com/office/powerpoint/2010/main" xmlns:a14="http://schemas.microsoft.com/office/drawing/2010/main" xmlns:a16="http://schemas.microsoft.com/office/drawing/2014/main" xmlns="" val="1"/>
              </a:ext>
            </a:extLst>
          </p:spPr>
          <p:txBody>
            <a:bodyPr lIns="45707" rIns="45707">
              <a:spAutoFit/>
            </a:bodyPr>
            <a:lstStyle/>
            <a:p>
              <a:pPr algn="ctr">
                <a:defRPr sz="1400">
                  <a:solidFill>
                    <a:srgbClr val="081F48"/>
                  </a:solidFill>
                  <a:latin typeface="Futura LT Pro"/>
                  <a:ea typeface="Futura LT Pro"/>
                  <a:cs typeface="Futura LT Pro"/>
                  <a:sym typeface="Futura LT Pro"/>
                </a:defRPr>
              </a:pPr>
              <a:r>
                <a:rPr sz="3199" dirty="0">
                  <a:solidFill>
                    <a:srgbClr val="081F48"/>
                  </a:solidFill>
                  <a:latin typeface="Futura Std Medium" charset="0"/>
                  <a:ea typeface="Futura Std Medium" charset="0"/>
                  <a:cs typeface="Futura Std Medium" charset="0"/>
                  <a:sym typeface="Futura LT Pro"/>
                </a:rPr>
                <a:t>3% </a:t>
              </a:r>
            </a:p>
            <a:p>
              <a:pPr algn="ctr">
                <a:defRPr sz="1000">
                  <a:solidFill>
                    <a:srgbClr val="081F48"/>
                  </a:solidFill>
                  <a:latin typeface="Futura LT Pro"/>
                  <a:ea typeface="Futura LT Pro"/>
                  <a:cs typeface="Futura LT Pro"/>
                  <a:sym typeface="Futura LT Pro"/>
                </a:defRPr>
              </a:pPr>
              <a:r>
                <a:rPr sz="1600" dirty="0">
                  <a:solidFill>
                    <a:srgbClr val="081F48"/>
                  </a:solidFill>
                  <a:latin typeface="Futura Std Medium" charset="0"/>
                  <a:ea typeface="Futura Std Medium" charset="0"/>
                  <a:cs typeface="Futura Std Medium" charset="0"/>
                  <a:sym typeface="Futura LT Pro"/>
                </a:rPr>
                <a:t>by deep sea shipping</a:t>
              </a:r>
            </a:p>
          </p:txBody>
        </p:sp>
      </p:grpSp>
      <p:grpSp>
        <p:nvGrpSpPr>
          <p:cNvPr id="7" name="Group 6">
            <a:extLst>
              <a:ext uri="{FF2B5EF4-FFF2-40B4-BE49-F238E27FC236}">
                <a16:creationId xmlns:a16="http://schemas.microsoft.com/office/drawing/2014/main" id="{7B29D88A-7A5B-9E47-8379-7170E37275B1}"/>
              </a:ext>
            </a:extLst>
          </p:cNvPr>
          <p:cNvGrpSpPr/>
          <p:nvPr/>
        </p:nvGrpSpPr>
        <p:grpSpPr>
          <a:xfrm>
            <a:off x="9174443" y="3645600"/>
            <a:ext cx="2256128" cy="1779965"/>
            <a:chOff x="9172829" y="3342489"/>
            <a:chExt cx="2256127" cy="1780429"/>
          </a:xfrm>
        </p:grpSpPr>
        <p:pic>
          <p:nvPicPr>
            <p:cNvPr id="7356" name="Image" descr="Image"/>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320445" y="3342489"/>
              <a:ext cx="433499" cy="586741"/>
            </a:xfrm>
            <a:prstGeom prst="rect">
              <a:avLst/>
            </a:prstGeom>
            <a:ln w="12700">
              <a:miter lim="400000"/>
            </a:ln>
          </p:spPr>
        </p:pic>
        <p:grpSp>
          <p:nvGrpSpPr>
            <p:cNvPr id="7371" name="Group"/>
            <p:cNvGrpSpPr/>
            <p:nvPr/>
          </p:nvGrpSpPr>
          <p:grpSpPr>
            <a:xfrm>
              <a:off x="9172829" y="3978614"/>
              <a:ext cx="2256127" cy="1144304"/>
              <a:chOff x="0" y="0"/>
              <a:chExt cx="2256126" cy="1144302"/>
            </a:xfrm>
          </p:grpSpPr>
          <p:sp>
            <p:nvSpPr>
              <p:cNvPr id="7366" name="Ship"/>
              <p:cNvSpPr/>
              <p:nvPr/>
            </p:nvSpPr>
            <p:spPr>
              <a:xfrm>
                <a:off x="0" y="0"/>
                <a:ext cx="2256127" cy="920713"/>
              </a:xfrm>
              <a:custGeom>
                <a:avLst/>
                <a:gdLst/>
                <a:ahLst/>
                <a:cxnLst>
                  <a:cxn ang="0">
                    <a:pos x="wd2" y="hd2"/>
                  </a:cxn>
                  <a:cxn ang="5400000">
                    <a:pos x="wd2" y="hd2"/>
                  </a:cxn>
                  <a:cxn ang="10800000">
                    <a:pos x="wd2" y="hd2"/>
                  </a:cxn>
                  <a:cxn ang="16200000">
                    <a:pos x="wd2" y="hd2"/>
                  </a:cxn>
                </a:cxnLst>
                <a:rect l="0" t="0" r="r" b="b"/>
                <a:pathLst>
                  <a:path w="21600" h="21600" extrusionOk="0">
                    <a:moveTo>
                      <a:pt x="4919" y="0"/>
                    </a:moveTo>
                    <a:lnTo>
                      <a:pt x="4919" y="717"/>
                    </a:lnTo>
                    <a:lnTo>
                      <a:pt x="5162" y="717"/>
                    </a:lnTo>
                    <a:lnTo>
                      <a:pt x="5162" y="1488"/>
                    </a:lnTo>
                    <a:lnTo>
                      <a:pt x="3370" y="1488"/>
                    </a:lnTo>
                    <a:lnTo>
                      <a:pt x="3370" y="5382"/>
                    </a:lnTo>
                    <a:lnTo>
                      <a:pt x="1569" y="5382"/>
                    </a:lnTo>
                    <a:lnTo>
                      <a:pt x="1569" y="11432"/>
                    </a:lnTo>
                    <a:lnTo>
                      <a:pt x="854" y="11432"/>
                    </a:lnTo>
                    <a:lnTo>
                      <a:pt x="854" y="14863"/>
                    </a:lnTo>
                    <a:lnTo>
                      <a:pt x="1569" y="14863"/>
                    </a:lnTo>
                    <a:lnTo>
                      <a:pt x="1953" y="14863"/>
                    </a:lnTo>
                    <a:lnTo>
                      <a:pt x="5709" y="14863"/>
                    </a:lnTo>
                    <a:lnTo>
                      <a:pt x="5709" y="5598"/>
                    </a:lnTo>
                    <a:lnTo>
                      <a:pt x="5709" y="5382"/>
                    </a:lnTo>
                    <a:lnTo>
                      <a:pt x="5709" y="1488"/>
                    </a:lnTo>
                    <a:lnTo>
                      <a:pt x="5460" y="1488"/>
                    </a:lnTo>
                    <a:lnTo>
                      <a:pt x="5460" y="717"/>
                    </a:lnTo>
                    <a:lnTo>
                      <a:pt x="5704" y="717"/>
                    </a:lnTo>
                    <a:lnTo>
                      <a:pt x="5704" y="0"/>
                    </a:lnTo>
                    <a:lnTo>
                      <a:pt x="4919" y="0"/>
                    </a:lnTo>
                    <a:close/>
                    <a:moveTo>
                      <a:pt x="3901" y="2295"/>
                    </a:moveTo>
                    <a:lnTo>
                      <a:pt x="4329" y="2295"/>
                    </a:lnTo>
                    <a:cubicBezTo>
                      <a:pt x="4388" y="2295"/>
                      <a:pt x="4437" y="2415"/>
                      <a:pt x="4437" y="2561"/>
                    </a:cubicBezTo>
                    <a:lnTo>
                      <a:pt x="4437" y="3609"/>
                    </a:lnTo>
                    <a:cubicBezTo>
                      <a:pt x="4437" y="3755"/>
                      <a:pt x="4388" y="3874"/>
                      <a:pt x="4329" y="3874"/>
                    </a:cubicBezTo>
                    <a:lnTo>
                      <a:pt x="3901" y="3874"/>
                    </a:lnTo>
                    <a:cubicBezTo>
                      <a:pt x="3841" y="3874"/>
                      <a:pt x="3793" y="3755"/>
                      <a:pt x="3793" y="3609"/>
                    </a:cubicBezTo>
                    <a:lnTo>
                      <a:pt x="3793" y="2561"/>
                    </a:lnTo>
                    <a:cubicBezTo>
                      <a:pt x="3793" y="2415"/>
                      <a:pt x="3841" y="2296"/>
                      <a:pt x="3901" y="2295"/>
                    </a:cubicBezTo>
                    <a:close/>
                    <a:moveTo>
                      <a:pt x="4831" y="2295"/>
                    </a:moveTo>
                    <a:lnTo>
                      <a:pt x="5259" y="2295"/>
                    </a:lnTo>
                    <a:cubicBezTo>
                      <a:pt x="5318" y="2295"/>
                      <a:pt x="5367" y="2415"/>
                      <a:pt x="5367" y="2561"/>
                    </a:cubicBezTo>
                    <a:lnTo>
                      <a:pt x="5367" y="3609"/>
                    </a:lnTo>
                    <a:cubicBezTo>
                      <a:pt x="5367" y="3755"/>
                      <a:pt x="5318" y="3874"/>
                      <a:pt x="5259" y="3874"/>
                    </a:cubicBezTo>
                    <a:lnTo>
                      <a:pt x="4831" y="3874"/>
                    </a:lnTo>
                    <a:cubicBezTo>
                      <a:pt x="4771" y="3874"/>
                      <a:pt x="4723" y="3755"/>
                      <a:pt x="4723" y="3609"/>
                    </a:cubicBezTo>
                    <a:lnTo>
                      <a:pt x="4723" y="2561"/>
                    </a:lnTo>
                    <a:cubicBezTo>
                      <a:pt x="4723" y="2415"/>
                      <a:pt x="4771" y="2296"/>
                      <a:pt x="4831" y="2295"/>
                    </a:cubicBezTo>
                    <a:close/>
                    <a:moveTo>
                      <a:pt x="6503" y="5544"/>
                    </a:moveTo>
                    <a:lnTo>
                      <a:pt x="6503" y="8250"/>
                    </a:lnTo>
                    <a:lnTo>
                      <a:pt x="8896" y="8250"/>
                    </a:lnTo>
                    <a:lnTo>
                      <a:pt x="8896" y="5544"/>
                    </a:lnTo>
                    <a:lnTo>
                      <a:pt x="6503" y="5544"/>
                    </a:lnTo>
                    <a:close/>
                    <a:moveTo>
                      <a:pt x="9112" y="5544"/>
                    </a:moveTo>
                    <a:lnTo>
                      <a:pt x="9112" y="8250"/>
                    </a:lnTo>
                    <a:lnTo>
                      <a:pt x="11503" y="8250"/>
                    </a:lnTo>
                    <a:lnTo>
                      <a:pt x="11503" y="5544"/>
                    </a:lnTo>
                    <a:lnTo>
                      <a:pt x="9112" y="5544"/>
                    </a:lnTo>
                    <a:close/>
                    <a:moveTo>
                      <a:pt x="11747" y="5544"/>
                    </a:moveTo>
                    <a:lnTo>
                      <a:pt x="11747" y="8250"/>
                    </a:lnTo>
                    <a:lnTo>
                      <a:pt x="14138" y="8250"/>
                    </a:lnTo>
                    <a:lnTo>
                      <a:pt x="14138" y="5544"/>
                    </a:lnTo>
                    <a:lnTo>
                      <a:pt x="11747" y="5544"/>
                    </a:lnTo>
                    <a:close/>
                    <a:moveTo>
                      <a:pt x="14388" y="5544"/>
                    </a:moveTo>
                    <a:lnTo>
                      <a:pt x="14388" y="8250"/>
                    </a:lnTo>
                    <a:lnTo>
                      <a:pt x="16779" y="8250"/>
                    </a:lnTo>
                    <a:lnTo>
                      <a:pt x="16779" y="5544"/>
                    </a:lnTo>
                    <a:lnTo>
                      <a:pt x="14388" y="5544"/>
                    </a:lnTo>
                    <a:close/>
                    <a:moveTo>
                      <a:pt x="17023" y="5544"/>
                    </a:moveTo>
                    <a:lnTo>
                      <a:pt x="17023" y="8250"/>
                    </a:lnTo>
                    <a:lnTo>
                      <a:pt x="19414" y="8250"/>
                    </a:lnTo>
                    <a:lnTo>
                      <a:pt x="19414" y="5544"/>
                    </a:lnTo>
                    <a:lnTo>
                      <a:pt x="17023" y="5544"/>
                    </a:lnTo>
                    <a:close/>
                    <a:moveTo>
                      <a:pt x="2029" y="6327"/>
                    </a:moveTo>
                    <a:lnTo>
                      <a:pt x="2457" y="6327"/>
                    </a:lnTo>
                    <a:cubicBezTo>
                      <a:pt x="2516" y="6327"/>
                      <a:pt x="2565" y="6446"/>
                      <a:pt x="2565" y="6592"/>
                    </a:cubicBezTo>
                    <a:lnTo>
                      <a:pt x="2565" y="7636"/>
                    </a:lnTo>
                    <a:cubicBezTo>
                      <a:pt x="2565" y="7782"/>
                      <a:pt x="2516" y="7902"/>
                      <a:pt x="2457" y="7902"/>
                    </a:cubicBezTo>
                    <a:lnTo>
                      <a:pt x="2029" y="7902"/>
                    </a:lnTo>
                    <a:cubicBezTo>
                      <a:pt x="1970" y="7902"/>
                      <a:pt x="1921" y="7782"/>
                      <a:pt x="1921" y="7636"/>
                    </a:cubicBezTo>
                    <a:lnTo>
                      <a:pt x="1921" y="6592"/>
                    </a:lnTo>
                    <a:cubicBezTo>
                      <a:pt x="1921" y="6446"/>
                      <a:pt x="1970" y="6327"/>
                      <a:pt x="2029" y="6327"/>
                    </a:cubicBezTo>
                    <a:close/>
                    <a:moveTo>
                      <a:pt x="2964" y="6327"/>
                    </a:moveTo>
                    <a:lnTo>
                      <a:pt x="3392" y="6327"/>
                    </a:lnTo>
                    <a:cubicBezTo>
                      <a:pt x="3452" y="6327"/>
                      <a:pt x="3500" y="6446"/>
                      <a:pt x="3500" y="6592"/>
                    </a:cubicBezTo>
                    <a:lnTo>
                      <a:pt x="3500" y="7636"/>
                    </a:lnTo>
                    <a:cubicBezTo>
                      <a:pt x="3500" y="7782"/>
                      <a:pt x="3452" y="7902"/>
                      <a:pt x="3392" y="7902"/>
                    </a:cubicBezTo>
                    <a:lnTo>
                      <a:pt x="2964" y="7902"/>
                    </a:lnTo>
                    <a:cubicBezTo>
                      <a:pt x="2905" y="7902"/>
                      <a:pt x="2856" y="7782"/>
                      <a:pt x="2856" y="7636"/>
                    </a:cubicBezTo>
                    <a:lnTo>
                      <a:pt x="2856" y="6592"/>
                    </a:lnTo>
                    <a:cubicBezTo>
                      <a:pt x="2856" y="6446"/>
                      <a:pt x="2905" y="6327"/>
                      <a:pt x="2964" y="6327"/>
                    </a:cubicBezTo>
                    <a:close/>
                    <a:moveTo>
                      <a:pt x="3901" y="6327"/>
                    </a:moveTo>
                    <a:lnTo>
                      <a:pt x="4329" y="6327"/>
                    </a:lnTo>
                    <a:cubicBezTo>
                      <a:pt x="4388" y="6327"/>
                      <a:pt x="4437" y="6446"/>
                      <a:pt x="4437" y="6592"/>
                    </a:cubicBezTo>
                    <a:lnTo>
                      <a:pt x="4437" y="7636"/>
                    </a:lnTo>
                    <a:cubicBezTo>
                      <a:pt x="4437" y="7782"/>
                      <a:pt x="4388" y="7902"/>
                      <a:pt x="4329" y="7902"/>
                    </a:cubicBezTo>
                    <a:lnTo>
                      <a:pt x="3901" y="7902"/>
                    </a:lnTo>
                    <a:cubicBezTo>
                      <a:pt x="3841" y="7902"/>
                      <a:pt x="3793" y="7782"/>
                      <a:pt x="3793" y="7636"/>
                    </a:cubicBezTo>
                    <a:lnTo>
                      <a:pt x="3793" y="6592"/>
                    </a:lnTo>
                    <a:cubicBezTo>
                      <a:pt x="3793" y="6446"/>
                      <a:pt x="3841" y="6327"/>
                      <a:pt x="3901" y="6327"/>
                    </a:cubicBezTo>
                    <a:close/>
                    <a:moveTo>
                      <a:pt x="4831" y="6327"/>
                    </a:moveTo>
                    <a:lnTo>
                      <a:pt x="5259" y="6327"/>
                    </a:lnTo>
                    <a:cubicBezTo>
                      <a:pt x="5318" y="6327"/>
                      <a:pt x="5367" y="6446"/>
                      <a:pt x="5367" y="6592"/>
                    </a:cubicBezTo>
                    <a:lnTo>
                      <a:pt x="5367" y="7636"/>
                    </a:lnTo>
                    <a:cubicBezTo>
                      <a:pt x="5367" y="7782"/>
                      <a:pt x="5318" y="7902"/>
                      <a:pt x="5259" y="7902"/>
                    </a:cubicBezTo>
                    <a:lnTo>
                      <a:pt x="4831" y="7902"/>
                    </a:lnTo>
                    <a:cubicBezTo>
                      <a:pt x="4771" y="7902"/>
                      <a:pt x="4723" y="7782"/>
                      <a:pt x="4723" y="7636"/>
                    </a:cubicBezTo>
                    <a:lnTo>
                      <a:pt x="4723" y="6592"/>
                    </a:lnTo>
                    <a:cubicBezTo>
                      <a:pt x="4723" y="6446"/>
                      <a:pt x="4771" y="6327"/>
                      <a:pt x="4831" y="6327"/>
                    </a:cubicBezTo>
                    <a:close/>
                    <a:moveTo>
                      <a:pt x="6503" y="8780"/>
                    </a:moveTo>
                    <a:lnTo>
                      <a:pt x="6503" y="11482"/>
                    </a:lnTo>
                    <a:lnTo>
                      <a:pt x="8896" y="11482"/>
                    </a:lnTo>
                    <a:lnTo>
                      <a:pt x="8896" y="8780"/>
                    </a:lnTo>
                    <a:lnTo>
                      <a:pt x="6503" y="8780"/>
                    </a:lnTo>
                    <a:close/>
                    <a:moveTo>
                      <a:pt x="9112" y="8780"/>
                    </a:moveTo>
                    <a:lnTo>
                      <a:pt x="9112" y="11482"/>
                    </a:lnTo>
                    <a:lnTo>
                      <a:pt x="11503" y="11482"/>
                    </a:lnTo>
                    <a:lnTo>
                      <a:pt x="11503" y="8780"/>
                    </a:lnTo>
                    <a:lnTo>
                      <a:pt x="9112" y="8780"/>
                    </a:lnTo>
                    <a:close/>
                    <a:moveTo>
                      <a:pt x="11747" y="8780"/>
                    </a:moveTo>
                    <a:lnTo>
                      <a:pt x="11747" y="11482"/>
                    </a:lnTo>
                    <a:lnTo>
                      <a:pt x="14138" y="11482"/>
                    </a:lnTo>
                    <a:lnTo>
                      <a:pt x="14138" y="8780"/>
                    </a:lnTo>
                    <a:lnTo>
                      <a:pt x="11747" y="8780"/>
                    </a:lnTo>
                    <a:close/>
                    <a:moveTo>
                      <a:pt x="14388" y="8780"/>
                    </a:moveTo>
                    <a:lnTo>
                      <a:pt x="14388" y="11482"/>
                    </a:lnTo>
                    <a:lnTo>
                      <a:pt x="16779" y="11482"/>
                    </a:lnTo>
                    <a:lnTo>
                      <a:pt x="16779" y="8780"/>
                    </a:lnTo>
                    <a:lnTo>
                      <a:pt x="14388" y="8780"/>
                    </a:lnTo>
                    <a:close/>
                    <a:moveTo>
                      <a:pt x="17023" y="8780"/>
                    </a:moveTo>
                    <a:lnTo>
                      <a:pt x="17023" y="11482"/>
                    </a:lnTo>
                    <a:lnTo>
                      <a:pt x="19414" y="11482"/>
                    </a:lnTo>
                    <a:lnTo>
                      <a:pt x="19414" y="8780"/>
                    </a:lnTo>
                    <a:lnTo>
                      <a:pt x="17023" y="8780"/>
                    </a:lnTo>
                    <a:close/>
                    <a:moveTo>
                      <a:pt x="6503" y="12012"/>
                    </a:moveTo>
                    <a:lnTo>
                      <a:pt x="6503" y="14718"/>
                    </a:lnTo>
                    <a:lnTo>
                      <a:pt x="8896" y="14718"/>
                    </a:lnTo>
                    <a:lnTo>
                      <a:pt x="8896" y="12012"/>
                    </a:lnTo>
                    <a:lnTo>
                      <a:pt x="6503" y="12012"/>
                    </a:lnTo>
                    <a:close/>
                    <a:moveTo>
                      <a:pt x="9112" y="12012"/>
                    </a:moveTo>
                    <a:lnTo>
                      <a:pt x="9112" y="14718"/>
                    </a:lnTo>
                    <a:lnTo>
                      <a:pt x="11503" y="14718"/>
                    </a:lnTo>
                    <a:lnTo>
                      <a:pt x="11503" y="12012"/>
                    </a:lnTo>
                    <a:lnTo>
                      <a:pt x="9112" y="12012"/>
                    </a:lnTo>
                    <a:close/>
                    <a:moveTo>
                      <a:pt x="11747" y="12012"/>
                    </a:moveTo>
                    <a:lnTo>
                      <a:pt x="11747" y="14718"/>
                    </a:lnTo>
                    <a:lnTo>
                      <a:pt x="14138" y="14718"/>
                    </a:lnTo>
                    <a:lnTo>
                      <a:pt x="14138" y="12012"/>
                    </a:lnTo>
                    <a:lnTo>
                      <a:pt x="11747" y="12012"/>
                    </a:lnTo>
                    <a:close/>
                    <a:moveTo>
                      <a:pt x="14388" y="12012"/>
                    </a:moveTo>
                    <a:lnTo>
                      <a:pt x="14388" y="14651"/>
                    </a:lnTo>
                    <a:lnTo>
                      <a:pt x="14425" y="14651"/>
                    </a:lnTo>
                    <a:cubicBezTo>
                      <a:pt x="14853" y="14665"/>
                      <a:pt x="15166" y="14240"/>
                      <a:pt x="15350" y="13392"/>
                    </a:cubicBezTo>
                    <a:cubicBezTo>
                      <a:pt x="15496" y="12716"/>
                      <a:pt x="15513" y="12029"/>
                      <a:pt x="15513" y="12029"/>
                    </a:cubicBezTo>
                    <a:lnTo>
                      <a:pt x="15513" y="12012"/>
                    </a:lnTo>
                    <a:lnTo>
                      <a:pt x="14388" y="12012"/>
                    </a:lnTo>
                    <a:close/>
                    <a:moveTo>
                      <a:pt x="15719" y="12041"/>
                    </a:moveTo>
                    <a:cubicBezTo>
                      <a:pt x="15719" y="12041"/>
                      <a:pt x="15670" y="15157"/>
                      <a:pt x="14425" y="15157"/>
                    </a:cubicBezTo>
                    <a:cubicBezTo>
                      <a:pt x="13181" y="15157"/>
                      <a:pt x="0" y="15157"/>
                      <a:pt x="0" y="15157"/>
                    </a:cubicBezTo>
                    <a:cubicBezTo>
                      <a:pt x="0" y="15157"/>
                      <a:pt x="27" y="16683"/>
                      <a:pt x="303" y="18260"/>
                    </a:cubicBezTo>
                    <a:lnTo>
                      <a:pt x="20026" y="18260"/>
                    </a:lnTo>
                    <a:lnTo>
                      <a:pt x="21600" y="12041"/>
                    </a:lnTo>
                    <a:lnTo>
                      <a:pt x="15719" y="12041"/>
                    </a:lnTo>
                    <a:close/>
                    <a:moveTo>
                      <a:pt x="401" y="18774"/>
                    </a:moveTo>
                    <a:cubicBezTo>
                      <a:pt x="715" y="20233"/>
                      <a:pt x="1277" y="21600"/>
                      <a:pt x="2273" y="21600"/>
                    </a:cubicBezTo>
                    <a:cubicBezTo>
                      <a:pt x="3344" y="21600"/>
                      <a:pt x="14539" y="21600"/>
                      <a:pt x="14539" y="21600"/>
                    </a:cubicBezTo>
                    <a:lnTo>
                      <a:pt x="19187" y="21575"/>
                    </a:lnTo>
                    <a:lnTo>
                      <a:pt x="19896" y="18774"/>
                    </a:lnTo>
                    <a:lnTo>
                      <a:pt x="401" y="18774"/>
                    </a:lnTo>
                    <a:close/>
                  </a:path>
                </a:pathLst>
              </a:custGeom>
              <a:solidFill>
                <a:srgbClr val="081F48"/>
              </a:solidFill>
              <a:ln w="12700" cap="flat">
                <a:noFill/>
                <a:miter lim="400000"/>
              </a:ln>
              <a:effectLst/>
            </p:spPr>
            <p:txBody>
              <a:bodyPr wrap="square" lIns="91415" tIns="91415" rIns="91415" bIns="91415" numCol="1" anchor="ctr">
                <a:noAutofit/>
              </a:bodyPr>
              <a:lstStyle/>
              <a:p>
                <a:pPr defTabSz="2438012">
                  <a:defRPr sz="4800"/>
                </a:pPr>
                <a:endParaRPr sz="4799">
                  <a:solidFill>
                    <a:prstClr val="black"/>
                  </a:solidFill>
                </a:endParaRPr>
              </a:p>
            </p:txBody>
          </p:sp>
          <p:sp>
            <p:nvSpPr>
              <p:cNvPr id="7367" name="Water"/>
              <p:cNvSpPr/>
              <p:nvPr/>
            </p:nvSpPr>
            <p:spPr>
              <a:xfrm>
                <a:off x="1541810" y="977801"/>
                <a:ext cx="480267" cy="16650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3728"/>
                    </a:lnTo>
                    <a:cubicBezTo>
                      <a:pt x="292" y="3728"/>
                      <a:pt x="665" y="4209"/>
                      <a:pt x="1059" y="4708"/>
                    </a:cubicBezTo>
                    <a:cubicBezTo>
                      <a:pt x="1551" y="5332"/>
                      <a:pt x="2109" y="6053"/>
                      <a:pt x="2703" y="6053"/>
                    </a:cubicBezTo>
                    <a:cubicBezTo>
                      <a:pt x="3287" y="6053"/>
                      <a:pt x="3802" y="5365"/>
                      <a:pt x="4256" y="4757"/>
                    </a:cubicBezTo>
                    <a:cubicBezTo>
                      <a:pt x="4656" y="4226"/>
                      <a:pt x="5034" y="3728"/>
                      <a:pt x="5402" y="3728"/>
                    </a:cubicBezTo>
                    <a:cubicBezTo>
                      <a:pt x="5769" y="3728"/>
                      <a:pt x="6142" y="4226"/>
                      <a:pt x="6542" y="4757"/>
                    </a:cubicBezTo>
                    <a:cubicBezTo>
                      <a:pt x="6996" y="5365"/>
                      <a:pt x="7516" y="6053"/>
                      <a:pt x="8105" y="6053"/>
                    </a:cubicBezTo>
                    <a:cubicBezTo>
                      <a:pt x="8689" y="6053"/>
                      <a:pt x="9186" y="5380"/>
                      <a:pt x="9624" y="4771"/>
                    </a:cubicBezTo>
                    <a:cubicBezTo>
                      <a:pt x="10019" y="4225"/>
                      <a:pt x="10392" y="3728"/>
                      <a:pt x="10803" y="3728"/>
                    </a:cubicBezTo>
                    <a:cubicBezTo>
                      <a:pt x="11187" y="3728"/>
                      <a:pt x="11512" y="4178"/>
                      <a:pt x="11885" y="4708"/>
                    </a:cubicBezTo>
                    <a:cubicBezTo>
                      <a:pt x="12328" y="5332"/>
                      <a:pt x="12837" y="6053"/>
                      <a:pt x="13502" y="6053"/>
                    </a:cubicBezTo>
                    <a:cubicBezTo>
                      <a:pt x="14172" y="6053"/>
                      <a:pt x="14690" y="5333"/>
                      <a:pt x="15144" y="4693"/>
                    </a:cubicBezTo>
                    <a:cubicBezTo>
                      <a:pt x="15517" y="4179"/>
                      <a:pt x="15836" y="3728"/>
                      <a:pt x="16198" y="3728"/>
                    </a:cubicBezTo>
                    <a:cubicBezTo>
                      <a:pt x="16566" y="3728"/>
                      <a:pt x="16902" y="4182"/>
                      <a:pt x="17291" y="4727"/>
                    </a:cubicBezTo>
                    <a:cubicBezTo>
                      <a:pt x="17746" y="5351"/>
                      <a:pt x="18264" y="6053"/>
                      <a:pt x="18902" y="6053"/>
                    </a:cubicBezTo>
                    <a:cubicBezTo>
                      <a:pt x="19556" y="6053"/>
                      <a:pt x="20113" y="5319"/>
                      <a:pt x="20605" y="4664"/>
                    </a:cubicBezTo>
                    <a:cubicBezTo>
                      <a:pt x="20972" y="4181"/>
                      <a:pt x="21319" y="3728"/>
                      <a:pt x="21600" y="3728"/>
                    </a:cubicBezTo>
                    <a:lnTo>
                      <a:pt x="21600" y="0"/>
                    </a:lnTo>
                    <a:cubicBezTo>
                      <a:pt x="21038" y="0"/>
                      <a:pt x="20547" y="653"/>
                      <a:pt x="20071" y="1277"/>
                    </a:cubicBezTo>
                    <a:cubicBezTo>
                      <a:pt x="19655" y="1807"/>
                      <a:pt x="19270" y="2325"/>
                      <a:pt x="18897" y="2325"/>
                    </a:cubicBezTo>
                    <a:cubicBezTo>
                      <a:pt x="18551" y="2325"/>
                      <a:pt x="18221" y="1870"/>
                      <a:pt x="17842" y="1355"/>
                    </a:cubicBezTo>
                    <a:cubicBezTo>
                      <a:pt x="17377" y="715"/>
                      <a:pt x="16853" y="0"/>
                      <a:pt x="16198" y="0"/>
                    </a:cubicBezTo>
                    <a:cubicBezTo>
                      <a:pt x="15544" y="0"/>
                      <a:pt x="15037" y="716"/>
                      <a:pt x="14583" y="1340"/>
                    </a:cubicBezTo>
                    <a:cubicBezTo>
                      <a:pt x="14205" y="1871"/>
                      <a:pt x="13875" y="2325"/>
                      <a:pt x="13502" y="2325"/>
                    </a:cubicBezTo>
                    <a:cubicBezTo>
                      <a:pt x="13134" y="2325"/>
                      <a:pt x="12820" y="1870"/>
                      <a:pt x="12452" y="1355"/>
                    </a:cubicBezTo>
                    <a:cubicBezTo>
                      <a:pt x="11998" y="715"/>
                      <a:pt x="11485" y="0"/>
                      <a:pt x="10803" y="0"/>
                    </a:cubicBezTo>
                    <a:cubicBezTo>
                      <a:pt x="10106" y="0"/>
                      <a:pt x="9554" y="749"/>
                      <a:pt x="9073" y="1404"/>
                    </a:cubicBezTo>
                    <a:cubicBezTo>
                      <a:pt x="8711" y="1903"/>
                      <a:pt x="8402" y="2325"/>
                      <a:pt x="8105" y="2325"/>
                    </a:cubicBezTo>
                    <a:cubicBezTo>
                      <a:pt x="7802" y="2325"/>
                      <a:pt x="7467" y="1889"/>
                      <a:pt x="7083" y="1374"/>
                    </a:cubicBezTo>
                    <a:cubicBezTo>
                      <a:pt x="6602" y="735"/>
                      <a:pt x="6050" y="0"/>
                      <a:pt x="5402" y="0"/>
                    </a:cubicBezTo>
                    <a:cubicBezTo>
                      <a:pt x="4747" y="0"/>
                      <a:pt x="4202" y="735"/>
                      <a:pt x="3715" y="1374"/>
                    </a:cubicBezTo>
                    <a:cubicBezTo>
                      <a:pt x="3348" y="1858"/>
                      <a:pt x="3001" y="2325"/>
                      <a:pt x="2703" y="2325"/>
                    </a:cubicBezTo>
                    <a:cubicBezTo>
                      <a:pt x="2384" y="2325"/>
                      <a:pt x="1996" y="1827"/>
                      <a:pt x="1585" y="1296"/>
                    </a:cubicBezTo>
                    <a:cubicBezTo>
                      <a:pt x="1082" y="657"/>
                      <a:pt x="568" y="0"/>
                      <a:pt x="0" y="0"/>
                    </a:cubicBezTo>
                    <a:close/>
                    <a:moveTo>
                      <a:pt x="0" y="7769"/>
                    </a:moveTo>
                    <a:lnTo>
                      <a:pt x="0" y="11492"/>
                    </a:lnTo>
                    <a:cubicBezTo>
                      <a:pt x="292" y="11492"/>
                      <a:pt x="665" y="11977"/>
                      <a:pt x="1059" y="12477"/>
                    </a:cubicBezTo>
                    <a:cubicBezTo>
                      <a:pt x="1551" y="13100"/>
                      <a:pt x="2109" y="13817"/>
                      <a:pt x="2703" y="13817"/>
                    </a:cubicBezTo>
                    <a:cubicBezTo>
                      <a:pt x="3287" y="13817"/>
                      <a:pt x="3802" y="13133"/>
                      <a:pt x="4256" y="12525"/>
                    </a:cubicBezTo>
                    <a:cubicBezTo>
                      <a:pt x="4656" y="11995"/>
                      <a:pt x="5034" y="11492"/>
                      <a:pt x="5402" y="11492"/>
                    </a:cubicBezTo>
                    <a:cubicBezTo>
                      <a:pt x="5769" y="11492"/>
                      <a:pt x="6142" y="11995"/>
                      <a:pt x="6542" y="12525"/>
                    </a:cubicBezTo>
                    <a:cubicBezTo>
                      <a:pt x="6996" y="13133"/>
                      <a:pt x="7516" y="13817"/>
                      <a:pt x="8105" y="13817"/>
                    </a:cubicBezTo>
                    <a:cubicBezTo>
                      <a:pt x="8689" y="13817"/>
                      <a:pt x="9186" y="13148"/>
                      <a:pt x="9624" y="12540"/>
                    </a:cubicBezTo>
                    <a:cubicBezTo>
                      <a:pt x="10019" y="11994"/>
                      <a:pt x="10392" y="11492"/>
                      <a:pt x="10803" y="11492"/>
                    </a:cubicBezTo>
                    <a:cubicBezTo>
                      <a:pt x="11187" y="11492"/>
                      <a:pt x="11512" y="11946"/>
                      <a:pt x="11885" y="12477"/>
                    </a:cubicBezTo>
                    <a:cubicBezTo>
                      <a:pt x="12328" y="13100"/>
                      <a:pt x="12837" y="13817"/>
                      <a:pt x="13502" y="13817"/>
                    </a:cubicBezTo>
                    <a:cubicBezTo>
                      <a:pt x="14172" y="13817"/>
                      <a:pt x="14690" y="13101"/>
                      <a:pt x="15144" y="12462"/>
                    </a:cubicBezTo>
                    <a:cubicBezTo>
                      <a:pt x="15517" y="11947"/>
                      <a:pt x="15836" y="11492"/>
                      <a:pt x="16198" y="11492"/>
                    </a:cubicBezTo>
                    <a:cubicBezTo>
                      <a:pt x="16566" y="11492"/>
                      <a:pt x="16902" y="11945"/>
                      <a:pt x="17291" y="12491"/>
                    </a:cubicBezTo>
                    <a:cubicBezTo>
                      <a:pt x="17746" y="13115"/>
                      <a:pt x="18264" y="13817"/>
                      <a:pt x="18902" y="13817"/>
                    </a:cubicBezTo>
                    <a:cubicBezTo>
                      <a:pt x="19556" y="13817"/>
                      <a:pt x="20113" y="13083"/>
                      <a:pt x="20605" y="12428"/>
                    </a:cubicBezTo>
                    <a:cubicBezTo>
                      <a:pt x="20972" y="11944"/>
                      <a:pt x="21319" y="11492"/>
                      <a:pt x="21600" y="11492"/>
                    </a:cubicBezTo>
                    <a:lnTo>
                      <a:pt x="21600" y="7769"/>
                    </a:lnTo>
                    <a:cubicBezTo>
                      <a:pt x="21038" y="7769"/>
                      <a:pt x="20547" y="8422"/>
                      <a:pt x="20071" y="9045"/>
                    </a:cubicBezTo>
                    <a:cubicBezTo>
                      <a:pt x="19655" y="9591"/>
                      <a:pt x="19270" y="10088"/>
                      <a:pt x="18897" y="10088"/>
                    </a:cubicBezTo>
                    <a:cubicBezTo>
                      <a:pt x="18551" y="10088"/>
                      <a:pt x="18221" y="9638"/>
                      <a:pt x="17842" y="9123"/>
                    </a:cubicBezTo>
                    <a:cubicBezTo>
                      <a:pt x="17377" y="8484"/>
                      <a:pt x="16853" y="7769"/>
                      <a:pt x="16198" y="7769"/>
                    </a:cubicBezTo>
                    <a:cubicBezTo>
                      <a:pt x="15544" y="7769"/>
                      <a:pt x="15037" y="8485"/>
                      <a:pt x="14583" y="9109"/>
                    </a:cubicBezTo>
                    <a:cubicBezTo>
                      <a:pt x="14205" y="9639"/>
                      <a:pt x="13875" y="10088"/>
                      <a:pt x="13502" y="10088"/>
                    </a:cubicBezTo>
                    <a:cubicBezTo>
                      <a:pt x="13134" y="10088"/>
                      <a:pt x="12820" y="9638"/>
                      <a:pt x="12452" y="9123"/>
                    </a:cubicBezTo>
                    <a:cubicBezTo>
                      <a:pt x="11998" y="8484"/>
                      <a:pt x="11485" y="7769"/>
                      <a:pt x="10803" y="7769"/>
                    </a:cubicBezTo>
                    <a:cubicBezTo>
                      <a:pt x="10106" y="7769"/>
                      <a:pt x="9554" y="8517"/>
                      <a:pt x="9073" y="9172"/>
                    </a:cubicBezTo>
                    <a:cubicBezTo>
                      <a:pt x="8711" y="9671"/>
                      <a:pt x="8402" y="10088"/>
                      <a:pt x="8105" y="10088"/>
                    </a:cubicBezTo>
                    <a:cubicBezTo>
                      <a:pt x="7802" y="10088"/>
                      <a:pt x="7467" y="9653"/>
                      <a:pt x="7083" y="9138"/>
                    </a:cubicBezTo>
                    <a:cubicBezTo>
                      <a:pt x="6602" y="8499"/>
                      <a:pt x="6050" y="7769"/>
                      <a:pt x="5402" y="7769"/>
                    </a:cubicBezTo>
                    <a:cubicBezTo>
                      <a:pt x="4747" y="7769"/>
                      <a:pt x="4202" y="8499"/>
                      <a:pt x="3715" y="9138"/>
                    </a:cubicBezTo>
                    <a:cubicBezTo>
                      <a:pt x="3348" y="9622"/>
                      <a:pt x="3001" y="10088"/>
                      <a:pt x="2703" y="10088"/>
                    </a:cubicBezTo>
                    <a:cubicBezTo>
                      <a:pt x="2384" y="10088"/>
                      <a:pt x="1996" y="9590"/>
                      <a:pt x="1585" y="9060"/>
                    </a:cubicBezTo>
                    <a:cubicBezTo>
                      <a:pt x="1082" y="8421"/>
                      <a:pt x="568" y="7769"/>
                      <a:pt x="0" y="7769"/>
                    </a:cubicBezTo>
                    <a:close/>
                    <a:moveTo>
                      <a:pt x="0" y="15547"/>
                    </a:moveTo>
                    <a:lnTo>
                      <a:pt x="0" y="19275"/>
                    </a:lnTo>
                    <a:cubicBezTo>
                      <a:pt x="292" y="19275"/>
                      <a:pt x="665" y="19761"/>
                      <a:pt x="1059" y="20260"/>
                    </a:cubicBezTo>
                    <a:cubicBezTo>
                      <a:pt x="1551" y="20884"/>
                      <a:pt x="2109" y="21600"/>
                      <a:pt x="2703" y="21600"/>
                    </a:cubicBezTo>
                    <a:cubicBezTo>
                      <a:pt x="3287" y="21600"/>
                      <a:pt x="3802" y="20912"/>
                      <a:pt x="4256" y="20304"/>
                    </a:cubicBezTo>
                    <a:cubicBezTo>
                      <a:pt x="4656" y="19773"/>
                      <a:pt x="5034" y="19275"/>
                      <a:pt x="5402" y="19275"/>
                    </a:cubicBezTo>
                    <a:cubicBezTo>
                      <a:pt x="5769" y="19275"/>
                      <a:pt x="6142" y="19773"/>
                      <a:pt x="6542" y="20304"/>
                    </a:cubicBezTo>
                    <a:cubicBezTo>
                      <a:pt x="6996" y="20912"/>
                      <a:pt x="7516" y="21600"/>
                      <a:pt x="8105" y="21600"/>
                    </a:cubicBezTo>
                    <a:cubicBezTo>
                      <a:pt x="8689" y="21600"/>
                      <a:pt x="9186" y="20931"/>
                      <a:pt x="9624" y="20323"/>
                    </a:cubicBezTo>
                    <a:cubicBezTo>
                      <a:pt x="10019" y="19777"/>
                      <a:pt x="10392" y="19275"/>
                      <a:pt x="10803" y="19275"/>
                    </a:cubicBezTo>
                    <a:cubicBezTo>
                      <a:pt x="11187" y="19275"/>
                      <a:pt x="11512" y="19729"/>
                      <a:pt x="11885" y="20260"/>
                    </a:cubicBezTo>
                    <a:cubicBezTo>
                      <a:pt x="12328" y="20884"/>
                      <a:pt x="12837" y="21600"/>
                      <a:pt x="13502" y="21600"/>
                    </a:cubicBezTo>
                    <a:cubicBezTo>
                      <a:pt x="14172" y="21600"/>
                      <a:pt x="14690" y="20885"/>
                      <a:pt x="15144" y="20245"/>
                    </a:cubicBezTo>
                    <a:cubicBezTo>
                      <a:pt x="15517" y="19730"/>
                      <a:pt x="15836" y="19275"/>
                      <a:pt x="16198" y="19275"/>
                    </a:cubicBezTo>
                    <a:cubicBezTo>
                      <a:pt x="16566" y="19275"/>
                      <a:pt x="16902" y="19729"/>
                      <a:pt x="17291" y="20274"/>
                    </a:cubicBezTo>
                    <a:cubicBezTo>
                      <a:pt x="17746" y="20898"/>
                      <a:pt x="18264" y="21600"/>
                      <a:pt x="18902" y="21600"/>
                    </a:cubicBezTo>
                    <a:cubicBezTo>
                      <a:pt x="19556" y="21600"/>
                      <a:pt x="20113" y="20866"/>
                      <a:pt x="20605" y="20211"/>
                    </a:cubicBezTo>
                    <a:cubicBezTo>
                      <a:pt x="20972" y="19728"/>
                      <a:pt x="21319" y="19275"/>
                      <a:pt x="21600" y="19275"/>
                    </a:cubicBezTo>
                    <a:lnTo>
                      <a:pt x="21600" y="15547"/>
                    </a:lnTo>
                    <a:cubicBezTo>
                      <a:pt x="21038" y="15547"/>
                      <a:pt x="20547" y="16205"/>
                      <a:pt x="20071" y="16829"/>
                    </a:cubicBezTo>
                    <a:cubicBezTo>
                      <a:pt x="19655" y="17359"/>
                      <a:pt x="19270" y="17872"/>
                      <a:pt x="18897" y="17872"/>
                    </a:cubicBezTo>
                    <a:cubicBezTo>
                      <a:pt x="18551" y="17872"/>
                      <a:pt x="18221" y="17421"/>
                      <a:pt x="17842" y="16907"/>
                    </a:cubicBezTo>
                    <a:cubicBezTo>
                      <a:pt x="17377" y="16267"/>
                      <a:pt x="16853" y="15547"/>
                      <a:pt x="16198" y="15547"/>
                    </a:cubicBezTo>
                    <a:cubicBezTo>
                      <a:pt x="15544" y="15547"/>
                      <a:pt x="15037" y="16268"/>
                      <a:pt x="14583" y="16892"/>
                    </a:cubicBezTo>
                    <a:cubicBezTo>
                      <a:pt x="14205" y="17422"/>
                      <a:pt x="13875" y="17872"/>
                      <a:pt x="13502" y="17872"/>
                    </a:cubicBezTo>
                    <a:cubicBezTo>
                      <a:pt x="13134" y="17872"/>
                      <a:pt x="12820" y="17421"/>
                      <a:pt x="12452" y="16907"/>
                    </a:cubicBezTo>
                    <a:cubicBezTo>
                      <a:pt x="11998" y="16267"/>
                      <a:pt x="11485" y="15547"/>
                      <a:pt x="10803" y="15547"/>
                    </a:cubicBezTo>
                    <a:cubicBezTo>
                      <a:pt x="10106" y="15547"/>
                      <a:pt x="9554" y="16296"/>
                      <a:pt x="9073" y="16951"/>
                    </a:cubicBezTo>
                    <a:cubicBezTo>
                      <a:pt x="8711" y="17450"/>
                      <a:pt x="8402" y="17872"/>
                      <a:pt x="8105" y="17872"/>
                    </a:cubicBezTo>
                    <a:cubicBezTo>
                      <a:pt x="7802" y="17872"/>
                      <a:pt x="7467" y="17436"/>
                      <a:pt x="7083" y="16921"/>
                    </a:cubicBezTo>
                    <a:cubicBezTo>
                      <a:pt x="6602" y="16282"/>
                      <a:pt x="6051" y="15547"/>
                      <a:pt x="5402" y="15547"/>
                    </a:cubicBezTo>
                    <a:cubicBezTo>
                      <a:pt x="4747" y="15547"/>
                      <a:pt x="4202" y="16282"/>
                      <a:pt x="3715" y="16921"/>
                    </a:cubicBezTo>
                    <a:cubicBezTo>
                      <a:pt x="3348" y="17405"/>
                      <a:pt x="3001" y="17872"/>
                      <a:pt x="2703" y="17872"/>
                    </a:cubicBezTo>
                    <a:cubicBezTo>
                      <a:pt x="2384" y="17872"/>
                      <a:pt x="1996" y="17374"/>
                      <a:pt x="1585" y="16843"/>
                    </a:cubicBezTo>
                    <a:cubicBezTo>
                      <a:pt x="1082" y="16204"/>
                      <a:pt x="568" y="15547"/>
                      <a:pt x="0" y="15547"/>
                    </a:cubicBezTo>
                    <a:close/>
                  </a:path>
                </a:pathLst>
              </a:custGeom>
              <a:solidFill>
                <a:schemeClr val="accent4">
                  <a:hueOff val="-12309678"/>
                  <a:satOff val="-68888"/>
                  <a:lumOff val="8823"/>
                </a:schemeClr>
              </a:solidFill>
              <a:ln w="25400" cap="flat">
                <a:solidFill>
                  <a:schemeClr val="accent1"/>
                </a:solidFill>
                <a:prstDash val="solid"/>
                <a:miter lim="800000"/>
              </a:ln>
              <a:effectLst/>
            </p:spPr>
            <p:txBody>
              <a:bodyPr wrap="square" lIns="91415" tIns="91415" rIns="91415" bIns="91415" numCol="1" anchor="ctr">
                <a:noAutofit/>
              </a:bodyPr>
              <a:lstStyle/>
              <a:p>
                <a:pPr defTabSz="2438012">
                  <a:defRPr sz="4800"/>
                </a:pPr>
                <a:endParaRPr sz="4799">
                  <a:solidFill>
                    <a:prstClr val="black"/>
                  </a:solidFill>
                </a:endParaRPr>
              </a:p>
            </p:txBody>
          </p:sp>
          <p:sp>
            <p:nvSpPr>
              <p:cNvPr id="7368" name="Water"/>
              <p:cNvSpPr/>
              <p:nvPr/>
            </p:nvSpPr>
            <p:spPr>
              <a:xfrm>
                <a:off x="1054292" y="977801"/>
                <a:ext cx="480268" cy="16650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3728"/>
                    </a:lnTo>
                    <a:cubicBezTo>
                      <a:pt x="292" y="3728"/>
                      <a:pt x="665" y="4209"/>
                      <a:pt x="1059" y="4708"/>
                    </a:cubicBezTo>
                    <a:cubicBezTo>
                      <a:pt x="1551" y="5332"/>
                      <a:pt x="2109" y="6053"/>
                      <a:pt x="2703" y="6053"/>
                    </a:cubicBezTo>
                    <a:cubicBezTo>
                      <a:pt x="3287" y="6053"/>
                      <a:pt x="3802" y="5365"/>
                      <a:pt x="4256" y="4757"/>
                    </a:cubicBezTo>
                    <a:cubicBezTo>
                      <a:pt x="4656" y="4226"/>
                      <a:pt x="5034" y="3728"/>
                      <a:pt x="5402" y="3728"/>
                    </a:cubicBezTo>
                    <a:cubicBezTo>
                      <a:pt x="5769" y="3728"/>
                      <a:pt x="6142" y="4226"/>
                      <a:pt x="6542" y="4757"/>
                    </a:cubicBezTo>
                    <a:cubicBezTo>
                      <a:pt x="6996" y="5365"/>
                      <a:pt x="7516" y="6053"/>
                      <a:pt x="8105" y="6053"/>
                    </a:cubicBezTo>
                    <a:cubicBezTo>
                      <a:pt x="8689" y="6053"/>
                      <a:pt x="9186" y="5380"/>
                      <a:pt x="9624" y="4771"/>
                    </a:cubicBezTo>
                    <a:cubicBezTo>
                      <a:pt x="10019" y="4225"/>
                      <a:pt x="10392" y="3728"/>
                      <a:pt x="10803" y="3728"/>
                    </a:cubicBezTo>
                    <a:cubicBezTo>
                      <a:pt x="11187" y="3728"/>
                      <a:pt x="11512" y="4178"/>
                      <a:pt x="11885" y="4708"/>
                    </a:cubicBezTo>
                    <a:cubicBezTo>
                      <a:pt x="12328" y="5332"/>
                      <a:pt x="12837" y="6053"/>
                      <a:pt x="13502" y="6053"/>
                    </a:cubicBezTo>
                    <a:cubicBezTo>
                      <a:pt x="14172" y="6053"/>
                      <a:pt x="14690" y="5333"/>
                      <a:pt x="15144" y="4693"/>
                    </a:cubicBezTo>
                    <a:cubicBezTo>
                      <a:pt x="15517" y="4179"/>
                      <a:pt x="15836" y="3728"/>
                      <a:pt x="16198" y="3728"/>
                    </a:cubicBezTo>
                    <a:cubicBezTo>
                      <a:pt x="16566" y="3728"/>
                      <a:pt x="16902" y="4182"/>
                      <a:pt x="17291" y="4727"/>
                    </a:cubicBezTo>
                    <a:cubicBezTo>
                      <a:pt x="17746" y="5351"/>
                      <a:pt x="18264" y="6053"/>
                      <a:pt x="18902" y="6053"/>
                    </a:cubicBezTo>
                    <a:cubicBezTo>
                      <a:pt x="19556" y="6053"/>
                      <a:pt x="20113" y="5319"/>
                      <a:pt x="20605" y="4664"/>
                    </a:cubicBezTo>
                    <a:cubicBezTo>
                      <a:pt x="20972" y="4181"/>
                      <a:pt x="21319" y="3728"/>
                      <a:pt x="21600" y="3728"/>
                    </a:cubicBezTo>
                    <a:lnTo>
                      <a:pt x="21600" y="0"/>
                    </a:lnTo>
                    <a:cubicBezTo>
                      <a:pt x="21038" y="0"/>
                      <a:pt x="20547" y="653"/>
                      <a:pt x="20071" y="1277"/>
                    </a:cubicBezTo>
                    <a:cubicBezTo>
                      <a:pt x="19655" y="1807"/>
                      <a:pt x="19270" y="2325"/>
                      <a:pt x="18897" y="2325"/>
                    </a:cubicBezTo>
                    <a:cubicBezTo>
                      <a:pt x="18551" y="2325"/>
                      <a:pt x="18221" y="1870"/>
                      <a:pt x="17842" y="1355"/>
                    </a:cubicBezTo>
                    <a:cubicBezTo>
                      <a:pt x="17377" y="715"/>
                      <a:pt x="16853" y="0"/>
                      <a:pt x="16198" y="0"/>
                    </a:cubicBezTo>
                    <a:cubicBezTo>
                      <a:pt x="15544" y="0"/>
                      <a:pt x="15037" y="716"/>
                      <a:pt x="14583" y="1340"/>
                    </a:cubicBezTo>
                    <a:cubicBezTo>
                      <a:pt x="14205" y="1871"/>
                      <a:pt x="13875" y="2325"/>
                      <a:pt x="13502" y="2325"/>
                    </a:cubicBezTo>
                    <a:cubicBezTo>
                      <a:pt x="13134" y="2325"/>
                      <a:pt x="12820" y="1870"/>
                      <a:pt x="12452" y="1355"/>
                    </a:cubicBezTo>
                    <a:cubicBezTo>
                      <a:pt x="11998" y="715"/>
                      <a:pt x="11485" y="0"/>
                      <a:pt x="10803" y="0"/>
                    </a:cubicBezTo>
                    <a:cubicBezTo>
                      <a:pt x="10106" y="0"/>
                      <a:pt x="9554" y="749"/>
                      <a:pt x="9073" y="1404"/>
                    </a:cubicBezTo>
                    <a:cubicBezTo>
                      <a:pt x="8711" y="1903"/>
                      <a:pt x="8402" y="2325"/>
                      <a:pt x="8105" y="2325"/>
                    </a:cubicBezTo>
                    <a:cubicBezTo>
                      <a:pt x="7802" y="2325"/>
                      <a:pt x="7467" y="1889"/>
                      <a:pt x="7083" y="1374"/>
                    </a:cubicBezTo>
                    <a:cubicBezTo>
                      <a:pt x="6602" y="735"/>
                      <a:pt x="6050" y="0"/>
                      <a:pt x="5402" y="0"/>
                    </a:cubicBezTo>
                    <a:cubicBezTo>
                      <a:pt x="4747" y="0"/>
                      <a:pt x="4202" y="735"/>
                      <a:pt x="3715" y="1374"/>
                    </a:cubicBezTo>
                    <a:cubicBezTo>
                      <a:pt x="3348" y="1858"/>
                      <a:pt x="3001" y="2325"/>
                      <a:pt x="2703" y="2325"/>
                    </a:cubicBezTo>
                    <a:cubicBezTo>
                      <a:pt x="2384" y="2325"/>
                      <a:pt x="1996" y="1827"/>
                      <a:pt x="1585" y="1296"/>
                    </a:cubicBezTo>
                    <a:cubicBezTo>
                      <a:pt x="1082" y="657"/>
                      <a:pt x="568" y="0"/>
                      <a:pt x="0" y="0"/>
                    </a:cubicBezTo>
                    <a:close/>
                    <a:moveTo>
                      <a:pt x="0" y="7769"/>
                    </a:moveTo>
                    <a:lnTo>
                      <a:pt x="0" y="11492"/>
                    </a:lnTo>
                    <a:cubicBezTo>
                      <a:pt x="292" y="11492"/>
                      <a:pt x="665" y="11977"/>
                      <a:pt x="1059" y="12477"/>
                    </a:cubicBezTo>
                    <a:cubicBezTo>
                      <a:pt x="1551" y="13100"/>
                      <a:pt x="2109" y="13817"/>
                      <a:pt x="2703" y="13817"/>
                    </a:cubicBezTo>
                    <a:cubicBezTo>
                      <a:pt x="3287" y="13817"/>
                      <a:pt x="3802" y="13133"/>
                      <a:pt x="4256" y="12525"/>
                    </a:cubicBezTo>
                    <a:cubicBezTo>
                      <a:pt x="4656" y="11995"/>
                      <a:pt x="5034" y="11492"/>
                      <a:pt x="5402" y="11492"/>
                    </a:cubicBezTo>
                    <a:cubicBezTo>
                      <a:pt x="5769" y="11492"/>
                      <a:pt x="6142" y="11995"/>
                      <a:pt x="6542" y="12525"/>
                    </a:cubicBezTo>
                    <a:cubicBezTo>
                      <a:pt x="6996" y="13133"/>
                      <a:pt x="7516" y="13817"/>
                      <a:pt x="8105" y="13817"/>
                    </a:cubicBezTo>
                    <a:cubicBezTo>
                      <a:pt x="8689" y="13817"/>
                      <a:pt x="9186" y="13148"/>
                      <a:pt x="9624" y="12540"/>
                    </a:cubicBezTo>
                    <a:cubicBezTo>
                      <a:pt x="10019" y="11994"/>
                      <a:pt x="10392" y="11492"/>
                      <a:pt x="10803" y="11492"/>
                    </a:cubicBezTo>
                    <a:cubicBezTo>
                      <a:pt x="11187" y="11492"/>
                      <a:pt x="11512" y="11946"/>
                      <a:pt x="11885" y="12477"/>
                    </a:cubicBezTo>
                    <a:cubicBezTo>
                      <a:pt x="12328" y="13100"/>
                      <a:pt x="12837" y="13817"/>
                      <a:pt x="13502" y="13817"/>
                    </a:cubicBezTo>
                    <a:cubicBezTo>
                      <a:pt x="14172" y="13817"/>
                      <a:pt x="14690" y="13101"/>
                      <a:pt x="15144" y="12462"/>
                    </a:cubicBezTo>
                    <a:cubicBezTo>
                      <a:pt x="15517" y="11947"/>
                      <a:pt x="15836" y="11492"/>
                      <a:pt x="16198" y="11492"/>
                    </a:cubicBezTo>
                    <a:cubicBezTo>
                      <a:pt x="16566" y="11492"/>
                      <a:pt x="16902" y="11945"/>
                      <a:pt x="17291" y="12491"/>
                    </a:cubicBezTo>
                    <a:cubicBezTo>
                      <a:pt x="17746" y="13115"/>
                      <a:pt x="18264" y="13817"/>
                      <a:pt x="18902" y="13817"/>
                    </a:cubicBezTo>
                    <a:cubicBezTo>
                      <a:pt x="19556" y="13817"/>
                      <a:pt x="20113" y="13083"/>
                      <a:pt x="20605" y="12428"/>
                    </a:cubicBezTo>
                    <a:cubicBezTo>
                      <a:pt x="20972" y="11944"/>
                      <a:pt x="21319" y="11492"/>
                      <a:pt x="21600" y="11492"/>
                    </a:cubicBezTo>
                    <a:lnTo>
                      <a:pt x="21600" y="7769"/>
                    </a:lnTo>
                    <a:cubicBezTo>
                      <a:pt x="21038" y="7769"/>
                      <a:pt x="20547" y="8422"/>
                      <a:pt x="20071" y="9045"/>
                    </a:cubicBezTo>
                    <a:cubicBezTo>
                      <a:pt x="19655" y="9591"/>
                      <a:pt x="19270" y="10088"/>
                      <a:pt x="18897" y="10088"/>
                    </a:cubicBezTo>
                    <a:cubicBezTo>
                      <a:pt x="18551" y="10088"/>
                      <a:pt x="18221" y="9638"/>
                      <a:pt x="17842" y="9123"/>
                    </a:cubicBezTo>
                    <a:cubicBezTo>
                      <a:pt x="17377" y="8484"/>
                      <a:pt x="16853" y="7769"/>
                      <a:pt x="16198" y="7769"/>
                    </a:cubicBezTo>
                    <a:cubicBezTo>
                      <a:pt x="15544" y="7769"/>
                      <a:pt x="15037" y="8485"/>
                      <a:pt x="14583" y="9109"/>
                    </a:cubicBezTo>
                    <a:cubicBezTo>
                      <a:pt x="14205" y="9639"/>
                      <a:pt x="13875" y="10088"/>
                      <a:pt x="13502" y="10088"/>
                    </a:cubicBezTo>
                    <a:cubicBezTo>
                      <a:pt x="13134" y="10088"/>
                      <a:pt x="12820" y="9638"/>
                      <a:pt x="12452" y="9123"/>
                    </a:cubicBezTo>
                    <a:cubicBezTo>
                      <a:pt x="11998" y="8484"/>
                      <a:pt x="11485" y="7769"/>
                      <a:pt x="10803" y="7769"/>
                    </a:cubicBezTo>
                    <a:cubicBezTo>
                      <a:pt x="10106" y="7769"/>
                      <a:pt x="9554" y="8517"/>
                      <a:pt x="9073" y="9172"/>
                    </a:cubicBezTo>
                    <a:cubicBezTo>
                      <a:pt x="8711" y="9671"/>
                      <a:pt x="8402" y="10088"/>
                      <a:pt x="8105" y="10088"/>
                    </a:cubicBezTo>
                    <a:cubicBezTo>
                      <a:pt x="7802" y="10088"/>
                      <a:pt x="7467" y="9653"/>
                      <a:pt x="7083" y="9138"/>
                    </a:cubicBezTo>
                    <a:cubicBezTo>
                      <a:pt x="6602" y="8499"/>
                      <a:pt x="6050" y="7769"/>
                      <a:pt x="5402" y="7769"/>
                    </a:cubicBezTo>
                    <a:cubicBezTo>
                      <a:pt x="4747" y="7769"/>
                      <a:pt x="4202" y="8499"/>
                      <a:pt x="3715" y="9138"/>
                    </a:cubicBezTo>
                    <a:cubicBezTo>
                      <a:pt x="3348" y="9622"/>
                      <a:pt x="3001" y="10088"/>
                      <a:pt x="2703" y="10088"/>
                    </a:cubicBezTo>
                    <a:cubicBezTo>
                      <a:pt x="2384" y="10088"/>
                      <a:pt x="1996" y="9590"/>
                      <a:pt x="1585" y="9060"/>
                    </a:cubicBezTo>
                    <a:cubicBezTo>
                      <a:pt x="1082" y="8421"/>
                      <a:pt x="568" y="7769"/>
                      <a:pt x="0" y="7769"/>
                    </a:cubicBezTo>
                    <a:close/>
                    <a:moveTo>
                      <a:pt x="0" y="15547"/>
                    </a:moveTo>
                    <a:lnTo>
                      <a:pt x="0" y="19275"/>
                    </a:lnTo>
                    <a:cubicBezTo>
                      <a:pt x="292" y="19275"/>
                      <a:pt x="665" y="19761"/>
                      <a:pt x="1059" y="20260"/>
                    </a:cubicBezTo>
                    <a:cubicBezTo>
                      <a:pt x="1551" y="20884"/>
                      <a:pt x="2109" y="21600"/>
                      <a:pt x="2703" y="21600"/>
                    </a:cubicBezTo>
                    <a:cubicBezTo>
                      <a:pt x="3287" y="21600"/>
                      <a:pt x="3802" y="20912"/>
                      <a:pt x="4256" y="20304"/>
                    </a:cubicBezTo>
                    <a:cubicBezTo>
                      <a:pt x="4656" y="19773"/>
                      <a:pt x="5034" y="19275"/>
                      <a:pt x="5402" y="19275"/>
                    </a:cubicBezTo>
                    <a:cubicBezTo>
                      <a:pt x="5769" y="19275"/>
                      <a:pt x="6142" y="19773"/>
                      <a:pt x="6542" y="20304"/>
                    </a:cubicBezTo>
                    <a:cubicBezTo>
                      <a:pt x="6996" y="20912"/>
                      <a:pt x="7516" y="21600"/>
                      <a:pt x="8105" y="21600"/>
                    </a:cubicBezTo>
                    <a:cubicBezTo>
                      <a:pt x="8689" y="21600"/>
                      <a:pt x="9186" y="20931"/>
                      <a:pt x="9624" y="20323"/>
                    </a:cubicBezTo>
                    <a:cubicBezTo>
                      <a:pt x="10019" y="19777"/>
                      <a:pt x="10392" y="19275"/>
                      <a:pt x="10803" y="19275"/>
                    </a:cubicBezTo>
                    <a:cubicBezTo>
                      <a:pt x="11187" y="19275"/>
                      <a:pt x="11512" y="19729"/>
                      <a:pt x="11885" y="20260"/>
                    </a:cubicBezTo>
                    <a:cubicBezTo>
                      <a:pt x="12328" y="20884"/>
                      <a:pt x="12837" y="21600"/>
                      <a:pt x="13502" y="21600"/>
                    </a:cubicBezTo>
                    <a:cubicBezTo>
                      <a:pt x="14172" y="21600"/>
                      <a:pt x="14690" y="20885"/>
                      <a:pt x="15144" y="20245"/>
                    </a:cubicBezTo>
                    <a:cubicBezTo>
                      <a:pt x="15517" y="19730"/>
                      <a:pt x="15836" y="19275"/>
                      <a:pt x="16198" y="19275"/>
                    </a:cubicBezTo>
                    <a:cubicBezTo>
                      <a:pt x="16566" y="19275"/>
                      <a:pt x="16902" y="19729"/>
                      <a:pt x="17291" y="20274"/>
                    </a:cubicBezTo>
                    <a:cubicBezTo>
                      <a:pt x="17746" y="20898"/>
                      <a:pt x="18264" y="21600"/>
                      <a:pt x="18902" y="21600"/>
                    </a:cubicBezTo>
                    <a:cubicBezTo>
                      <a:pt x="19556" y="21600"/>
                      <a:pt x="20113" y="20866"/>
                      <a:pt x="20605" y="20211"/>
                    </a:cubicBezTo>
                    <a:cubicBezTo>
                      <a:pt x="20972" y="19728"/>
                      <a:pt x="21319" y="19275"/>
                      <a:pt x="21600" y="19275"/>
                    </a:cubicBezTo>
                    <a:lnTo>
                      <a:pt x="21600" y="15547"/>
                    </a:lnTo>
                    <a:cubicBezTo>
                      <a:pt x="21038" y="15547"/>
                      <a:pt x="20547" y="16205"/>
                      <a:pt x="20071" y="16829"/>
                    </a:cubicBezTo>
                    <a:cubicBezTo>
                      <a:pt x="19655" y="17359"/>
                      <a:pt x="19270" y="17872"/>
                      <a:pt x="18897" y="17872"/>
                    </a:cubicBezTo>
                    <a:cubicBezTo>
                      <a:pt x="18551" y="17872"/>
                      <a:pt x="18221" y="17421"/>
                      <a:pt x="17842" y="16907"/>
                    </a:cubicBezTo>
                    <a:cubicBezTo>
                      <a:pt x="17377" y="16267"/>
                      <a:pt x="16853" y="15547"/>
                      <a:pt x="16198" y="15547"/>
                    </a:cubicBezTo>
                    <a:cubicBezTo>
                      <a:pt x="15544" y="15547"/>
                      <a:pt x="15037" y="16268"/>
                      <a:pt x="14583" y="16892"/>
                    </a:cubicBezTo>
                    <a:cubicBezTo>
                      <a:pt x="14205" y="17422"/>
                      <a:pt x="13875" y="17872"/>
                      <a:pt x="13502" y="17872"/>
                    </a:cubicBezTo>
                    <a:cubicBezTo>
                      <a:pt x="13134" y="17872"/>
                      <a:pt x="12820" y="17421"/>
                      <a:pt x="12452" y="16907"/>
                    </a:cubicBezTo>
                    <a:cubicBezTo>
                      <a:pt x="11998" y="16267"/>
                      <a:pt x="11485" y="15547"/>
                      <a:pt x="10803" y="15547"/>
                    </a:cubicBezTo>
                    <a:cubicBezTo>
                      <a:pt x="10106" y="15547"/>
                      <a:pt x="9554" y="16296"/>
                      <a:pt x="9073" y="16951"/>
                    </a:cubicBezTo>
                    <a:cubicBezTo>
                      <a:pt x="8711" y="17450"/>
                      <a:pt x="8402" y="17872"/>
                      <a:pt x="8105" y="17872"/>
                    </a:cubicBezTo>
                    <a:cubicBezTo>
                      <a:pt x="7802" y="17872"/>
                      <a:pt x="7467" y="17436"/>
                      <a:pt x="7083" y="16921"/>
                    </a:cubicBezTo>
                    <a:cubicBezTo>
                      <a:pt x="6602" y="16282"/>
                      <a:pt x="6051" y="15547"/>
                      <a:pt x="5402" y="15547"/>
                    </a:cubicBezTo>
                    <a:cubicBezTo>
                      <a:pt x="4747" y="15547"/>
                      <a:pt x="4202" y="16282"/>
                      <a:pt x="3715" y="16921"/>
                    </a:cubicBezTo>
                    <a:cubicBezTo>
                      <a:pt x="3348" y="17405"/>
                      <a:pt x="3001" y="17872"/>
                      <a:pt x="2703" y="17872"/>
                    </a:cubicBezTo>
                    <a:cubicBezTo>
                      <a:pt x="2384" y="17872"/>
                      <a:pt x="1996" y="17374"/>
                      <a:pt x="1585" y="16843"/>
                    </a:cubicBezTo>
                    <a:cubicBezTo>
                      <a:pt x="1082" y="16204"/>
                      <a:pt x="568" y="15547"/>
                      <a:pt x="0" y="15547"/>
                    </a:cubicBezTo>
                    <a:close/>
                  </a:path>
                </a:pathLst>
              </a:custGeom>
              <a:solidFill>
                <a:schemeClr val="accent4">
                  <a:hueOff val="-12309678"/>
                  <a:satOff val="-68888"/>
                  <a:lumOff val="8823"/>
                </a:schemeClr>
              </a:solidFill>
              <a:ln w="25400" cap="flat">
                <a:solidFill>
                  <a:schemeClr val="accent1"/>
                </a:solidFill>
                <a:prstDash val="solid"/>
                <a:miter lim="800000"/>
              </a:ln>
              <a:effectLst/>
            </p:spPr>
            <p:txBody>
              <a:bodyPr wrap="square" lIns="91415" tIns="91415" rIns="91415" bIns="91415" numCol="1" anchor="ctr">
                <a:noAutofit/>
              </a:bodyPr>
              <a:lstStyle/>
              <a:p>
                <a:pPr defTabSz="2438012">
                  <a:defRPr sz="4800"/>
                </a:pPr>
                <a:endParaRPr sz="4799">
                  <a:solidFill>
                    <a:prstClr val="black"/>
                  </a:solidFill>
                </a:endParaRPr>
              </a:p>
            </p:txBody>
          </p:sp>
          <p:sp>
            <p:nvSpPr>
              <p:cNvPr id="7369" name="Water"/>
              <p:cNvSpPr/>
              <p:nvPr/>
            </p:nvSpPr>
            <p:spPr>
              <a:xfrm>
                <a:off x="566775" y="977801"/>
                <a:ext cx="480267" cy="16650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3728"/>
                    </a:lnTo>
                    <a:cubicBezTo>
                      <a:pt x="292" y="3728"/>
                      <a:pt x="665" y="4209"/>
                      <a:pt x="1059" y="4708"/>
                    </a:cubicBezTo>
                    <a:cubicBezTo>
                      <a:pt x="1551" y="5332"/>
                      <a:pt x="2109" y="6053"/>
                      <a:pt x="2703" y="6053"/>
                    </a:cubicBezTo>
                    <a:cubicBezTo>
                      <a:pt x="3287" y="6053"/>
                      <a:pt x="3802" y="5365"/>
                      <a:pt x="4256" y="4757"/>
                    </a:cubicBezTo>
                    <a:cubicBezTo>
                      <a:pt x="4656" y="4226"/>
                      <a:pt x="5034" y="3728"/>
                      <a:pt x="5402" y="3728"/>
                    </a:cubicBezTo>
                    <a:cubicBezTo>
                      <a:pt x="5769" y="3728"/>
                      <a:pt x="6142" y="4226"/>
                      <a:pt x="6542" y="4757"/>
                    </a:cubicBezTo>
                    <a:cubicBezTo>
                      <a:pt x="6996" y="5365"/>
                      <a:pt x="7516" y="6053"/>
                      <a:pt x="8105" y="6053"/>
                    </a:cubicBezTo>
                    <a:cubicBezTo>
                      <a:pt x="8689" y="6053"/>
                      <a:pt x="9186" y="5380"/>
                      <a:pt x="9624" y="4771"/>
                    </a:cubicBezTo>
                    <a:cubicBezTo>
                      <a:pt x="10019" y="4225"/>
                      <a:pt x="10392" y="3728"/>
                      <a:pt x="10803" y="3728"/>
                    </a:cubicBezTo>
                    <a:cubicBezTo>
                      <a:pt x="11187" y="3728"/>
                      <a:pt x="11512" y="4178"/>
                      <a:pt x="11885" y="4708"/>
                    </a:cubicBezTo>
                    <a:cubicBezTo>
                      <a:pt x="12328" y="5332"/>
                      <a:pt x="12837" y="6053"/>
                      <a:pt x="13502" y="6053"/>
                    </a:cubicBezTo>
                    <a:cubicBezTo>
                      <a:pt x="14172" y="6053"/>
                      <a:pt x="14690" y="5333"/>
                      <a:pt x="15144" y="4693"/>
                    </a:cubicBezTo>
                    <a:cubicBezTo>
                      <a:pt x="15517" y="4179"/>
                      <a:pt x="15836" y="3728"/>
                      <a:pt x="16198" y="3728"/>
                    </a:cubicBezTo>
                    <a:cubicBezTo>
                      <a:pt x="16566" y="3728"/>
                      <a:pt x="16902" y="4182"/>
                      <a:pt x="17291" y="4727"/>
                    </a:cubicBezTo>
                    <a:cubicBezTo>
                      <a:pt x="17746" y="5351"/>
                      <a:pt x="18264" y="6053"/>
                      <a:pt x="18902" y="6053"/>
                    </a:cubicBezTo>
                    <a:cubicBezTo>
                      <a:pt x="19556" y="6053"/>
                      <a:pt x="20113" y="5319"/>
                      <a:pt x="20605" y="4664"/>
                    </a:cubicBezTo>
                    <a:cubicBezTo>
                      <a:pt x="20972" y="4181"/>
                      <a:pt x="21319" y="3728"/>
                      <a:pt x="21600" y="3728"/>
                    </a:cubicBezTo>
                    <a:lnTo>
                      <a:pt x="21600" y="0"/>
                    </a:lnTo>
                    <a:cubicBezTo>
                      <a:pt x="21038" y="0"/>
                      <a:pt x="20547" y="653"/>
                      <a:pt x="20071" y="1277"/>
                    </a:cubicBezTo>
                    <a:cubicBezTo>
                      <a:pt x="19655" y="1807"/>
                      <a:pt x="19270" y="2325"/>
                      <a:pt x="18897" y="2325"/>
                    </a:cubicBezTo>
                    <a:cubicBezTo>
                      <a:pt x="18551" y="2325"/>
                      <a:pt x="18221" y="1870"/>
                      <a:pt x="17842" y="1355"/>
                    </a:cubicBezTo>
                    <a:cubicBezTo>
                      <a:pt x="17377" y="715"/>
                      <a:pt x="16853" y="0"/>
                      <a:pt x="16198" y="0"/>
                    </a:cubicBezTo>
                    <a:cubicBezTo>
                      <a:pt x="15544" y="0"/>
                      <a:pt x="15037" y="716"/>
                      <a:pt x="14583" y="1340"/>
                    </a:cubicBezTo>
                    <a:cubicBezTo>
                      <a:pt x="14205" y="1871"/>
                      <a:pt x="13875" y="2325"/>
                      <a:pt x="13502" y="2325"/>
                    </a:cubicBezTo>
                    <a:cubicBezTo>
                      <a:pt x="13134" y="2325"/>
                      <a:pt x="12820" y="1870"/>
                      <a:pt x="12452" y="1355"/>
                    </a:cubicBezTo>
                    <a:cubicBezTo>
                      <a:pt x="11998" y="715"/>
                      <a:pt x="11485" y="0"/>
                      <a:pt x="10803" y="0"/>
                    </a:cubicBezTo>
                    <a:cubicBezTo>
                      <a:pt x="10106" y="0"/>
                      <a:pt x="9554" y="749"/>
                      <a:pt x="9073" y="1404"/>
                    </a:cubicBezTo>
                    <a:cubicBezTo>
                      <a:pt x="8711" y="1903"/>
                      <a:pt x="8402" y="2325"/>
                      <a:pt x="8105" y="2325"/>
                    </a:cubicBezTo>
                    <a:cubicBezTo>
                      <a:pt x="7802" y="2325"/>
                      <a:pt x="7467" y="1889"/>
                      <a:pt x="7083" y="1374"/>
                    </a:cubicBezTo>
                    <a:cubicBezTo>
                      <a:pt x="6602" y="735"/>
                      <a:pt x="6050" y="0"/>
                      <a:pt x="5402" y="0"/>
                    </a:cubicBezTo>
                    <a:cubicBezTo>
                      <a:pt x="4747" y="0"/>
                      <a:pt x="4202" y="735"/>
                      <a:pt x="3715" y="1374"/>
                    </a:cubicBezTo>
                    <a:cubicBezTo>
                      <a:pt x="3348" y="1858"/>
                      <a:pt x="3001" y="2325"/>
                      <a:pt x="2703" y="2325"/>
                    </a:cubicBezTo>
                    <a:cubicBezTo>
                      <a:pt x="2384" y="2325"/>
                      <a:pt x="1996" y="1827"/>
                      <a:pt x="1585" y="1296"/>
                    </a:cubicBezTo>
                    <a:cubicBezTo>
                      <a:pt x="1082" y="657"/>
                      <a:pt x="568" y="0"/>
                      <a:pt x="0" y="0"/>
                    </a:cubicBezTo>
                    <a:close/>
                    <a:moveTo>
                      <a:pt x="0" y="7769"/>
                    </a:moveTo>
                    <a:lnTo>
                      <a:pt x="0" y="11492"/>
                    </a:lnTo>
                    <a:cubicBezTo>
                      <a:pt x="292" y="11492"/>
                      <a:pt x="665" y="11977"/>
                      <a:pt x="1059" y="12477"/>
                    </a:cubicBezTo>
                    <a:cubicBezTo>
                      <a:pt x="1551" y="13100"/>
                      <a:pt x="2109" y="13817"/>
                      <a:pt x="2703" y="13817"/>
                    </a:cubicBezTo>
                    <a:cubicBezTo>
                      <a:pt x="3287" y="13817"/>
                      <a:pt x="3802" y="13133"/>
                      <a:pt x="4256" y="12525"/>
                    </a:cubicBezTo>
                    <a:cubicBezTo>
                      <a:pt x="4656" y="11995"/>
                      <a:pt x="5034" y="11492"/>
                      <a:pt x="5402" y="11492"/>
                    </a:cubicBezTo>
                    <a:cubicBezTo>
                      <a:pt x="5769" y="11492"/>
                      <a:pt x="6142" y="11995"/>
                      <a:pt x="6542" y="12525"/>
                    </a:cubicBezTo>
                    <a:cubicBezTo>
                      <a:pt x="6996" y="13133"/>
                      <a:pt x="7516" y="13817"/>
                      <a:pt x="8105" y="13817"/>
                    </a:cubicBezTo>
                    <a:cubicBezTo>
                      <a:pt x="8689" y="13817"/>
                      <a:pt x="9186" y="13148"/>
                      <a:pt x="9624" y="12540"/>
                    </a:cubicBezTo>
                    <a:cubicBezTo>
                      <a:pt x="10019" y="11994"/>
                      <a:pt x="10392" y="11492"/>
                      <a:pt x="10803" y="11492"/>
                    </a:cubicBezTo>
                    <a:cubicBezTo>
                      <a:pt x="11187" y="11492"/>
                      <a:pt x="11512" y="11946"/>
                      <a:pt x="11885" y="12477"/>
                    </a:cubicBezTo>
                    <a:cubicBezTo>
                      <a:pt x="12328" y="13100"/>
                      <a:pt x="12837" y="13817"/>
                      <a:pt x="13502" y="13817"/>
                    </a:cubicBezTo>
                    <a:cubicBezTo>
                      <a:pt x="14172" y="13817"/>
                      <a:pt x="14690" y="13101"/>
                      <a:pt x="15144" y="12462"/>
                    </a:cubicBezTo>
                    <a:cubicBezTo>
                      <a:pt x="15517" y="11947"/>
                      <a:pt x="15836" y="11492"/>
                      <a:pt x="16198" y="11492"/>
                    </a:cubicBezTo>
                    <a:cubicBezTo>
                      <a:pt x="16566" y="11492"/>
                      <a:pt x="16902" y="11945"/>
                      <a:pt x="17291" y="12491"/>
                    </a:cubicBezTo>
                    <a:cubicBezTo>
                      <a:pt x="17746" y="13115"/>
                      <a:pt x="18264" y="13817"/>
                      <a:pt x="18902" y="13817"/>
                    </a:cubicBezTo>
                    <a:cubicBezTo>
                      <a:pt x="19556" y="13817"/>
                      <a:pt x="20113" y="13083"/>
                      <a:pt x="20605" y="12428"/>
                    </a:cubicBezTo>
                    <a:cubicBezTo>
                      <a:pt x="20972" y="11944"/>
                      <a:pt x="21319" y="11492"/>
                      <a:pt x="21600" y="11492"/>
                    </a:cubicBezTo>
                    <a:lnTo>
                      <a:pt x="21600" y="7769"/>
                    </a:lnTo>
                    <a:cubicBezTo>
                      <a:pt x="21038" y="7769"/>
                      <a:pt x="20547" y="8422"/>
                      <a:pt x="20071" y="9045"/>
                    </a:cubicBezTo>
                    <a:cubicBezTo>
                      <a:pt x="19655" y="9591"/>
                      <a:pt x="19270" y="10088"/>
                      <a:pt x="18897" y="10088"/>
                    </a:cubicBezTo>
                    <a:cubicBezTo>
                      <a:pt x="18551" y="10088"/>
                      <a:pt x="18221" y="9638"/>
                      <a:pt x="17842" y="9123"/>
                    </a:cubicBezTo>
                    <a:cubicBezTo>
                      <a:pt x="17377" y="8484"/>
                      <a:pt x="16853" y="7769"/>
                      <a:pt x="16198" y="7769"/>
                    </a:cubicBezTo>
                    <a:cubicBezTo>
                      <a:pt x="15544" y="7769"/>
                      <a:pt x="15037" y="8485"/>
                      <a:pt x="14583" y="9109"/>
                    </a:cubicBezTo>
                    <a:cubicBezTo>
                      <a:pt x="14205" y="9639"/>
                      <a:pt x="13875" y="10088"/>
                      <a:pt x="13502" y="10088"/>
                    </a:cubicBezTo>
                    <a:cubicBezTo>
                      <a:pt x="13134" y="10088"/>
                      <a:pt x="12820" y="9638"/>
                      <a:pt x="12452" y="9123"/>
                    </a:cubicBezTo>
                    <a:cubicBezTo>
                      <a:pt x="11998" y="8484"/>
                      <a:pt x="11485" y="7769"/>
                      <a:pt x="10803" y="7769"/>
                    </a:cubicBezTo>
                    <a:cubicBezTo>
                      <a:pt x="10106" y="7769"/>
                      <a:pt x="9554" y="8517"/>
                      <a:pt x="9073" y="9172"/>
                    </a:cubicBezTo>
                    <a:cubicBezTo>
                      <a:pt x="8711" y="9671"/>
                      <a:pt x="8402" y="10088"/>
                      <a:pt x="8105" y="10088"/>
                    </a:cubicBezTo>
                    <a:cubicBezTo>
                      <a:pt x="7802" y="10088"/>
                      <a:pt x="7467" y="9653"/>
                      <a:pt x="7083" y="9138"/>
                    </a:cubicBezTo>
                    <a:cubicBezTo>
                      <a:pt x="6602" y="8499"/>
                      <a:pt x="6050" y="7769"/>
                      <a:pt x="5402" y="7769"/>
                    </a:cubicBezTo>
                    <a:cubicBezTo>
                      <a:pt x="4747" y="7769"/>
                      <a:pt x="4202" y="8499"/>
                      <a:pt x="3715" y="9138"/>
                    </a:cubicBezTo>
                    <a:cubicBezTo>
                      <a:pt x="3348" y="9622"/>
                      <a:pt x="3001" y="10088"/>
                      <a:pt x="2703" y="10088"/>
                    </a:cubicBezTo>
                    <a:cubicBezTo>
                      <a:pt x="2384" y="10088"/>
                      <a:pt x="1996" y="9590"/>
                      <a:pt x="1585" y="9060"/>
                    </a:cubicBezTo>
                    <a:cubicBezTo>
                      <a:pt x="1082" y="8421"/>
                      <a:pt x="568" y="7769"/>
                      <a:pt x="0" y="7769"/>
                    </a:cubicBezTo>
                    <a:close/>
                    <a:moveTo>
                      <a:pt x="0" y="15547"/>
                    </a:moveTo>
                    <a:lnTo>
                      <a:pt x="0" y="19275"/>
                    </a:lnTo>
                    <a:cubicBezTo>
                      <a:pt x="292" y="19275"/>
                      <a:pt x="665" y="19761"/>
                      <a:pt x="1059" y="20260"/>
                    </a:cubicBezTo>
                    <a:cubicBezTo>
                      <a:pt x="1551" y="20884"/>
                      <a:pt x="2109" y="21600"/>
                      <a:pt x="2703" y="21600"/>
                    </a:cubicBezTo>
                    <a:cubicBezTo>
                      <a:pt x="3287" y="21600"/>
                      <a:pt x="3802" y="20912"/>
                      <a:pt x="4256" y="20304"/>
                    </a:cubicBezTo>
                    <a:cubicBezTo>
                      <a:pt x="4656" y="19773"/>
                      <a:pt x="5034" y="19275"/>
                      <a:pt x="5402" y="19275"/>
                    </a:cubicBezTo>
                    <a:cubicBezTo>
                      <a:pt x="5769" y="19275"/>
                      <a:pt x="6142" y="19773"/>
                      <a:pt x="6542" y="20304"/>
                    </a:cubicBezTo>
                    <a:cubicBezTo>
                      <a:pt x="6996" y="20912"/>
                      <a:pt x="7516" y="21600"/>
                      <a:pt x="8105" y="21600"/>
                    </a:cubicBezTo>
                    <a:cubicBezTo>
                      <a:pt x="8689" y="21600"/>
                      <a:pt x="9186" y="20931"/>
                      <a:pt x="9624" y="20323"/>
                    </a:cubicBezTo>
                    <a:cubicBezTo>
                      <a:pt x="10019" y="19777"/>
                      <a:pt x="10392" y="19275"/>
                      <a:pt x="10803" y="19275"/>
                    </a:cubicBezTo>
                    <a:cubicBezTo>
                      <a:pt x="11187" y="19275"/>
                      <a:pt x="11512" y="19729"/>
                      <a:pt x="11885" y="20260"/>
                    </a:cubicBezTo>
                    <a:cubicBezTo>
                      <a:pt x="12328" y="20884"/>
                      <a:pt x="12837" y="21600"/>
                      <a:pt x="13502" y="21600"/>
                    </a:cubicBezTo>
                    <a:cubicBezTo>
                      <a:pt x="14172" y="21600"/>
                      <a:pt x="14690" y="20885"/>
                      <a:pt x="15144" y="20245"/>
                    </a:cubicBezTo>
                    <a:cubicBezTo>
                      <a:pt x="15517" y="19730"/>
                      <a:pt x="15836" y="19275"/>
                      <a:pt x="16198" y="19275"/>
                    </a:cubicBezTo>
                    <a:cubicBezTo>
                      <a:pt x="16566" y="19275"/>
                      <a:pt x="16902" y="19729"/>
                      <a:pt x="17291" y="20274"/>
                    </a:cubicBezTo>
                    <a:cubicBezTo>
                      <a:pt x="17746" y="20898"/>
                      <a:pt x="18264" y="21600"/>
                      <a:pt x="18902" y="21600"/>
                    </a:cubicBezTo>
                    <a:cubicBezTo>
                      <a:pt x="19556" y="21600"/>
                      <a:pt x="20113" y="20866"/>
                      <a:pt x="20605" y="20211"/>
                    </a:cubicBezTo>
                    <a:cubicBezTo>
                      <a:pt x="20972" y="19728"/>
                      <a:pt x="21319" y="19275"/>
                      <a:pt x="21600" y="19275"/>
                    </a:cubicBezTo>
                    <a:lnTo>
                      <a:pt x="21600" y="15547"/>
                    </a:lnTo>
                    <a:cubicBezTo>
                      <a:pt x="21038" y="15547"/>
                      <a:pt x="20547" y="16205"/>
                      <a:pt x="20071" y="16829"/>
                    </a:cubicBezTo>
                    <a:cubicBezTo>
                      <a:pt x="19655" y="17359"/>
                      <a:pt x="19270" y="17872"/>
                      <a:pt x="18897" y="17872"/>
                    </a:cubicBezTo>
                    <a:cubicBezTo>
                      <a:pt x="18551" y="17872"/>
                      <a:pt x="18221" y="17421"/>
                      <a:pt x="17842" y="16907"/>
                    </a:cubicBezTo>
                    <a:cubicBezTo>
                      <a:pt x="17377" y="16267"/>
                      <a:pt x="16853" y="15547"/>
                      <a:pt x="16198" y="15547"/>
                    </a:cubicBezTo>
                    <a:cubicBezTo>
                      <a:pt x="15544" y="15547"/>
                      <a:pt x="15037" y="16268"/>
                      <a:pt x="14583" y="16892"/>
                    </a:cubicBezTo>
                    <a:cubicBezTo>
                      <a:pt x="14205" y="17422"/>
                      <a:pt x="13875" y="17872"/>
                      <a:pt x="13502" y="17872"/>
                    </a:cubicBezTo>
                    <a:cubicBezTo>
                      <a:pt x="13134" y="17872"/>
                      <a:pt x="12820" y="17421"/>
                      <a:pt x="12452" y="16907"/>
                    </a:cubicBezTo>
                    <a:cubicBezTo>
                      <a:pt x="11998" y="16267"/>
                      <a:pt x="11485" y="15547"/>
                      <a:pt x="10803" y="15547"/>
                    </a:cubicBezTo>
                    <a:cubicBezTo>
                      <a:pt x="10106" y="15547"/>
                      <a:pt x="9554" y="16296"/>
                      <a:pt x="9073" y="16951"/>
                    </a:cubicBezTo>
                    <a:cubicBezTo>
                      <a:pt x="8711" y="17450"/>
                      <a:pt x="8402" y="17872"/>
                      <a:pt x="8105" y="17872"/>
                    </a:cubicBezTo>
                    <a:cubicBezTo>
                      <a:pt x="7802" y="17872"/>
                      <a:pt x="7467" y="17436"/>
                      <a:pt x="7083" y="16921"/>
                    </a:cubicBezTo>
                    <a:cubicBezTo>
                      <a:pt x="6602" y="16282"/>
                      <a:pt x="6051" y="15547"/>
                      <a:pt x="5402" y="15547"/>
                    </a:cubicBezTo>
                    <a:cubicBezTo>
                      <a:pt x="4747" y="15547"/>
                      <a:pt x="4202" y="16282"/>
                      <a:pt x="3715" y="16921"/>
                    </a:cubicBezTo>
                    <a:cubicBezTo>
                      <a:pt x="3348" y="17405"/>
                      <a:pt x="3001" y="17872"/>
                      <a:pt x="2703" y="17872"/>
                    </a:cubicBezTo>
                    <a:cubicBezTo>
                      <a:pt x="2384" y="17872"/>
                      <a:pt x="1996" y="17374"/>
                      <a:pt x="1585" y="16843"/>
                    </a:cubicBezTo>
                    <a:cubicBezTo>
                      <a:pt x="1082" y="16204"/>
                      <a:pt x="568" y="15547"/>
                      <a:pt x="0" y="15547"/>
                    </a:cubicBezTo>
                    <a:close/>
                  </a:path>
                </a:pathLst>
              </a:custGeom>
              <a:solidFill>
                <a:schemeClr val="accent4">
                  <a:hueOff val="-12309678"/>
                  <a:satOff val="-68888"/>
                  <a:lumOff val="8823"/>
                </a:schemeClr>
              </a:solidFill>
              <a:ln w="25400" cap="flat">
                <a:solidFill>
                  <a:schemeClr val="accent1"/>
                </a:solidFill>
                <a:prstDash val="solid"/>
                <a:miter lim="800000"/>
              </a:ln>
              <a:effectLst/>
            </p:spPr>
            <p:txBody>
              <a:bodyPr wrap="square" lIns="91415" tIns="91415" rIns="91415" bIns="91415" numCol="1" anchor="ctr">
                <a:noAutofit/>
              </a:bodyPr>
              <a:lstStyle/>
              <a:p>
                <a:pPr defTabSz="2438012">
                  <a:defRPr sz="4800"/>
                </a:pPr>
                <a:endParaRPr sz="4799">
                  <a:solidFill>
                    <a:prstClr val="black"/>
                  </a:solidFill>
                </a:endParaRPr>
              </a:p>
            </p:txBody>
          </p:sp>
          <p:sp>
            <p:nvSpPr>
              <p:cNvPr id="7370" name="Water"/>
              <p:cNvSpPr/>
              <p:nvPr/>
            </p:nvSpPr>
            <p:spPr>
              <a:xfrm>
                <a:off x="79258" y="977801"/>
                <a:ext cx="480267" cy="16650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3728"/>
                    </a:lnTo>
                    <a:cubicBezTo>
                      <a:pt x="292" y="3728"/>
                      <a:pt x="665" y="4209"/>
                      <a:pt x="1059" y="4708"/>
                    </a:cubicBezTo>
                    <a:cubicBezTo>
                      <a:pt x="1551" y="5332"/>
                      <a:pt x="2109" y="6053"/>
                      <a:pt x="2703" y="6053"/>
                    </a:cubicBezTo>
                    <a:cubicBezTo>
                      <a:pt x="3287" y="6053"/>
                      <a:pt x="3802" y="5365"/>
                      <a:pt x="4256" y="4757"/>
                    </a:cubicBezTo>
                    <a:cubicBezTo>
                      <a:pt x="4656" y="4226"/>
                      <a:pt x="5034" y="3728"/>
                      <a:pt x="5402" y="3728"/>
                    </a:cubicBezTo>
                    <a:cubicBezTo>
                      <a:pt x="5769" y="3728"/>
                      <a:pt x="6142" y="4226"/>
                      <a:pt x="6542" y="4757"/>
                    </a:cubicBezTo>
                    <a:cubicBezTo>
                      <a:pt x="6996" y="5365"/>
                      <a:pt x="7516" y="6053"/>
                      <a:pt x="8105" y="6053"/>
                    </a:cubicBezTo>
                    <a:cubicBezTo>
                      <a:pt x="8689" y="6053"/>
                      <a:pt x="9186" y="5380"/>
                      <a:pt x="9624" y="4771"/>
                    </a:cubicBezTo>
                    <a:cubicBezTo>
                      <a:pt x="10019" y="4225"/>
                      <a:pt x="10392" y="3728"/>
                      <a:pt x="10803" y="3728"/>
                    </a:cubicBezTo>
                    <a:cubicBezTo>
                      <a:pt x="11187" y="3728"/>
                      <a:pt x="11512" y="4178"/>
                      <a:pt x="11885" y="4708"/>
                    </a:cubicBezTo>
                    <a:cubicBezTo>
                      <a:pt x="12328" y="5332"/>
                      <a:pt x="12837" y="6053"/>
                      <a:pt x="13502" y="6053"/>
                    </a:cubicBezTo>
                    <a:cubicBezTo>
                      <a:pt x="14172" y="6053"/>
                      <a:pt x="14690" y="5333"/>
                      <a:pt x="15144" y="4693"/>
                    </a:cubicBezTo>
                    <a:cubicBezTo>
                      <a:pt x="15517" y="4179"/>
                      <a:pt x="15836" y="3728"/>
                      <a:pt x="16198" y="3728"/>
                    </a:cubicBezTo>
                    <a:cubicBezTo>
                      <a:pt x="16566" y="3728"/>
                      <a:pt x="16902" y="4182"/>
                      <a:pt x="17291" y="4727"/>
                    </a:cubicBezTo>
                    <a:cubicBezTo>
                      <a:pt x="17746" y="5351"/>
                      <a:pt x="18264" y="6053"/>
                      <a:pt x="18902" y="6053"/>
                    </a:cubicBezTo>
                    <a:cubicBezTo>
                      <a:pt x="19556" y="6053"/>
                      <a:pt x="20113" y="5319"/>
                      <a:pt x="20605" y="4664"/>
                    </a:cubicBezTo>
                    <a:cubicBezTo>
                      <a:pt x="20972" y="4181"/>
                      <a:pt x="21319" y="3728"/>
                      <a:pt x="21600" y="3728"/>
                    </a:cubicBezTo>
                    <a:lnTo>
                      <a:pt x="21600" y="0"/>
                    </a:lnTo>
                    <a:cubicBezTo>
                      <a:pt x="21038" y="0"/>
                      <a:pt x="20547" y="653"/>
                      <a:pt x="20071" y="1277"/>
                    </a:cubicBezTo>
                    <a:cubicBezTo>
                      <a:pt x="19655" y="1807"/>
                      <a:pt x="19270" y="2325"/>
                      <a:pt x="18897" y="2325"/>
                    </a:cubicBezTo>
                    <a:cubicBezTo>
                      <a:pt x="18551" y="2325"/>
                      <a:pt x="18221" y="1870"/>
                      <a:pt x="17842" y="1355"/>
                    </a:cubicBezTo>
                    <a:cubicBezTo>
                      <a:pt x="17377" y="715"/>
                      <a:pt x="16853" y="0"/>
                      <a:pt x="16198" y="0"/>
                    </a:cubicBezTo>
                    <a:cubicBezTo>
                      <a:pt x="15544" y="0"/>
                      <a:pt x="15037" y="716"/>
                      <a:pt x="14583" y="1340"/>
                    </a:cubicBezTo>
                    <a:cubicBezTo>
                      <a:pt x="14205" y="1871"/>
                      <a:pt x="13875" y="2325"/>
                      <a:pt x="13502" y="2325"/>
                    </a:cubicBezTo>
                    <a:cubicBezTo>
                      <a:pt x="13134" y="2325"/>
                      <a:pt x="12820" y="1870"/>
                      <a:pt x="12452" y="1355"/>
                    </a:cubicBezTo>
                    <a:cubicBezTo>
                      <a:pt x="11998" y="715"/>
                      <a:pt x="11485" y="0"/>
                      <a:pt x="10803" y="0"/>
                    </a:cubicBezTo>
                    <a:cubicBezTo>
                      <a:pt x="10106" y="0"/>
                      <a:pt x="9554" y="749"/>
                      <a:pt x="9073" y="1404"/>
                    </a:cubicBezTo>
                    <a:cubicBezTo>
                      <a:pt x="8711" y="1903"/>
                      <a:pt x="8402" y="2325"/>
                      <a:pt x="8105" y="2325"/>
                    </a:cubicBezTo>
                    <a:cubicBezTo>
                      <a:pt x="7802" y="2325"/>
                      <a:pt x="7467" y="1889"/>
                      <a:pt x="7083" y="1374"/>
                    </a:cubicBezTo>
                    <a:cubicBezTo>
                      <a:pt x="6602" y="735"/>
                      <a:pt x="6050" y="0"/>
                      <a:pt x="5402" y="0"/>
                    </a:cubicBezTo>
                    <a:cubicBezTo>
                      <a:pt x="4747" y="0"/>
                      <a:pt x="4202" y="735"/>
                      <a:pt x="3715" y="1374"/>
                    </a:cubicBezTo>
                    <a:cubicBezTo>
                      <a:pt x="3348" y="1858"/>
                      <a:pt x="3001" y="2325"/>
                      <a:pt x="2703" y="2325"/>
                    </a:cubicBezTo>
                    <a:cubicBezTo>
                      <a:pt x="2384" y="2325"/>
                      <a:pt x="1996" y="1827"/>
                      <a:pt x="1585" y="1296"/>
                    </a:cubicBezTo>
                    <a:cubicBezTo>
                      <a:pt x="1082" y="657"/>
                      <a:pt x="568" y="0"/>
                      <a:pt x="0" y="0"/>
                    </a:cubicBezTo>
                    <a:close/>
                    <a:moveTo>
                      <a:pt x="0" y="7769"/>
                    </a:moveTo>
                    <a:lnTo>
                      <a:pt x="0" y="11492"/>
                    </a:lnTo>
                    <a:cubicBezTo>
                      <a:pt x="292" y="11492"/>
                      <a:pt x="665" y="11977"/>
                      <a:pt x="1059" y="12477"/>
                    </a:cubicBezTo>
                    <a:cubicBezTo>
                      <a:pt x="1551" y="13100"/>
                      <a:pt x="2109" y="13817"/>
                      <a:pt x="2703" y="13817"/>
                    </a:cubicBezTo>
                    <a:cubicBezTo>
                      <a:pt x="3287" y="13817"/>
                      <a:pt x="3802" y="13133"/>
                      <a:pt x="4256" y="12525"/>
                    </a:cubicBezTo>
                    <a:cubicBezTo>
                      <a:pt x="4656" y="11995"/>
                      <a:pt x="5034" y="11492"/>
                      <a:pt x="5402" y="11492"/>
                    </a:cubicBezTo>
                    <a:cubicBezTo>
                      <a:pt x="5769" y="11492"/>
                      <a:pt x="6142" y="11995"/>
                      <a:pt x="6542" y="12525"/>
                    </a:cubicBezTo>
                    <a:cubicBezTo>
                      <a:pt x="6996" y="13133"/>
                      <a:pt x="7516" y="13817"/>
                      <a:pt x="8105" y="13817"/>
                    </a:cubicBezTo>
                    <a:cubicBezTo>
                      <a:pt x="8689" y="13817"/>
                      <a:pt x="9186" y="13148"/>
                      <a:pt x="9624" y="12540"/>
                    </a:cubicBezTo>
                    <a:cubicBezTo>
                      <a:pt x="10019" y="11994"/>
                      <a:pt x="10392" y="11492"/>
                      <a:pt x="10803" y="11492"/>
                    </a:cubicBezTo>
                    <a:cubicBezTo>
                      <a:pt x="11187" y="11492"/>
                      <a:pt x="11512" y="11946"/>
                      <a:pt x="11885" y="12477"/>
                    </a:cubicBezTo>
                    <a:cubicBezTo>
                      <a:pt x="12328" y="13100"/>
                      <a:pt x="12837" y="13817"/>
                      <a:pt x="13502" y="13817"/>
                    </a:cubicBezTo>
                    <a:cubicBezTo>
                      <a:pt x="14172" y="13817"/>
                      <a:pt x="14690" y="13101"/>
                      <a:pt x="15144" y="12462"/>
                    </a:cubicBezTo>
                    <a:cubicBezTo>
                      <a:pt x="15517" y="11947"/>
                      <a:pt x="15836" y="11492"/>
                      <a:pt x="16198" y="11492"/>
                    </a:cubicBezTo>
                    <a:cubicBezTo>
                      <a:pt x="16566" y="11492"/>
                      <a:pt x="16902" y="11945"/>
                      <a:pt x="17291" y="12491"/>
                    </a:cubicBezTo>
                    <a:cubicBezTo>
                      <a:pt x="17746" y="13115"/>
                      <a:pt x="18264" y="13817"/>
                      <a:pt x="18902" y="13817"/>
                    </a:cubicBezTo>
                    <a:cubicBezTo>
                      <a:pt x="19556" y="13817"/>
                      <a:pt x="20113" y="13083"/>
                      <a:pt x="20605" y="12428"/>
                    </a:cubicBezTo>
                    <a:cubicBezTo>
                      <a:pt x="20972" y="11944"/>
                      <a:pt x="21319" y="11492"/>
                      <a:pt x="21600" y="11492"/>
                    </a:cubicBezTo>
                    <a:lnTo>
                      <a:pt x="21600" y="7769"/>
                    </a:lnTo>
                    <a:cubicBezTo>
                      <a:pt x="21038" y="7769"/>
                      <a:pt x="20547" y="8422"/>
                      <a:pt x="20071" y="9045"/>
                    </a:cubicBezTo>
                    <a:cubicBezTo>
                      <a:pt x="19655" y="9591"/>
                      <a:pt x="19270" y="10088"/>
                      <a:pt x="18897" y="10088"/>
                    </a:cubicBezTo>
                    <a:cubicBezTo>
                      <a:pt x="18551" y="10088"/>
                      <a:pt x="18221" y="9638"/>
                      <a:pt x="17842" y="9123"/>
                    </a:cubicBezTo>
                    <a:cubicBezTo>
                      <a:pt x="17377" y="8484"/>
                      <a:pt x="16853" y="7769"/>
                      <a:pt x="16198" y="7769"/>
                    </a:cubicBezTo>
                    <a:cubicBezTo>
                      <a:pt x="15544" y="7769"/>
                      <a:pt x="15037" y="8485"/>
                      <a:pt x="14583" y="9109"/>
                    </a:cubicBezTo>
                    <a:cubicBezTo>
                      <a:pt x="14205" y="9639"/>
                      <a:pt x="13875" y="10088"/>
                      <a:pt x="13502" y="10088"/>
                    </a:cubicBezTo>
                    <a:cubicBezTo>
                      <a:pt x="13134" y="10088"/>
                      <a:pt x="12820" y="9638"/>
                      <a:pt x="12452" y="9123"/>
                    </a:cubicBezTo>
                    <a:cubicBezTo>
                      <a:pt x="11998" y="8484"/>
                      <a:pt x="11485" y="7769"/>
                      <a:pt x="10803" y="7769"/>
                    </a:cubicBezTo>
                    <a:cubicBezTo>
                      <a:pt x="10106" y="7769"/>
                      <a:pt x="9554" y="8517"/>
                      <a:pt x="9073" y="9172"/>
                    </a:cubicBezTo>
                    <a:cubicBezTo>
                      <a:pt x="8711" y="9671"/>
                      <a:pt x="8402" y="10088"/>
                      <a:pt x="8105" y="10088"/>
                    </a:cubicBezTo>
                    <a:cubicBezTo>
                      <a:pt x="7802" y="10088"/>
                      <a:pt x="7467" y="9653"/>
                      <a:pt x="7083" y="9138"/>
                    </a:cubicBezTo>
                    <a:cubicBezTo>
                      <a:pt x="6602" y="8499"/>
                      <a:pt x="6050" y="7769"/>
                      <a:pt x="5402" y="7769"/>
                    </a:cubicBezTo>
                    <a:cubicBezTo>
                      <a:pt x="4747" y="7769"/>
                      <a:pt x="4202" y="8499"/>
                      <a:pt x="3715" y="9138"/>
                    </a:cubicBezTo>
                    <a:cubicBezTo>
                      <a:pt x="3348" y="9622"/>
                      <a:pt x="3001" y="10088"/>
                      <a:pt x="2703" y="10088"/>
                    </a:cubicBezTo>
                    <a:cubicBezTo>
                      <a:pt x="2384" y="10088"/>
                      <a:pt x="1996" y="9590"/>
                      <a:pt x="1585" y="9060"/>
                    </a:cubicBezTo>
                    <a:cubicBezTo>
                      <a:pt x="1082" y="8421"/>
                      <a:pt x="568" y="7769"/>
                      <a:pt x="0" y="7769"/>
                    </a:cubicBezTo>
                    <a:close/>
                    <a:moveTo>
                      <a:pt x="0" y="15547"/>
                    </a:moveTo>
                    <a:lnTo>
                      <a:pt x="0" y="19275"/>
                    </a:lnTo>
                    <a:cubicBezTo>
                      <a:pt x="292" y="19275"/>
                      <a:pt x="665" y="19761"/>
                      <a:pt x="1059" y="20260"/>
                    </a:cubicBezTo>
                    <a:cubicBezTo>
                      <a:pt x="1551" y="20884"/>
                      <a:pt x="2109" y="21600"/>
                      <a:pt x="2703" y="21600"/>
                    </a:cubicBezTo>
                    <a:cubicBezTo>
                      <a:pt x="3287" y="21600"/>
                      <a:pt x="3802" y="20912"/>
                      <a:pt x="4256" y="20304"/>
                    </a:cubicBezTo>
                    <a:cubicBezTo>
                      <a:pt x="4656" y="19773"/>
                      <a:pt x="5034" y="19275"/>
                      <a:pt x="5402" y="19275"/>
                    </a:cubicBezTo>
                    <a:cubicBezTo>
                      <a:pt x="5769" y="19275"/>
                      <a:pt x="6142" y="19773"/>
                      <a:pt x="6542" y="20304"/>
                    </a:cubicBezTo>
                    <a:cubicBezTo>
                      <a:pt x="6996" y="20912"/>
                      <a:pt x="7516" y="21600"/>
                      <a:pt x="8105" y="21600"/>
                    </a:cubicBezTo>
                    <a:cubicBezTo>
                      <a:pt x="8689" y="21600"/>
                      <a:pt x="9186" y="20931"/>
                      <a:pt x="9624" y="20323"/>
                    </a:cubicBezTo>
                    <a:cubicBezTo>
                      <a:pt x="10019" y="19777"/>
                      <a:pt x="10392" y="19275"/>
                      <a:pt x="10803" y="19275"/>
                    </a:cubicBezTo>
                    <a:cubicBezTo>
                      <a:pt x="11187" y="19275"/>
                      <a:pt x="11512" y="19729"/>
                      <a:pt x="11885" y="20260"/>
                    </a:cubicBezTo>
                    <a:cubicBezTo>
                      <a:pt x="12328" y="20884"/>
                      <a:pt x="12837" y="21600"/>
                      <a:pt x="13502" y="21600"/>
                    </a:cubicBezTo>
                    <a:cubicBezTo>
                      <a:pt x="14172" y="21600"/>
                      <a:pt x="14690" y="20885"/>
                      <a:pt x="15144" y="20245"/>
                    </a:cubicBezTo>
                    <a:cubicBezTo>
                      <a:pt x="15517" y="19730"/>
                      <a:pt x="15836" y="19275"/>
                      <a:pt x="16198" y="19275"/>
                    </a:cubicBezTo>
                    <a:cubicBezTo>
                      <a:pt x="16566" y="19275"/>
                      <a:pt x="16902" y="19729"/>
                      <a:pt x="17291" y="20274"/>
                    </a:cubicBezTo>
                    <a:cubicBezTo>
                      <a:pt x="17746" y="20898"/>
                      <a:pt x="18264" y="21600"/>
                      <a:pt x="18902" y="21600"/>
                    </a:cubicBezTo>
                    <a:cubicBezTo>
                      <a:pt x="19556" y="21600"/>
                      <a:pt x="20113" y="20866"/>
                      <a:pt x="20605" y="20211"/>
                    </a:cubicBezTo>
                    <a:cubicBezTo>
                      <a:pt x="20972" y="19728"/>
                      <a:pt x="21319" y="19275"/>
                      <a:pt x="21600" y="19275"/>
                    </a:cubicBezTo>
                    <a:lnTo>
                      <a:pt x="21600" y="15547"/>
                    </a:lnTo>
                    <a:cubicBezTo>
                      <a:pt x="21038" y="15547"/>
                      <a:pt x="20547" y="16205"/>
                      <a:pt x="20071" y="16829"/>
                    </a:cubicBezTo>
                    <a:cubicBezTo>
                      <a:pt x="19655" y="17359"/>
                      <a:pt x="19270" y="17872"/>
                      <a:pt x="18897" y="17872"/>
                    </a:cubicBezTo>
                    <a:cubicBezTo>
                      <a:pt x="18551" y="17872"/>
                      <a:pt x="18221" y="17421"/>
                      <a:pt x="17842" y="16907"/>
                    </a:cubicBezTo>
                    <a:cubicBezTo>
                      <a:pt x="17377" y="16267"/>
                      <a:pt x="16853" y="15547"/>
                      <a:pt x="16198" y="15547"/>
                    </a:cubicBezTo>
                    <a:cubicBezTo>
                      <a:pt x="15544" y="15547"/>
                      <a:pt x="15037" y="16268"/>
                      <a:pt x="14583" y="16892"/>
                    </a:cubicBezTo>
                    <a:cubicBezTo>
                      <a:pt x="14205" y="17422"/>
                      <a:pt x="13875" y="17872"/>
                      <a:pt x="13502" y="17872"/>
                    </a:cubicBezTo>
                    <a:cubicBezTo>
                      <a:pt x="13134" y="17872"/>
                      <a:pt x="12820" y="17421"/>
                      <a:pt x="12452" y="16907"/>
                    </a:cubicBezTo>
                    <a:cubicBezTo>
                      <a:pt x="11998" y="16267"/>
                      <a:pt x="11485" y="15547"/>
                      <a:pt x="10803" y="15547"/>
                    </a:cubicBezTo>
                    <a:cubicBezTo>
                      <a:pt x="10106" y="15547"/>
                      <a:pt x="9554" y="16296"/>
                      <a:pt x="9073" y="16951"/>
                    </a:cubicBezTo>
                    <a:cubicBezTo>
                      <a:pt x="8711" y="17450"/>
                      <a:pt x="8402" y="17872"/>
                      <a:pt x="8105" y="17872"/>
                    </a:cubicBezTo>
                    <a:cubicBezTo>
                      <a:pt x="7802" y="17872"/>
                      <a:pt x="7467" y="17436"/>
                      <a:pt x="7083" y="16921"/>
                    </a:cubicBezTo>
                    <a:cubicBezTo>
                      <a:pt x="6602" y="16282"/>
                      <a:pt x="6051" y="15547"/>
                      <a:pt x="5402" y="15547"/>
                    </a:cubicBezTo>
                    <a:cubicBezTo>
                      <a:pt x="4747" y="15547"/>
                      <a:pt x="4202" y="16282"/>
                      <a:pt x="3715" y="16921"/>
                    </a:cubicBezTo>
                    <a:cubicBezTo>
                      <a:pt x="3348" y="17405"/>
                      <a:pt x="3001" y="17872"/>
                      <a:pt x="2703" y="17872"/>
                    </a:cubicBezTo>
                    <a:cubicBezTo>
                      <a:pt x="2384" y="17872"/>
                      <a:pt x="1996" y="17374"/>
                      <a:pt x="1585" y="16843"/>
                    </a:cubicBezTo>
                    <a:cubicBezTo>
                      <a:pt x="1082" y="16204"/>
                      <a:pt x="568" y="15547"/>
                      <a:pt x="0" y="15547"/>
                    </a:cubicBezTo>
                    <a:close/>
                  </a:path>
                </a:pathLst>
              </a:custGeom>
              <a:solidFill>
                <a:schemeClr val="accent4">
                  <a:hueOff val="-12309678"/>
                  <a:satOff val="-68888"/>
                  <a:lumOff val="8823"/>
                </a:schemeClr>
              </a:solidFill>
              <a:ln w="25400" cap="flat">
                <a:solidFill>
                  <a:schemeClr val="accent1"/>
                </a:solidFill>
                <a:prstDash val="solid"/>
                <a:miter lim="800000"/>
              </a:ln>
              <a:effectLst/>
            </p:spPr>
            <p:txBody>
              <a:bodyPr wrap="square" lIns="91415" tIns="91415" rIns="91415" bIns="91415" numCol="1" anchor="ctr">
                <a:noAutofit/>
              </a:bodyPr>
              <a:lstStyle/>
              <a:p>
                <a:pPr defTabSz="2438012">
                  <a:defRPr sz="4800"/>
                </a:pPr>
                <a:endParaRPr sz="4799">
                  <a:solidFill>
                    <a:prstClr val="black"/>
                  </a:solidFill>
                </a:endParaRPr>
              </a:p>
            </p:txBody>
          </p:sp>
        </p:grpSp>
        <p:sp>
          <p:nvSpPr>
            <p:cNvPr id="7372" name="Source IMO 3rd GHG Study 2014"/>
            <p:cNvSpPr txBox="1"/>
            <p:nvPr/>
          </p:nvSpPr>
          <p:spPr>
            <a:xfrm>
              <a:off x="9572222" y="4551499"/>
              <a:ext cx="1518748" cy="282537"/>
            </a:xfrm>
            <a:prstGeom prst="rect">
              <a:avLst/>
            </a:prstGeom>
            <a:ln w="12700">
              <a:miter lim="400000"/>
            </a:ln>
            <a:extLst>
              <a:ext uri="{C572A759-6A51-4108-AA02-DFA0A04FC94B}">
                <ma14:wrappingTextBoxFlag xmlns:ma14="http://schemas.microsoft.com/office/mac/drawingml/2011/main" xmlns:mc="http://schemas.openxmlformats.org/markup-compatibility/2006" xmlns:p14="http://schemas.microsoft.com/office/powerpoint/2010/main" xmlns:a14="http://schemas.microsoft.com/office/drawing/2010/main" xmlns:a16="http://schemas.microsoft.com/office/drawing/2014/main" xmlns="" val="1"/>
              </a:ext>
            </a:extLst>
          </p:spPr>
          <p:txBody>
            <a:bodyPr wrap="none" tIns="91415" bIns="91415">
              <a:spAutoFit/>
            </a:bodyPr>
            <a:lstStyle>
              <a:lvl1pPr algn="ctr" defTabSz="1828800">
                <a:lnSpc>
                  <a:spcPct val="90000"/>
                </a:lnSpc>
                <a:spcBef>
                  <a:spcPts val="1400"/>
                </a:spcBef>
                <a:defRPr sz="700" b="1" i="1" spc="7">
                  <a:solidFill>
                    <a:schemeClr val="accent4">
                      <a:hueOff val="-12309678"/>
                      <a:satOff val="-68888"/>
                      <a:lumOff val="8823"/>
                    </a:schemeClr>
                  </a:solidFill>
                </a:defRPr>
              </a:lvl1pPr>
            </a:lstStyle>
            <a:p>
              <a:r>
                <a:rPr i="0" dirty="0">
                  <a:solidFill>
                    <a:srgbClr val="D9EBF8">
                      <a:hueOff val="-12309678"/>
                      <a:satOff val="-68888"/>
                      <a:lumOff val="8823"/>
                    </a:srgbClr>
                  </a:solidFill>
                </a:rPr>
                <a:t>Source IMO 3rd GHG Study 2014</a:t>
              </a:r>
            </a:p>
          </p:txBody>
        </p:sp>
      </p:grpSp>
      <p:grpSp>
        <p:nvGrpSpPr>
          <p:cNvPr id="2" name="Group 1">
            <a:extLst>
              <a:ext uri="{FF2B5EF4-FFF2-40B4-BE49-F238E27FC236}">
                <a16:creationId xmlns:a16="http://schemas.microsoft.com/office/drawing/2014/main" id="{4ADAD26F-A62C-874F-90FE-45AC584A93CA}"/>
              </a:ext>
            </a:extLst>
          </p:cNvPr>
          <p:cNvGrpSpPr/>
          <p:nvPr/>
        </p:nvGrpSpPr>
        <p:grpSpPr>
          <a:xfrm>
            <a:off x="953141" y="2091530"/>
            <a:ext cx="2003295" cy="1292602"/>
            <a:chOff x="951553" y="1834126"/>
            <a:chExt cx="2003294" cy="1292937"/>
          </a:xfrm>
        </p:grpSpPr>
        <p:sp>
          <p:nvSpPr>
            <p:cNvPr id="7354" name="Cloud"/>
            <p:cNvSpPr/>
            <p:nvPr/>
          </p:nvSpPr>
          <p:spPr>
            <a:xfrm>
              <a:off x="951553" y="1834126"/>
              <a:ext cx="2003294" cy="1207298"/>
            </a:xfrm>
            <a:custGeom>
              <a:avLst/>
              <a:gdLst/>
              <a:ahLst/>
              <a:cxnLst>
                <a:cxn ang="0">
                  <a:pos x="wd2" y="hd2"/>
                </a:cxn>
                <a:cxn ang="5400000">
                  <a:pos x="wd2" y="hd2"/>
                </a:cxn>
                <a:cxn ang="10800000">
                  <a:pos x="wd2" y="hd2"/>
                </a:cxn>
                <a:cxn ang="16200000">
                  <a:pos x="wd2" y="hd2"/>
                </a:cxn>
              </a:cxnLst>
              <a:rect l="0" t="0" r="r" b="b"/>
              <a:pathLst>
                <a:path w="21600" h="21600" extrusionOk="0">
                  <a:moveTo>
                    <a:pt x="10603" y="0"/>
                  </a:moveTo>
                  <a:cubicBezTo>
                    <a:pt x="7967" y="0"/>
                    <a:pt x="5720" y="2939"/>
                    <a:pt x="4858" y="7062"/>
                  </a:cubicBezTo>
                  <a:cubicBezTo>
                    <a:pt x="4628" y="6992"/>
                    <a:pt x="4391" y="6953"/>
                    <a:pt x="4150" y="6953"/>
                  </a:cubicBezTo>
                  <a:cubicBezTo>
                    <a:pt x="1857" y="6953"/>
                    <a:pt x="0" y="10233"/>
                    <a:pt x="0" y="14278"/>
                  </a:cubicBezTo>
                  <a:cubicBezTo>
                    <a:pt x="0" y="18323"/>
                    <a:pt x="1857" y="21600"/>
                    <a:pt x="4150" y="21600"/>
                  </a:cubicBezTo>
                  <a:cubicBezTo>
                    <a:pt x="4193" y="21600"/>
                    <a:pt x="4237" y="21597"/>
                    <a:pt x="4279" y="21594"/>
                  </a:cubicBezTo>
                  <a:lnTo>
                    <a:pt x="10532" y="21597"/>
                  </a:lnTo>
                  <a:cubicBezTo>
                    <a:pt x="10555" y="21598"/>
                    <a:pt x="10579" y="21600"/>
                    <a:pt x="10603" y="21600"/>
                  </a:cubicBezTo>
                  <a:cubicBezTo>
                    <a:pt x="10626" y="21600"/>
                    <a:pt x="10648" y="21598"/>
                    <a:pt x="10672" y="21597"/>
                  </a:cubicBezTo>
                  <a:lnTo>
                    <a:pt x="18141" y="21600"/>
                  </a:lnTo>
                  <a:cubicBezTo>
                    <a:pt x="20051" y="21600"/>
                    <a:pt x="21600" y="18868"/>
                    <a:pt x="21600" y="15496"/>
                  </a:cubicBezTo>
                  <a:cubicBezTo>
                    <a:pt x="21600" y="12124"/>
                    <a:pt x="20051" y="9389"/>
                    <a:pt x="18141" y="9389"/>
                  </a:cubicBezTo>
                  <a:cubicBezTo>
                    <a:pt x="17627" y="9389"/>
                    <a:pt x="17139" y="9589"/>
                    <a:pt x="16701" y="9943"/>
                  </a:cubicBezTo>
                  <a:cubicBezTo>
                    <a:pt x="16453" y="4379"/>
                    <a:pt x="13819" y="0"/>
                    <a:pt x="10603" y="0"/>
                  </a:cubicBezTo>
                  <a:close/>
                </a:path>
              </a:pathLst>
            </a:custGeom>
            <a:solidFill>
              <a:schemeClr val="accent4">
                <a:hueOff val="-12309678"/>
                <a:satOff val="-68888"/>
                <a:lumOff val="8823"/>
              </a:schemeClr>
            </a:solidFill>
            <a:ln w="38100">
              <a:solidFill>
                <a:schemeClr val="accent4">
                  <a:hueOff val="-12309678"/>
                  <a:satOff val="-68888"/>
                  <a:lumOff val="8823"/>
                </a:schemeClr>
              </a:solidFill>
              <a:miter/>
            </a:ln>
            <a:effectLst/>
          </p:spPr>
          <p:txBody>
            <a:bodyPr lIns="45707" rIns="45707" anchor="ctr"/>
            <a:lstStyle/>
            <a:p>
              <a:pPr>
                <a:defRPr sz="2400"/>
              </a:pPr>
              <a:endParaRPr sz="3200">
                <a:solidFill>
                  <a:prstClr val="black"/>
                </a:solidFill>
              </a:endParaRPr>
            </a:p>
          </p:txBody>
        </p:sp>
        <p:sp>
          <p:nvSpPr>
            <p:cNvPr id="7355" name="23%…"/>
            <p:cNvSpPr txBox="1"/>
            <p:nvPr/>
          </p:nvSpPr>
          <p:spPr>
            <a:xfrm>
              <a:off x="1077929" y="2049694"/>
              <a:ext cx="1770939" cy="1077369"/>
            </a:xfrm>
            <a:prstGeom prst="rect">
              <a:avLst/>
            </a:prstGeom>
            <a:ln w="12700">
              <a:miter lim="400000"/>
            </a:ln>
            <a:extLst>
              <a:ext uri="{C572A759-6A51-4108-AA02-DFA0A04FC94B}">
                <ma14:wrappingTextBoxFlag xmlns:ma14="http://schemas.microsoft.com/office/mac/drawingml/2011/main" xmlns:mc="http://schemas.openxmlformats.org/markup-compatibility/2006" xmlns:p14="http://schemas.microsoft.com/office/powerpoint/2010/main" xmlns:a14="http://schemas.microsoft.com/office/drawing/2010/main" xmlns:a16="http://schemas.microsoft.com/office/drawing/2014/main" xmlns="" val="1"/>
              </a:ext>
            </a:extLst>
          </p:spPr>
          <p:txBody>
            <a:bodyPr wrap="square" lIns="45707" rIns="45707">
              <a:spAutoFit/>
            </a:bodyPr>
            <a:lstStyle/>
            <a:p>
              <a:pPr algn="ctr">
                <a:defRPr sz="1400">
                  <a:solidFill>
                    <a:srgbClr val="081F48"/>
                  </a:solidFill>
                  <a:latin typeface="Futura LT Pro"/>
                  <a:ea typeface="Futura LT Pro"/>
                  <a:cs typeface="Futura LT Pro"/>
                  <a:sym typeface="Futura LT Pro"/>
                </a:defRPr>
              </a:pPr>
              <a:r>
                <a:rPr sz="3199" dirty="0">
                  <a:solidFill>
                    <a:srgbClr val="081F48"/>
                  </a:solidFill>
                  <a:ea typeface="Futura Std Medium" charset="0"/>
                  <a:cs typeface="Futura Std Medium" charset="0"/>
                  <a:sym typeface="Futura LT Pro"/>
                </a:rPr>
                <a:t>23%</a:t>
              </a:r>
              <a:r>
                <a:rPr sz="1600" dirty="0">
                  <a:solidFill>
                    <a:srgbClr val="081F48"/>
                  </a:solidFill>
                  <a:ea typeface="Futura Std Medium" charset="0"/>
                  <a:cs typeface="Futura Std Medium" charset="0"/>
                  <a:sym typeface="Futura LT Pro"/>
                </a:rPr>
                <a:t> </a:t>
              </a:r>
            </a:p>
            <a:p>
              <a:pPr algn="ctr">
                <a:defRPr sz="1000">
                  <a:solidFill>
                    <a:srgbClr val="081F48"/>
                  </a:solidFill>
                  <a:latin typeface="Futura LT Pro"/>
                  <a:ea typeface="Futura LT Pro"/>
                  <a:cs typeface="Futura LT Pro"/>
                  <a:sym typeface="Futura LT Pro"/>
                </a:defRPr>
              </a:pPr>
              <a:r>
                <a:rPr sz="1600" dirty="0">
                  <a:solidFill>
                    <a:srgbClr val="081F48"/>
                  </a:solidFill>
                  <a:ea typeface="Futura Std Medium" charset="0"/>
                  <a:cs typeface="Futura Std Medium" charset="0"/>
                  <a:sym typeface="Futura LT Pro"/>
                </a:rPr>
                <a:t>of global CO</a:t>
              </a:r>
              <a:r>
                <a:rPr sz="1600" baseline="-5999" dirty="0">
                  <a:solidFill>
                    <a:srgbClr val="081F48"/>
                  </a:solidFill>
                  <a:ea typeface="Futura Std Medium" charset="0"/>
                  <a:cs typeface="Futura Std Medium" charset="0"/>
                  <a:sym typeface="Futura LT Pro"/>
                </a:rPr>
                <a:t>2</a:t>
              </a:r>
              <a:r>
                <a:rPr sz="1600" dirty="0">
                  <a:solidFill>
                    <a:srgbClr val="081F48"/>
                  </a:solidFill>
                  <a:ea typeface="Futura Std Medium" charset="0"/>
                  <a:cs typeface="Futura Std Medium" charset="0"/>
                  <a:sym typeface="Futura LT Pro"/>
                </a:rPr>
                <a:t> emissions</a:t>
              </a:r>
            </a:p>
          </p:txBody>
        </p:sp>
      </p:grpSp>
      <p:grpSp>
        <p:nvGrpSpPr>
          <p:cNvPr id="3" name="Group 2">
            <a:extLst>
              <a:ext uri="{FF2B5EF4-FFF2-40B4-BE49-F238E27FC236}">
                <a16:creationId xmlns:a16="http://schemas.microsoft.com/office/drawing/2014/main" id="{96DC2C5B-AF89-A143-BF69-23BDAF2EE0FD}"/>
              </a:ext>
            </a:extLst>
          </p:cNvPr>
          <p:cNvGrpSpPr/>
          <p:nvPr/>
        </p:nvGrpSpPr>
        <p:grpSpPr>
          <a:xfrm>
            <a:off x="1113226" y="3890810"/>
            <a:ext cx="1568888" cy="1566809"/>
            <a:chOff x="1111637" y="3626187"/>
            <a:chExt cx="1568886" cy="1567218"/>
          </a:xfrm>
        </p:grpSpPr>
        <p:sp>
          <p:nvSpPr>
            <p:cNvPr id="7373" name="Europe Globe"/>
            <p:cNvSpPr/>
            <p:nvPr/>
          </p:nvSpPr>
          <p:spPr>
            <a:xfrm>
              <a:off x="1111637" y="3626187"/>
              <a:ext cx="1568886" cy="1567218"/>
            </a:xfrm>
            <a:custGeom>
              <a:avLst/>
              <a:gdLst/>
              <a:ahLst/>
              <a:cxnLst>
                <a:cxn ang="0">
                  <a:pos x="wd2" y="hd2"/>
                </a:cxn>
                <a:cxn ang="5400000">
                  <a:pos x="wd2" y="hd2"/>
                </a:cxn>
                <a:cxn ang="10800000">
                  <a:pos x="wd2" y="hd2"/>
                </a:cxn>
                <a:cxn ang="16200000">
                  <a:pos x="wd2" y="hd2"/>
                </a:cxn>
              </a:cxnLst>
              <a:rect l="0" t="0" r="r" b="b"/>
              <a:pathLst>
                <a:path w="21503" h="21600" extrusionOk="0">
                  <a:moveTo>
                    <a:pt x="10763" y="0"/>
                  </a:moveTo>
                  <a:cubicBezTo>
                    <a:pt x="8816" y="0"/>
                    <a:pt x="6993" y="533"/>
                    <a:pt x="5416" y="1448"/>
                  </a:cubicBezTo>
                  <a:lnTo>
                    <a:pt x="5364" y="1475"/>
                  </a:lnTo>
                  <a:lnTo>
                    <a:pt x="5259" y="1533"/>
                  </a:lnTo>
                  <a:lnTo>
                    <a:pt x="5173" y="1582"/>
                  </a:lnTo>
                  <a:lnTo>
                    <a:pt x="5091" y="1633"/>
                  </a:lnTo>
                  <a:lnTo>
                    <a:pt x="4999" y="1690"/>
                  </a:lnTo>
                  <a:lnTo>
                    <a:pt x="4949" y="1724"/>
                  </a:lnTo>
                  <a:lnTo>
                    <a:pt x="5018" y="1682"/>
                  </a:lnTo>
                  <a:lnTo>
                    <a:pt x="5073" y="1651"/>
                  </a:lnTo>
                  <a:lnTo>
                    <a:pt x="5123" y="1623"/>
                  </a:lnTo>
                  <a:lnTo>
                    <a:pt x="5126" y="1624"/>
                  </a:lnTo>
                  <a:lnTo>
                    <a:pt x="5039" y="1678"/>
                  </a:lnTo>
                  <a:cubicBezTo>
                    <a:pt x="4968" y="1723"/>
                    <a:pt x="4893" y="1763"/>
                    <a:pt x="4824" y="1810"/>
                  </a:cubicBezTo>
                  <a:lnTo>
                    <a:pt x="4926" y="1741"/>
                  </a:lnTo>
                  <a:lnTo>
                    <a:pt x="4931" y="1737"/>
                  </a:lnTo>
                  <a:lnTo>
                    <a:pt x="4949" y="1724"/>
                  </a:lnTo>
                  <a:lnTo>
                    <a:pt x="4860" y="1781"/>
                  </a:lnTo>
                  <a:lnTo>
                    <a:pt x="4840" y="1794"/>
                  </a:lnTo>
                  <a:lnTo>
                    <a:pt x="4817" y="1811"/>
                  </a:lnTo>
                  <a:lnTo>
                    <a:pt x="4782" y="1833"/>
                  </a:lnTo>
                  <a:lnTo>
                    <a:pt x="4762" y="1848"/>
                  </a:lnTo>
                  <a:lnTo>
                    <a:pt x="4758" y="1850"/>
                  </a:lnTo>
                  <a:lnTo>
                    <a:pt x="4723" y="1874"/>
                  </a:lnTo>
                  <a:lnTo>
                    <a:pt x="4701" y="1889"/>
                  </a:lnTo>
                  <a:lnTo>
                    <a:pt x="4639" y="1932"/>
                  </a:lnTo>
                  <a:lnTo>
                    <a:pt x="4664" y="1917"/>
                  </a:lnTo>
                  <a:lnTo>
                    <a:pt x="4562" y="1993"/>
                  </a:lnTo>
                  <a:lnTo>
                    <a:pt x="4484" y="2049"/>
                  </a:lnTo>
                  <a:lnTo>
                    <a:pt x="4437" y="2087"/>
                  </a:lnTo>
                  <a:lnTo>
                    <a:pt x="4413" y="2111"/>
                  </a:lnTo>
                  <a:cubicBezTo>
                    <a:pt x="4345" y="2162"/>
                    <a:pt x="4275" y="2211"/>
                    <a:pt x="4207" y="2264"/>
                  </a:cubicBezTo>
                  <a:lnTo>
                    <a:pt x="4221" y="2252"/>
                  </a:lnTo>
                  <a:lnTo>
                    <a:pt x="4281" y="2203"/>
                  </a:lnTo>
                  <a:lnTo>
                    <a:pt x="4341" y="2155"/>
                  </a:lnTo>
                  <a:lnTo>
                    <a:pt x="4433" y="2082"/>
                  </a:lnTo>
                  <a:lnTo>
                    <a:pt x="4541" y="2003"/>
                  </a:lnTo>
                  <a:lnTo>
                    <a:pt x="4452" y="2067"/>
                  </a:lnTo>
                  <a:lnTo>
                    <a:pt x="4380" y="2119"/>
                  </a:lnTo>
                  <a:lnTo>
                    <a:pt x="4310" y="2171"/>
                  </a:lnTo>
                  <a:lnTo>
                    <a:pt x="4209" y="2249"/>
                  </a:lnTo>
                  <a:lnTo>
                    <a:pt x="4134" y="2308"/>
                  </a:lnTo>
                  <a:lnTo>
                    <a:pt x="4119" y="2323"/>
                  </a:lnTo>
                  <a:lnTo>
                    <a:pt x="4082" y="2353"/>
                  </a:lnTo>
                  <a:lnTo>
                    <a:pt x="4000" y="2421"/>
                  </a:lnTo>
                  <a:cubicBezTo>
                    <a:pt x="3953" y="2459"/>
                    <a:pt x="3908" y="2498"/>
                    <a:pt x="3863" y="2537"/>
                  </a:cubicBezTo>
                  <a:cubicBezTo>
                    <a:pt x="3848" y="2549"/>
                    <a:pt x="3834" y="2561"/>
                    <a:pt x="3819" y="2574"/>
                  </a:cubicBezTo>
                  <a:lnTo>
                    <a:pt x="3700" y="2680"/>
                  </a:lnTo>
                  <a:lnTo>
                    <a:pt x="3543" y="2826"/>
                  </a:lnTo>
                  <a:lnTo>
                    <a:pt x="3518" y="2851"/>
                  </a:lnTo>
                  <a:cubicBezTo>
                    <a:pt x="3244" y="3104"/>
                    <a:pt x="2984" y="3369"/>
                    <a:pt x="2738" y="3648"/>
                  </a:cubicBezTo>
                  <a:lnTo>
                    <a:pt x="2736" y="3649"/>
                  </a:lnTo>
                  <a:lnTo>
                    <a:pt x="2661" y="3727"/>
                  </a:lnTo>
                  <a:lnTo>
                    <a:pt x="2642" y="3747"/>
                  </a:lnTo>
                  <a:lnTo>
                    <a:pt x="2594" y="3803"/>
                  </a:lnTo>
                  <a:lnTo>
                    <a:pt x="2544" y="3865"/>
                  </a:lnTo>
                  <a:lnTo>
                    <a:pt x="2535" y="3873"/>
                  </a:lnTo>
                  <a:cubicBezTo>
                    <a:pt x="2485" y="3934"/>
                    <a:pt x="2437" y="3997"/>
                    <a:pt x="2388" y="4058"/>
                  </a:cubicBezTo>
                  <a:lnTo>
                    <a:pt x="2368" y="4082"/>
                  </a:lnTo>
                  <a:lnTo>
                    <a:pt x="2316" y="4153"/>
                  </a:lnTo>
                  <a:lnTo>
                    <a:pt x="2254" y="4237"/>
                  </a:lnTo>
                  <a:cubicBezTo>
                    <a:pt x="2252" y="4239"/>
                    <a:pt x="2251" y="4243"/>
                    <a:pt x="2249" y="4245"/>
                  </a:cubicBezTo>
                  <a:lnTo>
                    <a:pt x="2140" y="4387"/>
                  </a:lnTo>
                  <a:lnTo>
                    <a:pt x="2087" y="4461"/>
                  </a:lnTo>
                  <a:lnTo>
                    <a:pt x="2080" y="4471"/>
                  </a:lnTo>
                  <a:lnTo>
                    <a:pt x="2015" y="4558"/>
                  </a:lnTo>
                  <a:cubicBezTo>
                    <a:pt x="1836" y="4811"/>
                    <a:pt x="1670" y="5073"/>
                    <a:pt x="1512" y="5341"/>
                  </a:cubicBezTo>
                  <a:lnTo>
                    <a:pt x="1502" y="5358"/>
                  </a:lnTo>
                  <a:cubicBezTo>
                    <a:pt x="800" y="6562"/>
                    <a:pt x="315" y="7908"/>
                    <a:pt x="121" y="9349"/>
                  </a:cubicBezTo>
                  <a:cubicBezTo>
                    <a:pt x="-23" y="10211"/>
                    <a:pt x="-97" y="11471"/>
                    <a:pt x="238" y="12968"/>
                  </a:cubicBezTo>
                  <a:cubicBezTo>
                    <a:pt x="240" y="12974"/>
                    <a:pt x="242" y="12979"/>
                    <a:pt x="244" y="12985"/>
                  </a:cubicBezTo>
                  <a:cubicBezTo>
                    <a:pt x="286" y="13171"/>
                    <a:pt x="334" y="13361"/>
                    <a:pt x="389" y="13554"/>
                  </a:cubicBezTo>
                  <a:cubicBezTo>
                    <a:pt x="1604" y="18177"/>
                    <a:pt x="5788" y="21600"/>
                    <a:pt x="10763" y="21600"/>
                  </a:cubicBezTo>
                  <a:cubicBezTo>
                    <a:pt x="16685" y="21600"/>
                    <a:pt x="21503" y="16755"/>
                    <a:pt x="21503" y="10800"/>
                  </a:cubicBezTo>
                  <a:cubicBezTo>
                    <a:pt x="21503" y="4845"/>
                    <a:pt x="16685" y="0"/>
                    <a:pt x="10763" y="0"/>
                  </a:cubicBezTo>
                  <a:close/>
                  <a:moveTo>
                    <a:pt x="10763" y="54"/>
                  </a:moveTo>
                  <a:cubicBezTo>
                    <a:pt x="15772" y="54"/>
                    <a:pt x="19975" y="3543"/>
                    <a:pt x="21126" y="8228"/>
                  </a:cubicBezTo>
                  <a:lnTo>
                    <a:pt x="21105" y="8182"/>
                  </a:lnTo>
                  <a:lnTo>
                    <a:pt x="21098" y="8186"/>
                  </a:lnTo>
                  <a:lnTo>
                    <a:pt x="21120" y="8327"/>
                  </a:lnTo>
                  <a:lnTo>
                    <a:pt x="21135" y="8312"/>
                  </a:lnTo>
                  <a:lnTo>
                    <a:pt x="21148" y="8347"/>
                  </a:lnTo>
                  <a:lnTo>
                    <a:pt x="21160" y="8428"/>
                  </a:lnTo>
                  <a:lnTo>
                    <a:pt x="21178" y="8465"/>
                  </a:lnTo>
                  <a:lnTo>
                    <a:pt x="21172" y="8427"/>
                  </a:lnTo>
                  <a:lnTo>
                    <a:pt x="21192" y="8482"/>
                  </a:lnTo>
                  <a:lnTo>
                    <a:pt x="21195" y="8491"/>
                  </a:lnTo>
                  <a:cubicBezTo>
                    <a:pt x="21228" y="8643"/>
                    <a:pt x="21260" y="8795"/>
                    <a:pt x="21287" y="8950"/>
                  </a:cubicBezTo>
                  <a:lnTo>
                    <a:pt x="21289" y="8958"/>
                  </a:lnTo>
                  <a:lnTo>
                    <a:pt x="21309" y="9083"/>
                  </a:lnTo>
                  <a:lnTo>
                    <a:pt x="21329" y="9196"/>
                  </a:lnTo>
                  <a:cubicBezTo>
                    <a:pt x="21336" y="9242"/>
                    <a:pt x="21341" y="9289"/>
                    <a:pt x="21347" y="9336"/>
                  </a:cubicBezTo>
                  <a:lnTo>
                    <a:pt x="21344" y="9334"/>
                  </a:lnTo>
                  <a:lnTo>
                    <a:pt x="21367" y="9561"/>
                  </a:lnTo>
                  <a:lnTo>
                    <a:pt x="21386" y="9696"/>
                  </a:lnTo>
                  <a:lnTo>
                    <a:pt x="21401" y="9803"/>
                  </a:lnTo>
                  <a:cubicBezTo>
                    <a:pt x="21402" y="9814"/>
                    <a:pt x="21402" y="9825"/>
                    <a:pt x="21403" y="9835"/>
                  </a:cubicBezTo>
                  <a:lnTo>
                    <a:pt x="21403" y="9931"/>
                  </a:lnTo>
                  <a:lnTo>
                    <a:pt x="21393" y="9841"/>
                  </a:lnTo>
                  <a:lnTo>
                    <a:pt x="21393" y="9903"/>
                  </a:lnTo>
                  <a:lnTo>
                    <a:pt x="21401" y="9953"/>
                  </a:lnTo>
                  <a:lnTo>
                    <a:pt x="21401" y="9960"/>
                  </a:lnTo>
                  <a:lnTo>
                    <a:pt x="21399" y="10002"/>
                  </a:lnTo>
                  <a:lnTo>
                    <a:pt x="21391" y="9963"/>
                  </a:lnTo>
                  <a:lnTo>
                    <a:pt x="21381" y="9989"/>
                  </a:lnTo>
                  <a:lnTo>
                    <a:pt x="21381" y="10051"/>
                  </a:lnTo>
                  <a:lnTo>
                    <a:pt x="21396" y="10211"/>
                  </a:lnTo>
                  <a:lnTo>
                    <a:pt x="21398" y="10253"/>
                  </a:lnTo>
                  <a:lnTo>
                    <a:pt x="21393" y="10251"/>
                  </a:lnTo>
                  <a:lnTo>
                    <a:pt x="21393" y="10317"/>
                  </a:lnTo>
                  <a:lnTo>
                    <a:pt x="21361" y="10303"/>
                  </a:lnTo>
                  <a:lnTo>
                    <a:pt x="21351" y="10376"/>
                  </a:lnTo>
                  <a:lnTo>
                    <a:pt x="21356" y="10489"/>
                  </a:lnTo>
                  <a:lnTo>
                    <a:pt x="21369" y="10510"/>
                  </a:lnTo>
                  <a:lnTo>
                    <a:pt x="21372" y="10349"/>
                  </a:lnTo>
                  <a:lnTo>
                    <a:pt x="21384" y="10541"/>
                  </a:lnTo>
                  <a:lnTo>
                    <a:pt x="21391" y="10549"/>
                  </a:lnTo>
                  <a:lnTo>
                    <a:pt x="21394" y="10487"/>
                  </a:lnTo>
                  <a:lnTo>
                    <a:pt x="21408" y="10522"/>
                  </a:lnTo>
                  <a:lnTo>
                    <a:pt x="21409" y="10591"/>
                  </a:lnTo>
                  <a:lnTo>
                    <a:pt x="21413" y="10670"/>
                  </a:lnTo>
                  <a:lnTo>
                    <a:pt x="21389" y="10813"/>
                  </a:lnTo>
                  <a:lnTo>
                    <a:pt x="21393" y="10926"/>
                  </a:lnTo>
                  <a:lnTo>
                    <a:pt x="21403" y="10960"/>
                  </a:lnTo>
                  <a:lnTo>
                    <a:pt x="21414" y="10817"/>
                  </a:lnTo>
                  <a:lnTo>
                    <a:pt x="21416" y="10810"/>
                  </a:lnTo>
                  <a:lnTo>
                    <a:pt x="21416" y="10835"/>
                  </a:lnTo>
                  <a:lnTo>
                    <a:pt x="21416" y="11031"/>
                  </a:lnTo>
                  <a:lnTo>
                    <a:pt x="21401" y="11238"/>
                  </a:lnTo>
                  <a:lnTo>
                    <a:pt x="21394" y="11324"/>
                  </a:lnTo>
                  <a:lnTo>
                    <a:pt x="21398" y="11445"/>
                  </a:lnTo>
                  <a:lnTo>
                    <a:pt x="21382" y="11583"/>
                  </a:lnTo>
                  <a:lnTo>
                    <a:pt x="21364" y="11658"/>
                  </a:lnTo>
                  <a:lnTo>
                    <a:pt x="21352" y="11820"/>
                  </a:lnTo>
                  <a:lnTo>
                    <a:pt x="21352" y="11936"/>
                  </a:lnTo>
                  <a:lnTo>
                    <a:pt x="21356" y="12009"/>
                  </a:lnTo>
                  <a:lnTo>
                    <a:pt x="21366" y="12027"/>
                  </a:lnTo>
                  <a:lnTo>
                    <a:pt x="21376" y="11982"/>
                  </a:lnTo>
                  <a:lnTo>
                    <a:pt x="21369" y="12089"/>
                  </a:lnTo>
                  <a:lnTo>
                    <a:pt x="21369" y="12100"/>
                  </a:lnTo>
                  <a:cubicBezTo>
                    <a:pt x="21359" y="12182"/>
                    <a:pt x="21344" y="12263"/>
                    <a:pt x="21332" y="12345"/>
                  </a:cubicBezTo>
                  <a:lnTo>
                    <a:pt x="21349" y="12158"/>
                  </a:lnTo>
                  <a:lnTo>
                    <a:pt x="21339" y="12170"/>
                  </a:lnTo>
                  <a:lnTo>
                    <a:pt x="21351" y="11961"/>
                  </a:lnTo>
                  <a:lnTo>
                    <a:pt x="21342" y="11837"/>
                  </a:lnTo>
                  <a:lnTo>
                    <a:pt x="21326" y="12051"/>
                  </a:lnTo>
                  <a:lnTo>
                    <a:pt x="21326" y="12175"/>
                  </a:lnTo>
                  <a:lnTo>
                    <a:pt x="21312" y="12317"/>
                  </a:lnTo>
                  <a:lnTo>
                    <a:pt x="21299" y="12465"/>
                  </a:lnTo>
                  <a:lnTo>
                    <a:pt x="21285" y="12589"/>
                  </a:lnTo>
                  <a:lnTo>
                    <a:pt x="21269" y="12724"/>
                  </a:lnTo>
                  <a:lnTo>
                    <a:pt x="21252" y="12825"/>
                  </a:lnTo>
                  <a:lnTo>
                    <a:pt x="21239" y="12901"/>
                  </a:lnTo>
                  <a:cubicBezTo>
                    <a:pt x="21236" y="12915"/>
                    <a:pt x="21233" y="12929"/>
                    <a:pt x="21230" y="12943"/>
                  </a:cubicBezTo>
                  <a:lnTo>
                    <a:pt x="21208" y="13042"/>
                  </a:lnTo>
                  <a:lnTo>
                    <a:pt x="21187" y="13136"/>
                  </a:lnTo>
                  <a:cubicBezTo>
                    <a:pt x="21179" y="13172"/>
                    <a:pt x="21166" y="13205"/>
                    <a:pt x="21158" y="13241"/>
                  </a:cubicBezTo>
                  <a:cubicBezTo>
                    <a:pt x="20055" y="17992"/>
                    <a:pt x="15819" y="21546"/>
                    <a:pt x="10763" y="21546"/>
                  </a:cubicBezTo>
                  <a:cubicBezTo>
                    <a:pt x="6628" y="21546"/>
                    <a:pt x="3050" y="19164"/>
                    <a:pt x="1275" y="15700"/>
                  </a:cubicBezTo>
                  <a:lnTo>
                    <a:pt x="1278" y="15702"/>
                  </a:lnTo>
                  <a:lnTo>
                    <a:pt x="1303" y="15725"/>
                  </a:lnTo>
                  <a:lnTo>
                    <a:pt x="1315" y="15708"/>
                  </a:lnTo>
                  <a:lnTo>
                    <a:pt x="1390" y="15769"/>
                  </a:lnTo>
                  <a:lnTo>
                    <a:pt x="1417" y="15776"/>
                  </a:lnTo>
                  <a:lnTo>
                    <a:pt x="1412" y="15671"/>
                  </a:lnTo>
                  <a:lnTo>
                    <a:pt x="1385" y="15591"/>
                  </a:lnTo>
                  <a:lnTo>
                    <a:pt x="1333" y="15419"/>
                  </a:lnTo>
                  <a:lnTo>
                    <a:pt x="1298" y="15338"/>
                  </a:lnTo>
                  <a:lnTo>
                    <a:pt x="1226" y="15217"/>
                  </a:lnTo>
                  <a:lnTo>
                    <a:pt x="1157" y="15082"/>
                  </a:lnTo>
                  <a:lnTo>
                    <a:pt x="1044" y="14791"/>
                  </a:lnTo>
                  <a:lnTo>
                    <a:pt x="923" y="14497"/>
                  </a:lnTo>
                  <a:lnTo>
                    <a:pt x="819" y="14289"/>
                  </a:lnTo>
                  <a:lnTo>
                    <a:pt x="687" y="13954"/>
                  </a:lnTo>
                  <a:lnTo>
                    <a:pt x="618" y="13816"/>
                  </a:lnTo>
                  <a:lnTo>
                    <a:pt x="623" y="13783"/>
                  </a:lnTo>
                  <a:lnTo>
                    <a:pt x="592" y="13650"/>
                  </a:lnTo>
                  <a:lnTo>
                    <a:pt x="498" y="13342"/>
                  </a:lnTo>
                  <a:lnTo>
                    <a:pt x="433" y="13116"/>
                  </a:lnTo>
                  <a:lnTo>
                    <a:pt x="399" y="13074"/>
                  </a:lnTo>
                  <a:lnTo>
                    <a:pt x="394" y="12961"/>
                  </a:lnTo>
                  <a:lnTo>
                    <a:pt x="317" y="12680"/>
                  </a:lnTo>
                  <a:lnTo>
                    <a:pt x="305" y="12601"/>
                  </a:lnTo>
                  <a:lnTo>
                    <a:pt x="337" y="12626"/>
                  </a:lnTo>
                  <a:lnTo>
                    <a:pt x="339" y="12547"/>
                  </a:lnTo>
                  <a:lnTo>
                    <a:pt x="319" y="12450"/>
                  </a:lnTo>
                  <a:lnTo>
                    <a:pt x="312" y="12175"/>
                  </a:lnTo>
                  <a:lnTo>
                    <a:pt x="309" y="12078"/>
                  </a:lnTo>
                  <a:lnTo>
                    <a:pt x="295" y="12032"/>
                  </a:lnTo>
                  <a:lnTo>
                    <a:pt x="295" y="11963"/>
                  </a:lnTo>
                  <a:lnTo>
                    <a:pt x="272" y="11711"/>
                  </a:lnTo>
                  <a:lnTo>
                    <a:pt x="254" y="11574"/>
                  </a:lnTo>
                  <a:lnTo>
                    <a:pt x="245" y="11510"/>
                  </a:lnTo>
                  <a:lnTo>
                    <a:pt x="222" y="11318"/>
                  </a:lnTo>
                  <a:lnTo>
                    <a:pt x="200" y="11204"/>
                  </a:lnTo>
                  <a:lnTo>
                    <a:pt x="193" y="11207"/>
                  </a:lnTo>
                  <a:lnTo>
                    <a:pt x="173" y="11004"/>
                  </a:lnTo>
                  <a:lnTo>
                    <a:pt x="173" y="10906"/>
                  </a:lnTo>
                  <a:lnTo>
                    <a:pt x="173" y="10771"/>
                  </a:lnTo>
                  <a:lnTo>
                    <a:pt x="168" y="10712"/>
                  </a:lnTo>
                  <a:lnTo>
                    <a:pt x="180" y="10652"/>
                  </a:lnTo>
                  <a:lnTo>
                    <a:pt x="188" y="10489"/>
                  </a:lnTo>
                  <a:lnTo>
                    <a:pt x="190" y="10349"/>
                  </a:lnTo>
                  <a:lnTo>
                    <a:pt x="192" y="10265"/>
                  </a:lnTo>
                  <a:lnTo>
                    <a:pt x="187" y="10187"/>
                  </a:lnTo>
                  <a:lnTo>
                    <a:pt x="210" y="10078"/>
                  </a:lnTo>
                  <a:lnTo>
                    <a:pt x="220" y="9911"/>
                  </a:lnTo>
                  <a:lnTo>
                    <a:pt x="220" y="9782"/>
                  </a:lnTo>
                  <a:lnTo>
                    <a:pt x="235" y="9681"/>
                  </a:lnTo>
                  <a:lnTo>
                    <a:pt x="247" y="9777"/>
                  </a:lnTo>
                  <a:lnTo>
                    <a:pt x="245" y="9598"/>
                  </a:lnTo>
                  <a:lnTo>
                    <a:pt x="245" y="9416"/>
                  </a:lnTo>
                  <a:lnTo>
                    <a:pt x="237" y="9442"/>
                  </a:lnTo>
                  <a:lnTo>
                    <a:pt x="228" y="9389"/>
                  </a:lnTo>
                  <a:lnTo>
                    <a:pt x="238" y="9260"/>
                  </a:lnTo>
                  <a:lnTo>
                    <a:pt x="259" y="9127"/>
                  </a:lnTo>
                  <a:lnTo>
                    <a:pt x="269" y="8977"/>
                  </a:lnTo>
                  <a:lnTo>
                    <a:pt x="282" y="8841"/>
                  </a:lnTo>
                  <a:lnTo>
                    <a:pt x="295" y="8800"/>
                  </a:lnTo>
                  <a:lnTo>
                    <a:pt x="326" y="8645"/>
                  </a:lnTo>
                  <a:lnTo>
                    <a:pt x="341" y="8539"/>
                  </a:lnTo>
                  <a:lnTo>
                    <a:pt x="374" y="8415"/>
                  </a:lnTo>
                  <a:lnTo>
                    <a:pt x="371" y="8395"/>
                  </a:lnTo>
                  <a:lnTo>
                    <a:pt x="351" y="8462"/>
                  </a:lnTo>
                  <a:lnTo>
                    <a:pt x="359" y="8381"/>
                  </a:lnTo>
                  <a:cubicBezTo>
                    <a:pt x="369" y="8337"/>
                    <a:pt x="382" y="8294"/>
                    <a:pt x="392" y="8250"/>
                  </a:cubicBezTo>
                  <a:cubicBezTo>
                    <a:pt x="393" y="8249"/>
                    <a:pt x="394" y="8248"/>
                    <a:pt x="394" y="8246"/>
                  </a:cubicBezTo>
                  <a:lnTo>
                    <a:pt x="401" y="8241"/>
                  </a:lnTo>
                  <a:lnTo>
                    <a:pt x="431" y="8117"/>
                  </a:lnTo>
                  <a:lnTo>
                    <a:pt x="429" y="8107"/>
                  </a:lnTo>
                  <a:cubicBezTo>
                    <a:pt x="876" y="6377"/>
                    <a:pt x="1738" y="4819"/>
                    <a:pt x="2907" y="3542"/>
                  </a:cubicBezTo>
                  <a:lnTo>
                    <a:pt x="2850" y="3631"/>
                  </a:lnTo>
                  <a:lnTo>
                    <a:pt x="2826" y="3695"/>
                  </a:lnTo>
                  <a:lnTo>
                    <a:pt x="2775" y="3779"/>
                  </a:lnTo>
                  <a:lnTo>
                    <a:pt x="2729" y="3846"/>
                  </a:lnTo>
                  <a:lnTo>
                    <a:pt x="2652" y="3944"/>
                  </a:lnTo>
                  <a:lnTo>
                    <a:pt x="2592" y="4038"/>
                  </a:lnTo>
                  <a:lnTo>
                    <a:pt x="2493" y="4158"/>
                  </a:lnTo>
                  <a:lnTo>
                    <a:pt x="2435" y="4245"/>
                  </a:lnTo>
                  <a:lnTo>
                    <a:pt x="2423" y="4279"/>
                  </a:lnTo>
                  <a:lnTo>
                    <a:pt x="2385" y="4333"/>
                  </a:lnTo>
                  <a:lnTo>
                    <a:pt x="2381" y="4348"/>
                  </a:lnTo>
                  <a:lnTo>
                    <a:pt x="2413" y="4311"/>
                  </a:lnTo>
                  <a:lnTo>
                    <a:pt x="2445" y="4289"/>
                  </a:lnTo>
                  <a:lnTo>
                    <a:pt x="2482" y="4249"/>
                  </a:lnTo>
                  <a:lnTo>
                    <a:pt x="2463" y="4291"/>
                  </a:lnTo>
                  <a:lnTo>
                    <a:pt x="2416" y="4378"/>
                  </a:lnTo>
                  <a:lnTo>
                    <a:pt x="2346" y="4493"/>
                  </a:lnTo>
                  <a:lnTo>
                    <a:pt x="2282" y="4622"/>
                  </a:lnTo>
                  <a:lnTo>
                    <a:pt x="2222" y="4713"/>
                  </a:lnTo>
                  <a:lnTo>
                    <a:pt x="2152" y="4802"/>
                  </a:lnTo>
                  <a:lnTo>
                    <a:pt x="2137" y="4829"/>
                  </a:lnTo>
                  <a:lnTo>
                    <a:pt x="2115" y="4924"/>
                  </a:lnTo>
                  <a:lnTo>
                    <a:pt x="2080" y="4983"/>
                  </a:lnTo>
                  <a:lnTo>
                    <a:pt x="1963" y="5137"/>
                  </a:lnTo>
                  <a:lnTo>
                    <a:pt x="1901" y="5210"/>
                  </a:lnTo>
                  <a:lnTo>
                    <a:pt x="1857" y="5232"/>
                  </a:lnTo>
                  <a:lnTo>
                    <a:pt x="1817" y="5277"/>
                  </a:lnTo>
                  <a:lnTo>
                    <a:pt x="1730" y="5393"/>
                  </a:lnTo>
                  <a:lnTo>
                    <a:pt x="1635" y="5526"/>
                  </a:lnTo>
                  <a:lnTo>
                    <a:pt x="1596" y="5594"/>
                  </a:lnTo>
                  <a:lnTo>
                    <a:pt x="1556" y="5647"/>
                  </a:lnTo>
                  <a:lnTo>
                    <a:pt x="1521" y="5722"/>
                  </a:lnTo>
                  <a:lnTo>
                    <a:pt x="1514" y="5752"/>
                  </a:lnTo>
                  <a:lnTo>
                    <a:pt x="1549" y="5738"/>
                  </a:lnTo>
                  <a:lnTo>
                    <a:pt x="1578" y="5715"/>
                  </a:lnTo>
                  <a:lnTo>
                    <a:pt x="1630" y="5668"/>
                  </a:lnTo>
                  <a:lnTo>
                    <a:pt x="1747" y="5520"/>
                  </a:lnTo>
                  <a:lnTo>
                    <a:pt x="1784" y="5488"/>
                  </a:lnTo>
                  <a:lnTo>
                    <a:pt x="1867" y="5380"/>
                  </a:lnTo>
                  <a:lnTo>
                    <a:pt x="1958" y="5277"/>
                  </a:lnTo>
                  <a:lnTo>
                    <a:pt x="2030" y="5208"/>
                  </a:lnTo>
                  <a:lnTo>
                    <a:pt x="2087" y="5179"/>
                  </a:lnTo>
                  <a:lnTo>
                    <a:pt x="2118" y="5200"/>
                  </a:lnTo>
                  <a:lnTo>
                    <a:pt x="2137" y="5238"/>
                  </a:lnTo>
                  <a:lnTo>
                    <a:pt x="2148" y="5331"/>
                  </a:lnTo>
                  <a:lnTo>
                    <a:pt x="2175" y="5326"/>
                  </a:lnTo>
                  <a:lnTo>
                    <a:pt x="2190" y="5365"/>
                  </a:lnTo>
                  <a:lnTo>
                    <a:pt x="2177" y="5422"/>
                  </a:lnTo>
                  <a:lnTo>
                    <a:pt x="2210" y="5464"/>
                  </a:lnTo>
                  <a:lnTo>
                    <a:pt x="2202" y="5570"/>
                  </a:lnTo>
                  <a:lnTo>
                    <a:pt x="2259" y="5599"/>
                  </a:lnTo>
                  <a:lnTo>
                    <a:pt x="2369" y="5514"/>
                  </a:lnTo>
                  <a:lnTo>
                    <a:pt x="2411" y="5479"/>
                  </a:lnTo>
                  <a:lnTo>
                    <a:pt x="2428" y="5440"/>
                  </a:lnTo>
                  <a:lnTo>
                    <a:pt x="2535" y="5375"/>
                  </a:lnTo>
                  <a:lnTo>
                    <a:pt x="2592" y="5277"/>
                  </a:lnTo>
                  <a:lnTo>
                    <a:pt x="2554" y="5361"/>
                  </a:lnTo>
                  <a:lnTo>
                    <a:pt x="2632" y="5296"/>
                  </a:lnTo>
                  <a:lnTo>
                    <a:pt x="2676" y="5292"/>
                  </a:lnTo>
                  <a:lnTo>
                    <a:pt x="2577" y="5358"/>
                  </a:lnTo>
                  <a:lnTo>
                    <a:pt x="2517" y="5442"/>
                  </a:lnTo>
                  <a:lnTo>
                    <a:pt x="2451" y="5449"/>
                  </a:lnTo>
                  <a:lnTo>
                    <a:pt x="2445" y="5462"/>
                  </a:lnTo>
                  <a:lnTo>
                    <a:pt x="2515" y="5477"/>
                  </a:lnTo>
                  <a:lnTo>
                    <a:pt x="2549" y="5491"/>
                  </a:lnTo>
                  <a:lnTo>
                    <a:pt x="2592" y="5464"/>
                  </a:lnTo>
                  <a:lnTo>
                    <a:pt x="2621" y="5424"/>
                  </a:lnTo>
                  <a:lnTo>
                    <a:pt x="2689" y="5366"/>
                  </a:lnTo>
                  <a:lnTo>
                    <a:pt x="2649" y="5420"/>
                  </a:lnTo>
                  <a:lnTo>
                    <a:pt x="2637" y="5449"/>
                  </a:lnTo>
                  <a:lnTo>
                    <a:pt x="2605" y="5474"/>
                  </a:lnTo>
                  <a:lnTo>
                    <a:pt x="2672" y="5509"/>
                  </a:lnTo>
                  <a:lnTo>
                    <a:pt x="2751" y="5489"/>
                  </a:lnTo>
                  <a:lnTo>
                    <a:pt x="2765" y="5452"/>
                  </a:lnTo>
                  <a:lnTo>
                    <a:pt x="2790" y="5471"/>
                  </a:lnTo>
                  <a:lnTo>
                    <a:pt x="2776" y="5474"/>
                  </a:lnTo>
                  <a:lnTo>
                    <a:pt x="2759" y="5548"/>
                  </a:lnTo>
                  <a:lnTo>
                    <a:pt x="2763" y="5690"/>
                  </a:lnTo>
                  <a:lnTo>
                    <a:pt x="2791" y="5642"/>
                  </a:lnTo>
                  <a:lnTo>
                    <a:pt x="2805" y="5488"/>
                  </a:lnTo>
                  <a:lnTo>
                    <a:pt x="2818" y="5563"/>
                  </a:lnTo>
                  <a:lnTo>
                    <a:pt x="2811" y="5627"/>
                  </a:lnTo>
                  <a:lnTo>
                    <a:pt x="2808" y="5674"/>
                  </a:lnTo>
                  <a:lnTo>
                    <a:pt x="2813" y="5747"/>
                  </a:lnTo>
                  <a:lnTo>
                    <a:pt x="2801" y="5802"/>
                  </a:lnTo>
                  <a:lnTo>
                    <a:pt x="2810" y="5870"/>
                  </a:lnTo>
                  <a:lnTo>
                    <a:pt x="2843" y="5860"/>
                  </a:lnTo>
                  <a:lnTo>
                    <a:pt x="2877" y="5809"/>
                  </a:lnTo>
                  <a:lnTo>
                    <a:pt x="2830" y="5846"/>
                  </a:lnTo>
                  <a:lnTo>
                    <a:pt x="2840" y="5797"/>
                  </a:lnTo>
                  <a:lnTo>
                    <a:pt x="2912" y="5725"/>
                  </a:lnTo>
                  <a:lnTo>
                    <a:pt x="2977" y="5691"/>
                  </a:lnTo>
                  <a:lnTo>
                    <a:pt x="2996" y="5695"/>
                  </a:lnTo>
                  <a:lnTo>
                    <a:pt x="3069" y="5716"/>
                  </a:lnTo>
                  <a:lnTo>
                    <a:pt x="3091" y="5814"/>
                  </a:lnTo>
                  <a:lnTo>
                    <a:pt x="3121" y="5903"/>
                  </a:lnTo>
                  <a:lnTo>
                    <a:pt x="3173" y="5987"/>
                  </a:lnTo>
                  <a:lnTo>
                    <a:pt x="3218" y="5947"/>
                  </a:lnTo>
                  <a:lnTo>
                    <a:pt x="3225" y="6058"/>
                  </a:lnTo>
                  <a:lnTo>
                    <a:pt x="3222" y="6230"/>
                  </a:lnTo>
                  <a:lnTo>
                    <a:pt x="3123" y="6100"/>
                  </a:lnTo>
                  <a:lnTo>
                    <a:pt x="3012" y="6164"/>
                  </a:lnTo>
                  <a:lnTo>
                    <a:pt x="2997" y="6253"/>
                  </a:lnTo>
                  <a:lnTo>
                    <a:pt x="3086" y="6324"/>
                  </a:lnTo>
                  <a:lnTo>
                    <a:pt x="3138" y="6403"/>
                  </a:lnTo>
                  <a:lnTo>
                    <a:pt x="3220" y="6599"/>
                  </a:lnTo>
                  <a:lnTo>
                    <a:pt x="3314" y="6679"/>
                  </a:lnTo>
                  <a:lnTo>
                    <a:pt x="3359" y="6582"/>
                  </a:lnTo>
                  <a:lnTo>
                    <a:pt x="3456" y="6516"/>
                  </a:lnTo>
                  <a:lnTo>
                    <a:pt x="3300" y="6498"/>
                  </a:lnTo>
                  <a:lnTo>
                    <a:pt x="3278" y="6331"/>
                  </a:lnTo>
                  <a:lnTo>
                    <a:pt x="3349" y="6156"/>
                  </a:lnTo>
                  <a:lnTo>
                    <a:pt x="3451" y="6068"/>
                  </a:lnTo>
                  <a:lnTo>
                    <a:pt x="3601" y="5961"/>
                  </a:lnTo>
                  <a:lnTo>
                    <a:pt x="3692" y="6013"/>
                  </a:lnTo>
                  <a:lnTo>
                    <a:pt x="3764" y="5890"/>
                  </a:lnTo>
                  <a:lnTo>
                    <a:pt x="3759" y="5745"/>
                  </a:lnTo>
                  <a:lnTo>
                    <a:pt x="3662" y="5583"/>
                  </a:lnTo>
                  <a:lnTo>
                    <a:pt x="3504" y="5498"/>
                  </a:lnTo>
                  <a:lnTo>
                    <a:pt x="3498" y="5419"/>
                  </a:lnTo>
                  <a:lnTo>
                    <a:pt x="3603" y="5484"/>
                  </a:lnTo>
                  <a:lnTo>
                    <a:pt x="3767" y="5553"/>
                  </a:lnTo>
                  <a:lnTo>
                    <a:pt x="3817" y="5652"/>
                  </a:lnTo>
                  <a:lnTo>
                    <a:pt x="3913" y="5693"/>
                  </a:lnTo>
                  <a:lnTo>
                    <a:pt x="3916" y="5791"/>
                  </a:lnTo>
                  <a:lnTo>
                    <a:pt x="3910" y="5939"/>
                  </a:lnTo>
                  <a:lnTo>
                    <a:pt x="3881" y="6164"/>
                  </a:lnTo>
                  <a:lnTo>
                    <a:pt x="3911" y="6319"/>
                  </a:lnTo>
                  <a:lnTo>
                    <a:pt x="4038" y="6380"/>
                  </a:lnTo>
                  <a:lnTo>
                    <a:pt x="4107" y="6509"/>
                  </a:lnTo>
                  <a:lnTo>
                    <a:pt x="4167" y="6550"/>
                  </a:lnTo>
                  <a:lnTo>
                    <a:pt x="4233" y="6588"/>
                  </a:lnTo>
                  <a:lnTo>
                    <a:pt x="4397" y="6491"/>
                  </a:lnTo>
                  <a:lnTo>
                    <a:pt x="4449" y="6423"/>
                  </a:lnTo>
                  <a:lnTo>
                    <a:pt x="4459" y="6343"/>
                  </a:lnTo>
                  <a:lnTo>
                    <a:pt x="4581" y="6243"/>
                  </a:lnTo>
                  <a:lnTo>
                    <a:pt x="4623" y="6163"/>
                  </a:lnTo>
                  <a:lnTo>
                    <a:pt x="4649" y="6004"/>
                  </a:lnTo>
                  <a:lnTo>
                    <a:pt x="4733" y="5886"/>
                  </a:lnTo>
                  <a:lnTo>
                    <a:pt x="4815" y="5737"/>
                  </a:lnTo>
                  <a:lnTo>
                    <a:pt x="4916" y="5732"/>
                  </a:lnTo>
                  <a:lnTo>
                    <a:pt x="5101" y="5568"/>
                  </a:lnTo>
                  <a:lnTo>
                    <a:pt x="5306" y="5393"/>
                  </a:lnTo>
                  <a:lnTo>
                    <a:pt x="5451" y="5287"/>
                  </a:lnTo>
                  <a:lnTo>
                    <a:pt x="5379" y="5259"/>
                  </a:lnTo>
                  <a:lnTo>
                    <a:pt x="5205" y="5238"/>
                  </a:lnTo>
                  <a:lnTo>
                    <a:pt x="5128" y="5148"/>
                  </a:lnTo>
                  <a:lnTo>
                    <a:pt x="5227" y="5063"/>
                  </a:lnTo>
                  <a:lnTo>
                    <a:pt x="5260" y="4984"/>
                  </a:lnTo>
                  <a:lnTo>
                    <a:pt x="5466" y="4908"/>
                  </a:lnTo>
                  <a:lnTo>
                    <a:pt x="5602" y="4878"/>
                  </a:lnTo>
                  <a:lnTo>
                    <a:pt x="5635" y="4745"/>
                  </a:lnTo>
                  <a:lnTo>
                    <a:pt x="5702" y="4710"/>
                  </a:lnTo>
                  <a:lnTo>
                    <a:pt x="5814" y="4604"/>
                  </a:lnTo>
                  <a:lnTo>
                    <a:pt x="5885" y="4530"/>
                  </a:lnTo>
                  <a:lnTo>
                    <a:pt x="5856" y="4478"/>
                  </a:lnTo>
                  <a:lnTo>
                    <a:pt x="5890" y="4403"/>
                  </a:lnTo>
                  <a:lnTo>
                    <a:pt x="5969" y="4281"/>
                  </a:lnTo>
                  <a:lnTo>
                    <a:pt x="5947" y="4235"/>
                  </a:lnTo>
                  <a:lnTo>
                    <a:pt x="5692" y="4286"/>
                  </a:lnTo>
                  <a:lnTo>
                    <a:pt x="5540" y="4334"/>
                  </a:lnTo>
                  <a:lnTo>
                    <a:pt x="5406" y="4267"/>
                  </a:lnTo>
                  <a:lnTo>
                    <a:pt x="5259" y="4378"/>
                  </a:lnTo>
                  <a:lnTo>
                    <a:pt x="5113" y="4456"/>
                  </a:lnTo>
                  <a:lnTo>
                    <a:pt x="5009" y="4481"/>
                  </a:lnTo>
                  <a:lnTo>
                    <a:pt x="4917" y="4456"/>
                  </a:lnTo>
                  <a:lnTo>
                    <a:pt x="4844" y="4380"/>
                  </a:lnTo>
                  <a:lnTo>
                    <a:pt x="4822" y="4257"/>
                  </a:lnTo>
                  <a:lnTo>
                    <a:pt x="4725" y="4331"/>
                  </a:lnTo>
                  <a:lnTo>
                    <a:pt x="4480" y="4427"/>
                  </a:lnTo>
                  <a:lnTo>
                    <a:pt x="4351" y="4410"/>
                  </a:lnTo>
                  <a:lnTo>
                    <a:pt x="4333" y="4351"/>
                  </a:lnTo>
                  <a:lnTo>
                    <a:pt x="4517" y="4186"/>
                  </a:lnTo>
                  <a:lnTo>
                    <a:pt x="4701" y="4094"/>
                  </a:lnTo>
                  <a:lnTo>
                    <a:pt x="4855" y="4043"/>
                  </a:lnTo>
                  <a:lnTo>
                    <a:pt x="4974" y="4040"/>
                  </a:lnTo>
                  <a:lnTo>
                    <a:pt x="5028" y="3947"/>
                  </a:lnTo>
                  <a:lnTo>
                    <a:pt x="5100" y="3813"/>
                  </a:lnTo>
                  <a:lnTo>
                    <a:pt x="5202" y="3722"/>
                  </a:lnTo>
                  <a:lnTo>
                    <a:pt x="5294" y="3619"/>
                  </a:lnTo>
                  <a:lnTo>
                    <a:pt x="5391" y="3560"/>
                  </a:lnTo>
                  <a:lnTo>
                    <a:pt x="5490" y="3483"/>
                  </a:lnTo>
                  <a:lnTo>
                    <a:pt x="5635" y="3345"/>
                  </a:lnTo>
                  <a:lnTo>
                    <a:pt x="5677" y="3240"/>
                  </a:lnTo>
                  <a:lnTo>
                    <a:pt x="5804" y="3212"/>
                  </a:lnTo>
                  <a:lnTo>
                    <a:pt x="5955" y="3188"/>
                  </a:lnTo>
                  <a:lnTo>
                    <a:pt x="6051" y="3091"/>
                  </a:lnTo>
                  <a:lnTo>
                    <a:pt x="6208" y="3111"/>
                  </a:lnTo>
                  <a:lnTo>
                    <a:pt x="6298" y="3149"/>
                  </a:lnTo>
                  <a:lnTo>
                    <a:pt x="6407" y="3237"/>
                  </a:lnTo>
                  <a:lnTo>
                    <a:pt x="6472" y="3328"/>
                  </a:lnTo>
                  <a:lnTo>
                    <a:pt x="6444" y="3402"/>
                  </a:lnTo>
                  <a:lnTo>
                    <a:pt x="6536" y="3415"/>
                  </a:lnTo>
                  <a:lnTo>
                    <a:pt x="6569" y="3471"/>
                  </a:lnTo>
                  <a:lnTo>
                    <a:pt x="6528" y="3558"/>
                  </a:lnTo>
                  <a:lnTo>
                    <a:pt x="6593" y="3636"/>
                  </a:lnTo>
                  <a:lnTo>
                    <a:pt x="6650" y="3658"/>
                  </a:lnTo>
                  <a:lnTo>
                    <a:pt x="6752" y="3725"/>
                  </a:lnTo>
                  <a:lnTo>
                    <a:pt x="6822" y="3747"/>
                  </a:lnTo>
                  <a:lnTo>
                    <a:pt x="6745" y="3803"/>
                  </a:lnTo>
                  <a:lnTo>
                    <a:pt x="6734" y="3885"/>
                  </a:lnTo>
                  <a:lnTo>
                    <a:pt x="6799" y="4000"/>
                  </a:lnTo>
                  <a:lnTo>
                    <a:pt x="6876" y="4010"/>
                  </a:lnTo>
                  <a:lnTo>
                    <a:pt x="6978" y="3973"/>
                  </a:lnTo>
                  <a:lnTo>
                    <a:pt x="7050" y="4016"/>
                  </a:lnTo>
                  <a:lnTo>
                    <a:pt x="7134" y="4016"/>
                  </a:lnTo>
                  <a:lnTo>
                    <a:pt x="7244" y="3951"/>
                  </a:lnTo>
                  <a:lnTo>
                    <a:pt x="7303" y="3880"/>
                  </a:lnTo>
                  <a:lnTo>
                    <a:pt x="7350" y="3811"/>
                  </a:lnTo>
                  <a:lnTo>
                    <a:pt x="7172" y="3789"/>
                  </a:lnTo>
                  <a:lnTo>
                    <a:pt x="7055" y="3737"/>
                  </a:lnTo>
                  <a:lnTo>
                    <a:pt x="6970" y="3668"/>
                  </a:lnTo>
                  <a:lnTo>
                    <a:pt x="7105" y="3629"/>
                  </a:lnTo>
                  <a:lnTo>
                    <a:pt x="7212" y="3659"/>
                  </a:lnTo>
                  <a:lnTo>
                    <a:pt x="7350" y="3616"/>
                  </a:lnTo>
                  <a:lnTo>
                    <a:pt x="7268" y="3528"/>
                  </a:lnTo>
                  <a:lnTo>
                    <a:pt x="7427" y="3557"/>
                  </a:lnTo>
                  <a:lnTo>
                    <a:pt x="7515" y="3476"/>
                  </a:lnTo>
                  <a:lnTo>
                    <a:pt x="7564" y="3533"/>
                  </a:lnTo>
                  <a:lnTo>
                    <a:pt x="7778" y="3513"/>
                  </a:lnTo>
                  <a:lnTo>
                    <a:pt x="7875" y="3488"/>
                  </a:lnTo>
                  <a:lnTo>
                    <a:pt x="7940" y="3441"/>
                  </a:lnTo>
                  <a:lnTo>
                    <a:pt x="7870" y="3360"/>
                  </a:lnTo>
                  <a:lnTo>
                    <a:pt x="7709" y="3308"/>
                  </a:lnTo>
                  <a:lnTo>
                    <a:pt x="7609" y="3343"/>
                  </a:lnTo>
                  <a:lnTo>
                    <a:pt x="7480" y="3368"/>
                  </a:lnTo>
                  <a:lnTo>
                    <a:pt x="7348" y="3311"/>
                  </a:lnTo>
                  <a:lnTo>
                    <a:pt x="7381" y="3272"/>
                  </a:lnTo>
                  <a:lnTo>
                    <a:pt x="7289" y="3212"/>
                  </a:lnTo>
                  <a:lnTo>
                    <a:pt x="7427" y="3247"/>
                  </a:lnTo>
                  <a:lnTo>
                    <a:pt x="7535" y="3188"/>
                  </a:lnTo>
                  <a:lnTo>
                    <a:pt x="7545" y="3139"/>
                  </a:lnTo>
                  <a:lnTo>
                    <a:pt x="7453" y="3119"/>
                  </a:lnTo>
                  <a:lnTo>
                    <a:pt x="7517" y="3050"/>
                  </a:lnTo>
                  <a:lnTo>
                    <a:pt x="7562" y="2971"/>
                  </a:lnTo>
                  <a:lnTo>
                    <a:pt x="7703" y="2915"/>
                  </a:lnTo>
                  <a:lnTo>
                    <a:pt x="7743" y="2862"/>
                  </a:lnTo>
                  <a:lnTo>
                    <a:pt x="7860" y="2850"/>
                  </a:lnTo>
                  <a:lnTo>
                    <a:pt x="7927" y="2830"/>
                  </a:lnTo>
                  <a:lnTo>
                    <a:pt x="7952" y="2791"/>
                  </a:lnTo>
                  <a:lnTo>
                    <a:pt x="8004" y="2740"/>
                  </a:lnTo>
                  <a:lnTo>
                    <a:pt x="7994" y="2693"/>
                  </a:lnTo>
                  <a:lnTo>
                    <a:pt x="7892" y="2708"/>
                  </a:lnTo>
                  <a:lnTo>
                    <a:pt x="7885" y="2633"/>
                  </a:lnTo>
                  <a:lnTo>
                    <a:pt x="8012" y="2628"/>
                  </a:lnTo>
                  <a:lnTo>
                    <a:pt x="8036" y="2582"/>
                  </a:lnTo>
                  <a:lnTo>
                    <a:pt x="8166" y="2471"/>
                  </a:lnTo>
                  <a:lnTo>
                    <a:pt x="8290" y="2421"/>
                  </a:lnTo>
                  <a:lnTo>
                    <a:pt x="8267" y="2506"/>
                  </a:lnTo>
                  <a:lnTo>
                    <a:pt x="8394" y="2496"/>
                  </a:lnTo>
                  <a:lnTo>
                    <a:pt x="8439" y="2459"/>
                  </a:lnTo>
                  <a:lnTo>
                    <a:pt x="8531" y="2427"/>
                  </a:lnTo>
                  <a:lnTo>
                    <a:pt x="8697" y="2385"/>
                  </a:lnTo>
                  <a:lnTo>
                    <a:pt x="8821" y="2375"/>
                  </a:lnTo>
                  <a:lnTo>
                    <a:pt x="8893" y="2348"/>
                  </a:lnTo>
                  <a:lnTo>
                    <a:pt x="8888" y="2313"/>
                  </a:lnTo>
                  <a:lnTo>
                    <a:pt x="8945" y="2266"/>
                  </a:lnTo>
                  <a:lnTo>
                    <a:pt x="9017" y="2330"/>
                  </a:lnTo>
                  <a:lnTo>
                    <a:pt x="9037" y="2235"/>
                  </a:lnTo>
                  <a:lnTo>
                    <a:pt x="9204" y="2279"/>
                  </a:lnTo>
                  <a:lnTo>
                    <a:pt x="9251" y="2274"/>
                  </a:lnTo>
                  <a:lnTo>
                    <a:pt x="9229" y="2224"/>
                  </a:lnTo>
                  <a:lnTo>
                    <a:pt x="9256" y="2185"/>
                  </a:lnTo>
                  <a:lnTo>
                    <a:pt x="9326" y="2210"/>
                  </a:lnTo>
                  <a:lnTo>
                    <a:pt x="9405" y="2153"/>
                  </a:lnTo>
                  <a:lnTo>
                    <a:pt x="9469" y="2082"/>
                  </a:lnTo>
                  <a:lnTo>
                    <a:pt x="9568" y="2067"/>
                  </a:lnTo>
                  <a:lnTo>
                    <a:pt x="9626" y="2017"/>
                  </a:lnTo>
                  <a:lnTo>
                    <a:pt x="9661" y="1961"/>
                  </a:lnTo>
                  <a:lnTo>
                    <a:pt x="9733" y="1954"/>
                  </a:lnTo>
                  <a:lnTo>
                    <a:pt x="9855" y="1981"/>
                  </a:lnTo>
                  <a:lnTo>
                    <a:pt x="9984" y="1983"/>
                  </a:lnTo>
                  <a:lnTo>
                    <a:pt x="10058" y="1986"/>
                  </a:lnTo>
                  <a:lnTo>
                    <a:pt x="10163" y="2003"/>
                  </a:lnTo>
                  <a:lnTo>
                    <a:pt x="10242" y="1976"/>
                  </a:lnTo>
                  <a:lnTo>
                    <a:pt x="10294" y="1985"/>
                  </a:lnTo>
                  <a:lnTo>
                    <a:pt x="10418" y="1983"/>
                  </a:lnTo>
                  <a:lnTo>
                    <a:pt x="10554" y="2010"/>
                  </a:lnTo>
                  <a:lnTo>
                    <a:pt x="10617" y="1996"/>
                  </a:lnTo>
                  <a:lnTo>
                    <a:pt x="10713" y="2013"/>
                  </a:lnTo>
                  <a:lnTo>
                    <a:pt x="10709" y="2038"/>
                  </a:lnTo>
                  <a:lnTo>
                    <a:pt x="10813" y="2045"/>
                  </a:lnTo>
                  <a:lnTo>
                    <a:pt x="10841" y="2023"/>
                  </a:lnTo>
                  <a:lnTo>
                    <a:pt x="10883" y="2074"/>
                  </a:lnTo>
                  <a:lnTo>
                    <a:pt x="10972" y="2102"/>
                  </a:lnTo>
                  <a:lnTo>
                    <a:pt x="11072" y="2049"/>
                  </a:lnTo>
                  <a:lnTo>
                    <a:pt x="11128" y="2060"/>
                  </a:lnTo>
                  <a:lnTo>
                    <a:pt x="11255" y="2023"/>
                  </a:lnTo>
                  <a:lnTo>
                    <a:pt x="11319" y="2018"/>
                  </a:lnTo>
                  <a:lnTo>
                    <a:pt x="11396" y="1978"/>
                  </a:lnTo>
                  <a:lnTo>
                    <a:pt x="11426" y="1929"/>
                  </a:lnTo>
                  <a:lnTo>
                    <a:pt x="11523" y="1895"/>
                  </a:lnTo>
                  <a:lnTo>
                    <a:pt x="11642" y="1912"/>
                  </a:lnTo>
                  <a:lnTo>
                    <a:pt x="11700" y="1867"/>
                  </a:lnTo>
                  <a:lnTo>
                    <a:pt x="11620" y="1818"/>
                  </a:lnTo>
                  <a:lnTo>
                    <a:pt x="11568" y="1764"/>
                  </a:lnTo>
                  <a:lnTo>
                    <a:pt x="11534" y="1707"/>
                  </a:lnTo>
                  <a:lnTo>
                    <a:pt x="11457" y="1656"/>
                  </a:lnTo>
                  <a:lnTo>
                    <a:pt x="11414" y="1589"/>
                  </a:lnTo>
                  <a:lnTo>
                    <a:pt x="11573" y="1608"/>
                  </a:lnTo>
                  <a:lnTo>
                    <a:pt x="11546" y="1655"/>
                  </a:lnTo>
                  <a:lnTo>
                    <a:pt x="11606" y="1665"/>
                  </a:lnTo>
                  <a:lnTo>
                    <a:pt x="11789" y="1648"/>
                  </a:lnTo>
                  <a:lnTo>
                    <a:pt x="11911" y="1631"/>
                  </a:lnTo>
                  <a:lnTo>
                    <a:pt x="11839" y="1559"/>
                  </a:lnTo>
                  <a:lnTo>
                    <a:pt x="11824" y="1517"/>
                  </a:lnTo>
                  <a:lnTo>
                    <a:pt x="11717" y="1473"/>
                  </a:lnTo>
                  <a:lnTo>
                    <a:pt x="11601" y="1464"/>
                  </a:lnTo>
                  <a:lnTo>
                    <a:pt x="11546" y="1436"/>
                  </a:lnTo>
                  <a:lnTo>
                    <a:pt x="11516" y="1453"/>
                  </a:lnTo>
                  <a:lnTo>
                    <a:pt x="11426" y="1461"/>
                  </a:lnTo>
                  <a:lnTo>
                    <a:pt x="11377" y="1456"/>
                  </a:lnTo>
                  <a:lnTo>
                    <a:pt x="11446" y="1429"/>
                  </a:lnTo>
                  <a:lnTo>
                    <a:pt x="11404" y="1407"/>
                  </a:lnTo>
                  <a:lnTo>
                    <a:pt x="11401" y="1363"/>
                  </a:lnTo>
                  <a:lnTo>
                    <a:pt x="11469" y="1343"/>
                  </a:lnTo>
                  <a:lnTo>
                    <a:pt x="11528" y="1358"/>
                  </a:lnTo>
                  <a:lnTo>
                    <a:pt x="11608" y="1326"/>
                  </a:lnTo>
                  <a:lnTo>
                    <a:pt x="11660" y="1348"/>
                  </a:lnTo>
                  <a:lnTo>
                    <a:pt x="11730" y="1353"/>
                  </a:lnTo>
                  <a:lnTo>
                    <a:pt x="11777" y="1315"/>
                  </a:lnTo>
                  <a:lnTo>
                    <a:pt x="11866" y="1281"/>
                  </a:lnTo>
                  <a:lnTo>
                    <a:pt x="11921" y="1241"/>
                  </a:lnTo>
                  <a:lnTo>
                    <a:pt x="11868" y="1193"/>
                  </a:lnTo>
                  <a:lnTo>
                    <a:pt x="11888" y="1150"/>
                  </a:lnTo>
                  <a:lnTo>
                    <a:pt x="11834" y="1119"/>
                  </a:lnTo>
                  <a:lnTo>
                    <a:pt x="11771" y="1071"/>
                  </a:lnTo>
                  <a:lnTo>
                    <a:pt x="11645" y="1067"/>
                  </a:lnTo>
                  <a:lnTo>
                    <a:pt x="11595" y="1032"/>
                  </a:lnTo>
                  <a:lnTo>
                    <a:pt x="11622" y="1007"/>
                  </a:lnTo>
                  <a:lnTo>
                    <a:pt x="11628" y="961"/>
                  </a:lnTo>
                  <a:lnTo>
                    <a:pt x="11568" y="954"/>
                  </a:lnTo>
                  <a:lnTo>
                    <a:pt x="11464" y="973"/>
                  </a:lnTo>
                  <a:lnTo>
                    <a:pt x="11437" y="933"/>
                  </a:lnTo>
                  <a:lnTo>
                    <a:pt x="11406" y="956"/>
                  </a:lnTo>
                  <a:lnTo>
                    <a:pt x="11350" y="912"/>
                  </a:lnTo>
                  <a:lnTo>
                    <a:pt x="11293" y="936"/>
                  </a:lnTo>
                  <a:lnTo>
                    <a:pt x="11263" y="919"/>
                  </a:lnTo>
                  <a:lnTo>
                    <a:pt x="11149" y="936"/>
                  </a:lnTo>
                  <a:lnTo>
                    <a:pt x="11205" y="894"/>
                  </a:lnTo>
                  <a:lnTo>
                    <a:pt x="11231" y="840"/>
                  </a:lnTo>
                  <a:lnTo>
                    <a:pt x="11312" y="820"/>
                  </a:lnTo>
                  <a:lnTo>
                    <a:pt x="11337" y="808"/>
                  </a:lnTo>
                  <a:lnTo>
                    <a:pt x="11489" y="779"/>
                  </a:lnTo>
                  <a:lnTo>
                    <a:pt x="11548" y="757"/>
                  </a:lnTo>
                  <a:lnTo>
                    <a:pt x="11678" y="766"/>
                  </a:lnTo>
                  <a:lnTo>
                    <a:pt x="11804" y="746"/>
                  </a:lnTo>
                  <a:lnTo>
                    <a:pt x="11914" y="742"/>
                  </a:lnTo>
                  <a:lnTo>
                    <a:pt x="12045" y="732"/>
                  </a:lnTo>
                  <a:lnTo>
                    <a:pt x="12033" y="719"/>
                  </a:lnTo>
                  <a:lnTo>
                    <a:pt x="11842" y="707"/>
                  </a:lnTo>
                  <a:lnTo>
                    <a:pt x="11745" y="715"/>
                  </a:lnTo>
                  <a:lnTo>
                    <a:pt x="11630" y="724"/>
                  </a:lnTo>
                  <a:lnTo>
                    <a:pt x="11526" y="731"/>
                  </a:lnTo>
                  <a:lnTo>
                    <a:pt x="11456" y="719"/>
                  </a:lnTo>
                  <a:lnTo>
                    <a:pt x="11327" y="736"/>
                  </a:lnTo>
                  <a:lnTo>
                    <a:pt x="11287" y="766"/>
                  </a:lnTo>
                  <a:lnTo>
                    <a:pt x="11121" y="791"/>
                  </a:lnTo>
                  <a:lnTo>
                    <a:pt x="11093" y="821"/>
                  </a:lnTo>
                  <a:lnTo>
                    <a:pt x="10989" y="838"/>
                  </a:lnTo>
                  <a:lnTo>
                    <a:pt x="10880" y="867"/>
                  </a:lnTo>
                  <a:lnTo>
                    <a:pt x="10786" y="919"/>
                  </a:lnTo>
                  <a:lnTo>
                    <a:pt x="10857" y="958"/>
                  </a:lnTo>
                  <a:lnTo>
                    <a:pt x="10719" y="1013"/>
                  </a:lnTo>
                  <a:lnTo>
                    <a:pt x="10657" y="1067"/>
                  </a:lnTo>
                  <a:lnTo>
                    <a:pt x="10545" y="1116"/>
                  </a:lnTo>
                  <a:lnTo>
                    <a:pt x="10518" y="1096"/>
                  </a:lnTo>
                  <a:lnTo>
                    <a:pt x="10614" y="1069"/>
                  </a:lnTo>
                  <a:lnTo>
                    <a:pt x="10651" y="988"/>
                  </a:lnTo>
                  <a:lnTo>
                    <a:pt x="10636" y="943"/>
                  </a:lnTo>
                  <a:lnTo>
                    <a:pt x="10530" y="963"/>
                  </a:lnTo>
                  <a:lnTo>
                    <a:pt x="10450" y="991"/>
                  </a:lnTo>
                  <a:lnTo>
                    <a:pt x="10343" y="1015"/>
                  </a:lnTo>
                  <a:lnTo>
                    <a:pt x="10292" y="1023"/>
                  </a:lnTo>
                  <a:lnTo>
                    <a:pt x="10321" y="1077"/>
                  </a:lnTo>
                  <a:lnTo>
                    <a:pt x="10224" y="1103"/>
                  </a:lnTo>
                  <a:lnTo>
                    <a:pt x="10107" y="1077"/>
                  </a:lnTo>
                  <a:lnTo>
                    <a:pt x="9916" y="1062"/>
                  </a:lnTo>
                  <a:lnTo>
                    <a:pt x="9790" y="1087"/>
                  </a:lnTo>
                  <a:lnTo>
                    <a:pt x="9618" y="1087"/>
                  </a:lnTo>
                  <a:lnTo>
                    <a:pt x="9522" y="1089"/>
                  </a:lnTo>
                  <a:lnTo>
                    <a:pt x="9290" y="1054"/>
                  </a:lnTo>
                  <a:lnTo>
                    <a:pt x="9166" y="1059"/>
                  </a:lnTo>
                  <a:lnTo>
                    <a:pt x="9015" y="1096"/>
                  </a:lnTo>
                  <a:lnTo>
                    <a:pt x="8921" y="1116"/>
                  </a:lnTo>
                  <a:lnTo>
                    <a:pt x="8823" y="1069"/>
                  </a:lnTo>
                  <a:lnTo>
                    <a:pt x="8654" y="1057"/>
                  </a:lnTo>
                  <a:lnTo>
                    <a:pt x="8578" y="1015"/>
                  </a:lnTo>
                  <a:lnTo>
                    <a:pt x="8473" y="1025"/>
                  </a:lnTo>
                  <a:lnTo>
                    <a:pt x="8397" y="1022"/>
                  </a:lnTo>
                  <a:lnTo>
                    <a:pt x="8364" y="997"/>
                  </a:lnTo>
                  <a:lnTo>
                    <a:pt x="8200" y="1002"/>
                  </a:lnTo>
                  <a:lnTo>
                    <a:pt x="8133" y="970"/>
                  </a:lnTo>
                  <a:lnTo>
                    <a:pt x="7974" y="1000"/>
                  </a:lnTo>
                  <a:lnTo>
                    <a:pt x="7950" y="968"/>
                  </a:lnTo>
                  <a:lnTo>
                    <a:pt x="7837" y="954"/>
                  </a:lnTo>
                  <a:lnTo>
                    <a:pt x="7617" y="1017"/>
                  </a:lnTo>
                  <a:lnTo>
                    <a:pt x="7514" y="1035"/>
                  </a:lnTo>
                  <a:lnTo>
                    <a:pt x="7239" y="1098"/>
                  </a:lnTo>
                  <a:lnTo>
                    <a:pt x="7226" y="1104"/>
                  </a:lnTo>
                  <a:lnTo>
                    <a:pt x="7130" y="1098"/>
                  </a:lnTo>
                  <a:lnTo>
                    <a:pt x="7057" y="1086"/>
                  </a:lnTo>
                  <a:lnTo>
                    <a:pt x="7065" y="1066"/>
                  </a:lnTo>
                  <a:lnTo>
                    <a:pt x="7189" y="1062"/>
                  </a:lnTo>
                  <a:lnTo>
                    <a:pt x="7368" y="1000"/>
                  </a:lnTo>
                  <a:lnTo>
                    <a:pt x="7370" y="988"/>
                  </a:lnTo>
                  <a:lnTo>
                    <a:pt x="7306" y="990"/>
                  </a:lnTo>
                  <a:lnTo>
                    <a:pt x="7214" y="983"/>
                  </a:lnTo>
                  <a:lnTo>
                    <a:pt x="7107" y="961"/>
                  </a:lnTo>
                  <a:lnTo>
                    <a:pt x="7020" y="917"/>
                  </a:lnTo>
                  <a:lnTo>
                    <a:pt x="7008" y="882"/>
                  </a:lnTo>
                  <a:lnTo>
                    <a:pt x="6924" y="890"/>
                  </a:lnTo>
                  <a:lnTo>
                    <a:pt x="6869" y="885"/>
                  </a:lnTo>
                  <a:lnTo>
                    <a:pt x="6847" y="869"/>
                  </a:lnTo>
                  <a:lnTo>
                    <a:pt x="6749" y="896"/>
                  </a:lnTo>
                  <a:lnTo>
                    <a:pt x="6685" y="902"/>
                  </a:lnTo>
                  <a:lnTo>
                    <a:pt x="6538" y="949"/>
                  </a:lnTo>
                  <a:lnTo>
                    <a:pt x="6462" y="978"/>
                  </a:lnTo>
                  <a:lnTo>
                    <a:pt x="6454" y="976"/>
                  </a:lnTo>
                  <a:cubicBezTo>
                    <a:pt x="7774" y="389"/>
                    <a:pt x="9229" y="54"/>
                    <a:pt x="10763" y="54"/>
                  </a:cubicBezTo>
                  <a:close/>
                  <a:moveTo>
                    <a:pt x="21158" y="13241"/>
                  </a:moveTo>
                  <a:lnTo>
                    <a:pt x="21200" y="13072"/>
                  </a:lnTo>
                  <a:lnTo>
                    <a:pt x="21227" y="12906"/>
                  </a:lnTo>
                  <a:lnTo>
                    <a:pt x="21250" y="12737"/>
                  </a:lnTo>
                  <a:lnTo>
                    <a:pt x="21239" y="12744"/>
                  </a:lnTo>
                  <a:lnTo>
                    <a:pt x="21212" y="12845"/>
                  </a:lnTo>
                  <a:lnTo>
                    <a:pt x="21202" y="12838"/>
                  </a:lnTo>
                  <a:lnTo>
                    <a:pt x="21197" y="12790"/>
                  </a:lnTo>
                  <a:lnTo>
                    <a:pt x="21183" y="12842"/>
                  </a:lnTo>
                  <a:lnTo>
                    <a:pt x="21158" y="12891"/>
                  </a:lnTo>
                  <a:lnTo>
                    <a:pt x="21177" y="12743"/>
                  </a:lnTo>
                  <a:lnTo>
                    <a:pt x="21143" y="12808"/>
                  </a:lnTo>
                  <a:lnTo>
                    <a:pt x="21115" y="12805"/>
                  </a:lnTo>
                  <a:lnTo>
                    <a:pt x="21069" y="12855"/>
                  </a:lnTo>
                  <a:lnTo>
                    <a:pt x="21018" y="13003"/>
                  </a:lnTo>
                  <a:lnTo>
                    <a:pt x="20959" y="13025"/>
                  </a:lnTo>
                  <a:lnTo>
                    <a:pt x="20922" y="13061"/>
                  </a:lnTo>
                  <a:lnTo>
                    <a:pt x="20870" y="13099"/>
                  </a:lnTo>
                  <a:lnTo>
                    <a:pt x="20802" y="13120"/>
                  </a:lnTo>
                  <a:lnTo>
                    <a:pt x="20698" y="13320"/>
                  </a:lnTo>
                  <a:lnTo>
                    <a:pt x="20654" y="13407"/>
                  </a:lnTo>
                  <a:lnTo>
                    <a:pt x="20668" y="13451"/>
                  </a:lnTo>
                  <a:lnTo>
                    <a:pt x="20753" y="13424"/>
                  </a:lnTo>
                  <a:lnTo>
                    <a:pt x="20807" y="13377"/>
                  </a:lnTo>
                  <a:lnTo>
                    <a:pt x="20847" y="13396"/>
                  </a:lnTo>
                  <a:lnTo>
                    <a:pt x="20905" y="13333"/>
                  </a:lnTo>
                  <a:lnTo>
                    <a:pt x="20930" y="13364"/>
                  </a:lnTo>
                  <a:lnTo>
                    <a:pt x="20949" y="13412"/>
                  </a:lnTo>
                  <a:lnTo>
                    <a:pt x="20997" y="13374"/>
                  </a:lnTo>
                  <a:lnTo>
                    <a:pt x="21033" y="13409"/>
                  </a:lnTo>
                  <a:lnTo>
                    <a:pt x="21051" y="13414"/>
                  </a:lnTo>
                  <a:lnTo>
                    <a:pt x="21081" y="13387"/>
                  </a:lnTo>
                  <a:lnTo>
                    <a:pt x="21093" y="13387"/>
                  </a:lnTo>
                  <a:lnTo>
                    <a:pt x="21138" y="13281"/>
                  </a:lnTo>
                  <a:lnTo>
                    <a:pt x="21158" y="13241"/>
                  </a:lnTo>
                  <a:close/>
                  <a:moveTo>
                    <a:pt x="11858" y="316"/>
                  </a:moveTo>
                  <a:lnTo>
                    <a:pt x="11856" y="327"/>
                  </a:lnTo>
                  <a:lnTo>
                    <a:pt x="11878" y="332"/>
                  </a:lnTo>
                  <a:lnTo>
                    <a:pt x="11933" y="330"/>
                  </a:lnTo>
                  <a:lnTo>
                    <a:pt x="11925" y="327"/>
                  </a:lnTo>
                  <a:lnTo>
                    <a:pt x="11898" y="320"/>
                  </a:lnTo>
                  <a:lnTo>
                    <a:pt x="11858" y="316"/>
                  </a:lnTo>
                  <a:close/>
                  <a:moveTo>
                    <a:pt x="11630" y="318"/>
                  </a:moveTo>
                  <a:lnTo>
                    <a:pt x="11616" y="320"/>
                  </a:lnTo>
                  <a:lnTo>
                    <a:pt x="11568" y="332"/>
                  </a:lnTo>
                  <a:lnTo>
                    <a:pt x="11578" y="335"/>
                  </a:lnTo>
                  <a:lnTo>
                    <a:pt x="11590" y="335"/>
                  </a:lnTo>
                  <a:lnTo>
                    <a:pt x="11650" y="338"/>
                  </a:lnTo>
                  <a:lnTo>
                    <a:pt x="11670" y="330"/>
                  </a:lnTo>
                  <a:lnTo>
                    <a:pt x="11677" y="328"/>
                  </a:lnTo>
                  <a:lnTo>
                    <a:pt x="11630" y="318"/>
                  </a:lnTo>
                  <a:close/>
                  <a:moveTo>
                    <a:pt x="11412" y="328"/>
                  </a:moveTo>
                  <a:lnTo>
                    <a:pt x="11419" y="333"/>
                  </a:lnTo>
                  <a:lnTo>
                    <a:pt x="11511" y="338"/>
                  </a:lnTo>
                  <a:lnTo>
                    <a:pt x="11498" y="332"/>
                  </a:lnTo>
                  <a:lnTo>
                    <a:pt x="11412" y="328"/>
                  </a:lnTo>
                  <a:close/>
                  <a:moveTo>
                    <a:pt x="11327" y="335"/>
                  </a:moveTo>
                  <a:lnTo>
                    <a:pt x="11282" y="340"/>
                  </a:lnTo>
                  <a:lnTo>
                    <a:pt x="11297" y="347"/>
                  </a:lnTo>
                  <a:lnTo>
                    <a:pt x="11355" y="353"/>
                  </a:lnTo>
                  <a:lnTo>
                    <a:pt x="11385" y="345"/>
                  </a:lnTo>
                  <a:lnTo>
                    <a:pt x="11404" y="342"/>
                  </a:lnTo>
                  <a:lnTo>
                    <a:pt x="11406" y="340"/>
                  </a:lnTo>
                  <a:lnTo>
                    <a:pt x="11389" y="335"/>
                  </a:lnTo>
                  <a:lnTo>
                    <a:pt x="11327" y="335"/>
                  </a:lnTo>
                  <a:close/>
                  <a:moveTo>
                    <a:pt x="11247" y="364"/>
                  </a:moveTo>
                  <a:lnTo>
                    <a:pt x="11180" y="369"/>
                  </a:lnTo>
                  <a:lnTo>
                    <a:pt x="11149" y="372"/>
                  </a:lnTo>
                  <a:lnTo>
                    <a:pt x="11121" y="377"/>
                  </a:lnTo>
                  <a:lnTo>
                    <a:pt x="11077" y="394"/>
                  </a:lnTo>
                  <a:lnTo>
                    <a:pt x="11081" y="397"/>
                  </a:lnTo>
                  <a:lnTo>
                    <a:pt x="11151" y="409"/>
                  </a:lnTo>
                  <a:lnTo>
                    <a:pt x="11208" y="419"/>
                  </a:lnTo>
                  <a:lnTo>
                    <a:pt x="11233" y="429"/>
                  </a:lnTo>
                  <a:lnTo>
                    <a:pt x="11277" y="423"/>
                  </a:lnTo>
                  <a:lnTo>
                    <a:pt x="11272" y="409"/>
                  </a:lnTo>
                  <a:lnTo>
                    <a:pt x="11298" y="392"/>
                  </a:lnTo>
                  <a:lnTo>
                    <a:pt x="11290" y="385"/>
                  </a:lnTo>
                  <a:lnTo>
                    <a:pt x="11258" y="377"/>
                  </a:lnTo>
                  <a:lnTo>
                    <a:pt x="11270" y="369"/>
                  </a:lnTo>
                  <a:lnTo>
                    <a:pt x="11260" y="364"/>
                  </a:lnTo>
                  <a:lnTo>
                    <a:pt x="11247" y="364"/>
                  </a:lnTo>
                  <a:close/>
                  <a:moveTo>
                    <a:pt x="10862" y="766"/>
                  </a:moveTo>
                  <a:lnTo>
                    <a:pt x="10759" y="791"/>
                  </a:lnTo>
                  <a:lnTo>
                    <a:pt x="10672" y="826"/>
                  </a:lnTo>
                  <a:lnTo>
                    <a:pt x="10716" y="848"/>
                  </a:lnTo>
                  <a:lnTo>
                    <a:pt x="10781" y="853"/>
                  </a:lnTo>
                  <a:lnTo>
                    <a:pt x="10835" y="842"/>
                  </a:lnTo>
                  <a:lnTo>
                    <a:pt x="10927" y="818"/>
                  </a:lnTo>
                  <a:lnTo>
                    <a:pt x="10913" y="784"/>
                  </a:lnTo>
                  <a:lnTo>
                    <a:pt x="10862" y="766"/>
                  </a:lnTo>
                  <a:close/>
                  <a:moveTo>
                    <a:pt x="8357" y="855"/>
                  </a:moveTo>
                  <a:lnTo>
                    <a:pt x="8315" y="869"/>
                  </a:lnTo>
                  <a:lnTo>
                    <a:pt x="8451" y="877"/>
                  </a:lnTo>
                  <a:lnTo>
                    <a:pt x="8481" y="946"/>
                  </a:lnTo>
                  <a:lnTo>
                    <a:pt x="8575" y="911"/>
                  </a:lnTo>
                  <a:lnTo>
                    <a:pt x="8630" y="902"/>
                  </a:lnTo>
                  <a:lnTo>
                    <a:pt x="8620" y="884"/>
                  </a:lnTo>
                  <a:lnTo>
                    <a:pt x="8578" y="867"/>
                  </a:lnTo>
                  <a:lnTo>
                    <a:pt x="8510" y="867"/>
                  </a:lnTo>
                  <a:lnTo>
                    <a:pt x="8446" y="855"/>
                  </a:lnTo>
                  <a:lnTo>
                    <a:pt x="8357" y="855"/>
                  </a:lnTo>
                  <a:close/>
                  <a:moveTo>
                    <a:pt x="7853" y="896"/>
                  </a:moveTo>
                  <a:lnTo>
                    <a:pt x="7730" y="933"/>
                  </a:lnTo>
                  <a:lnTo>
                    <a:pt x="7693" y="931"/>
                  </a:lnTo>
                  <a:lnTo>
                    <a:pt x="7572" y="959"/>
                  </a:lnTo>
                  <a:lnTo>
                    <a:pt x="7517" y="961"/>
                  </a:lnTo>
                  <a:lnTo>
                    <a:pt x="7308" y="1027"/>
                  </a:lnTo>
                  <a:lnTo>
                    <a:pt x="7262" y="1055"/>
                  </a:lnTo>
                  <a:lnTo>
                    <a:pt x="7345" y="1052"/>
                  </a:lnTo>
                  <a:lnTo>
                    <a:pt x="7480" y="1017"/>
                  </a:lnTo>
                  <a:lnTo>
                    <a:pt x="7564" y="1010"/>
                  </a:lnTo>
                  <a:lnTo>
                    <a:pt x="7624" y="1007"/>
                  </a:lnTo>
                  <a:lnTo>
                    <a:pt x="7731" y="970"/>
                  </a:lnTo>
                  <a:lnTo>
                    <a:pt x="7807" y="949"/>
                  </a:lnTo>
                  <a:lnTo>
                    <a:pt x="7932" y="914"/>
                  </a:lnTo>
                  <a:lnTo>
                    <a:pt x="7927" y="901"/>
                  </a:lnTo>
                  <a:lnTo>
                    <a:pt x="7853" y="896"/>
                  </a:lnTo>
                  <a:close/>
                  <a:moveTo>
                    <a:pt x="11991" y="1106"/>
                  </a:moveTo>
                  <a:lnTo>
                    <a:pt x="11930" y="1108"/>
                  </a:lnTo>
                  <a:lnTo>
                    <a:pt x="11925" y="1138"/>
                  </a:lnTo>
                  <a:lnTo>
                    <a:pt x="11993" y="1160"/>
                  </a:lnTo>
                  <a:lnTo>
                    <a:pt x="12089" y="1165"/>
                  </a:lnTo>
                  <a:lnTo>
                    <a:pt x="12045" y="1133"/>
                  </a:lnTo>
                  <a:lnTo>
                    <a:pt x="11991" y="1106"/>
                  </a:lnTo>
                  <a:close/>
                  <a:moveTo>
                    <a:pt x="12145" y="1424"/>
                  </a:moveTo>
                  <a:lnTo>
                    <a:pt x="12073" y="1426"/>
                  </a:lnTo>
                  <a:lnTo>
                    <a:pt x="12062" y="1434"/>
                  </a:lnTo>
                  <a:lnTo>
                    <a:pt x="12135" y="1464"/>
                  </a:lnTo>
                  <a:lnTo>
                    <a:pt x="12187" y="1503"/>
                  </a:lnTo>
                  <a:lnTo>
                    <a:pt x="12243" y="1507"/>
                  </a:lnTo>
                  <a:lnTo>
                    <a:pt x="12281" y="1537"/>
                  </a:lnTo>
                  <a:lnTo>
                    <a:pt x="12306" y="1507"/>
                  </a:lnTo>
                  <a:lnTo>
                    <a:pt x="12291" y="1495"/>
                  </a:lnTo>
                  <a:lnTo>
                    <a:pt x="12217" y="1480"/>
                  </a:lnTo>
                  <a:lnTo>
                    <a:pt x="12197" y="1458"/>
                  </a:lnTo>
                  <a:lnTo>
                    <a:pt x="12145" y="1424"/>
                  </a:lnTo>
                  <a:close/>
                  <a:moveTo>
                    <a:pt x="12350" y="1602"/>
                  </a:moveTo>
                  <a:lnTo>
                    <a:pt x="12306" y="1611"/>
                  </a:lnTo>
                  <a:lnTo>
                    <a:pt x="12249" y="1695"/>
                  </a:lnTo>
                  <a:lnTo>
                    <a:pt x="12124" y="1670"/>
                  </a:lnTo>
                  <a:lnTo>
                    <a:pt x="12028" y="1690"/>
                  </a:lnTo>
                  <a:lnTo>
                    <a:pt x="12119" y="1813"/>
                  </a:lnTo>
                  <a:lnTo>
                    <a:pt x="12296" y="1884"/>
                  </a:lnTo>
                  <a:lnTo>
                    <a:pt x="12326" y="1813"/>
                  </a:lnTo>
                  <a:lnTo>
                    <a:pt x="12356" y="1850"/>
                  </a:lnTo>
                  <a:lnTo>
                    <a:pt x="12311" y="1904"/>
                  </a:lnTo>
                  <a:lnTo>
                    <a:pt x="12415" y="2054"/>
                  </a:lnTo>
                  <a:lnTo>
                    <a:pt x="12507" y="2183"/>
                  </a:lnTo>
                  <a:lnTo>
                    <a:pt x="12554" y="2257"/>
                  </a:lnTo>
                  <a:lnTo>
                    <a:pt x="12676" y="2377"/>
                  </a:lnTo>
                  <a:lnTo>
                    <a:pt x="12795" y="2431"/>
                  </a:lnTo>
                  <a:lnTo>
                    <a:pt x="12934" y="2550"/>
                  </a:lnTo>
                  <a:lnTo>
                    <a:pt x="13004" y="2528"/>
                  </a:lnTo>
                  <a:lnTo>
                    <a:pt x="13028" y="2453"/>
                  </a:lnTo>
                  <a:lnTo>
                    <a:pt x="13128" y="2469"/>
                  </a:lnTo>
                  <a:lnTo>
                    <a:pt x="13123" y="2596"/>
                  </a:lnTo>
                  <a:lnTo>
                    <a:pt x="13230" y="2653"/>
                  </a:lnTo>
                  <a:lnTo>
                    <a:pt x="13299" y="2735"/>
                  </a:lnTo>
                  <a:lnTo>
                    <a:pt x="13386" y="2799"/>
                  </a:lnTo>
                  <a:lnTo>
                    <a:pt x="13473" y="2838"/>
                  </a:lnTo>
                  <a:lnTo>
                    <a:pt x="13491" y="2904"/>
                  </a:lnTo>
                  <a:lnTo>
                    <a:pt x="13393" y="2944"/>
                  </a:lnTo>
                  <a:lnTo>
                    <a:pt x="13372" y="3001"/>
                  </a:lnTo>
                  <a:lnTo>
                    <a:pt x="13431" y="3085"/>
                  </a:lnTo>
                  <a:lnTo>
                    <a:pt x="13609" y="3237"/>
                  </a:lnTo>
                  <a:lnTo>
                    <a:pt x="13587" y="3380"/>
                  </a:lnTo>
                  <a:lnTo>
                    <a:pt x="13527" y="3442"/>
                  </a:lnTo>
                  <a:lnTo>
                    <a:pt x="13662" y="3835"/>
                  </a:lnTo>
                  <a:lnTo>
                    <a:pt x="13761" y="3880"/>
                  </a:lnTo>
                  <a:lnTo>
                    <a:pt x="13898" y="3826"/>
                  </a:lnTo>
                  <a:lnTo>
                    <a:pt x="13912" y="3904"/>
                  </a:lnTo>
                  <a:lnTo>
                    <a:pt x="13973" y="3932"/>
                  </a:lnTo>
                  <a:lnTo>
                    <a:pt x="13960" y="4026"/>
                  </a:lnTo>
                  <a:lnTo>
                    <a:pt x="14037" y="4102"/>
                  </a:lnTo>
                  <a:lnTo>
                    <a:pt x="13987" y="4181"/>
                  </a:lnTo>
                  <a:lnTo>
                    <a:pt x="14181" y="4223"/>
                  </a:lnTo>
                  <a:lnTo>
                    <a:pt x="14134" y="4301"/>
                  </a:lnTo>
                  <a:lnTo>
                    <a:pt x="14012" y="4358"/>
                  </a:lnTo>
                  <a:lnTo>
                    <a:pt x="13933" y="4329"/>
                  </a:lnTo>
                  <a:lnTo>
                    <a:pt x="13826" y="4348"/>
                  </a:lnTo>
                  <a:lnTo>
                    <a:pt x="13749" y="4417"/>
                  </a:lnTo>
                  <a:lnTo>
                    <a:pt x="13764" y="4486"/>
                  </a:lnTo>
                  <a:lnTo>
                    <a:pt x="13747" y="4575"/>
                  </a:lnTo>
                  <a:lnTo>
                    <a:pt x="13883" y="4589"/>
                  </a:lnTo>
                  <a:lnTo>
                    <a:pt x="13873" y="4774"/>
                  </a:lnTo>
                  <a:lnTo>
                    <a:pt x="13789" y="4772"/>
                  </a:lnTo>
                  <a:lnTo>
                    <a:pt x="13761" y="4907"/>
                  </a:lnTo>
                  <a:lnTo>
                    <a:pt x="13786" y="4981"/>
                  </a:lnTo>
                  <a:lnTo>
                    <a:pt x="13831" y="5011"/>
                  </a:lnTo>
                  <a:lnTo>
                    <a:pt x="13714" y="5008"/>
                  </a:lnTo>
                  <a:lnTo>
                    <a:pt x="13744" y="5053"/>
                  </a:lnTo>
                  <a:lnTo>
                    <a:pt x="13692" y="5105"/>
                  </a:lnTo>
                  <a:lnTo>
                    <a:pt x="13659" y="5151"/>
                  </a:lnTo>
                  <a:lnTo>
                    <a:pt x="13610" y="5105"/>
                  </a:lnTo>
                  <a:lnTo>
                    <a:pt x="13523" y="4976"/>
                  </a:lnTo>
                  <a:lnTo>
                    <a:pt x="13473" y="4920"/>
                  </a:lnTo>
                  <a:lnTo>
                    <a:pt x="13379" y="4893"/>
                  </a:lnTo>
                  <a:lnTo>
                    <a:pt x="13309" y="4910"/>
                  </a:lnTo>
                  <a:lnTo>
                    <a:pt x="13213" y="4972"/>
                  </a:lnTo>
                  <a:lnTo>
                    <a:pt x="13195" y="5075"/>
                  </a:lnTo>
                  <a:lnTo>
                    <a:pt x="13232" y="5119"/>
                  </a:lnTo>
                  <a:lnTo>
                    <a:pt x="13141" y="5104"/>
                  </a:lnTo>
                  <a:lnTo>
                    <a:pt x="13095" y="5173"/>
                  </a:lnTo>
                  <a:lnTo>
                    <a:pt x="13063" y="5114"/>
                  </a:lnTo>
                  <a:lnTo>
                    <a:pt x="12991" y="5153"/>
                  </a:lnTo>
                  <a:lnTo>
                    <a:pt x="13041" y="5254"/>
                  </a:lnTo>
                  <a:lnTo>
                    <a:pt x="13105" y="5312"/>
                  </a:lnTo>
                  <a:lnTo>
                    <a:pt x="13177" y="5351"/>
                  </a:lnTo>
                  <a:lnTo>
                    <a:pt x="13150" y="5413"/>
                  </a:lnTo>
                  <a:lnTo>
                    <a:pt x="13208" y="5531"/>
                  </a:lnTo>
                  <a:lnTo>
                    <a:pt x="13157" y="5541"/>
                  </a:lnTo>
                  <a:lnTo>
                    <a:pt x="13128" y="5639"/>
                  </a:lnTo>
                  <a:lnTo>
                    <a:pt x="13167" y="5674"/>
                  </a:lnTo>
                  <a:lnTo>
                    <a:pt x="13136" y="5777"/>
                  </a:lnTo>
                  <a:lnTo>
                    <a:pt x="13173" y="5893"/>
                  </a:lnTo>
                  <a:lnTo>
                    <a:pt x="13150" y="5935"/>
                  </a:lnTo>
                  <a:lnTo>
                    <a:pt x="13224" y="6043"/>
                  </a:lnTo>
                  <a:lnTo>
                    <a:pt x="13326" y="6068"/>
                  </a:lnTo>
                  <a:lnTo>
                    <a:pt x="13287" y="6163"/>
                  </a:lnTo>
                  <a:lnTo>
                    <a:pt x="13212" y="6243"/>
                  </a:lnTo>
                  <a:lnTo>
                    <a:pt x="13188" y="6327"/>
                  </a:lnTo>
                  <a:lnTo>
                    <a:pt x="13346" y="6452"/>
                  </a:lnTo>
                  <a:lnTo>
                    <a:pt x="13495" y="6516"/>
                  </a:lnTo>
                  <a:lnTo>
                    <a:pt x="13351" y="6519"/>
                  </a:lnTo>
                  <a:lnTo>
                    <a:pt x="13284" y="6602"/>
                  </a:lnTo>
                  <a:lnTo>
                    <a:pt x="13275" y="6713"/>
                  </a:lnTo>
                  <a:lnTo>
                    <a:pt x="13389" y="6789"/>
                  </a:lnTo>
                  <a:lnTo>
                    <a:pt x="13322" y="6806"/>
                  </a:lnTo>
                  <a:lnTo>
                    <a:pt x="13210" y="6666"/>
                  </a:lnTo>
                  <a:lnTo>
                    <a:pt x="13116" y="6612"/>
                  </a:lnTo>
                  <a:lnTo>
                    <a:pt x="13101" y="6630"/>
                  </a:lnTo>
                  <a:lnTo>
                    <a:pt x="13203" y="6716"/>
                  </a:lnTo>
                  <a:lnTo>
                    <a:pt x="13220" y="6870"/>
                  </a:lnTo>
                  <a:lnTo>
                    <a:pt x="13379" y="6932"/>
                  </a:lnTo>
                  <a:lnTo>
                    <a:pt x="13473" y="7098"/>
                  </a:lnTo>
                  <a:lnTo>
                    <a:pt x="13555" y="7166"/>
                  </a:lnTo>
                  <a:lnTo>
                    <a:pt x="13615" y="7132"/>
                  </a:lnTo>
                  <a:lnTo>
                    <a:pt x="13679" y="7242"/>
                  </a:lnTo>
                  <a:lnTo>
                    <a:pt x="13779" y="7294"/>
                  </a:lnTo>
                  <a:lnTo>
                    <a:pt x="13798" y="7396"/>
                  </a:lnTo>
                  <a:lnTo>
                    <a:pt x="13848" y="7477"/>
                  </a:lnTo>
                  <a:lnTo>
                    <a:pt x="13823" y="7563"/>
                  </a:lnTo>
                  <a:lnTo>
                    <a:pt x="13846" y="7630"/>
                  </a:lnTo>
                  <a:lnTo>
                    <a:pt x="13768" y="7659"/>
                  </a:lnTo>
                  <a:lnTo>
                    <a:pt x="13694" y="7375"/>
                  </a:lnTo>
                  <a:lnTo>
                    <a:pt x="13632" y="7263"/>
                  </a:lnTo>
                  <a:lnTo>
                    <a:pt x="13503" y="7223"/>
                  </a:lnTo>
                  <a:lnTo>
                    <a:pt x="13341" y="7024"/>
                  </a:lnTo>
                  <a:lnTo>
                    <a:pt x="13239" y="6940"/>
                  </a:lnTo>
                  <a:lnTo>
                    <a:pt x="13172" y="6918"/>
                  </a:lnTo>
                  <a:lnTo>
                    <a:pt x="13108" y="6775"/>
                  </a:lnTo>
                  <a:lnTo>
                    <a:pt x="13029" y="6708"/>
                  </a:lnTo>
                  <a:lnTo>
                    <a:pt x="12892" y="6755"/>
                  </a:lnTo>
                  <a:lnTo>
                    <a:pt x="12885" y="6806"/>
                  </a:lnTo>
                  <a:lnTo>
                    <a:pt x="12966" y="6955"/>
                  </a:lnTo>
                  <a:lnTo>
                    <a:pt x="12987" y="7146"/>
                  </a:lnTo>
                  <a:lnTo>
                    <a:pt x="13024" y="7191"/>
                  </a:lnTo>
                  <a:lnTo>
                    <a:pt x="13138" y="7289"/>
                  </a:lnTo>
                  <a:lnTo>
                    <a:pt x="13177" y="7369"/>
                  </a:lnTo>
                  <a:lnTo>
                    <a:pt x="13247" y="7343"/>
                  </a:lnTo>
                  <a:lnTo>
                    <a:pt x="13274" y="7373"/>
                  </a:lnTo>
                  <a:lnTo>
                    <a:pt x="13386" y="7412"/>
                  </a:lnTo>
                  <a:lnTo>
                    <a:pt x="13413" y="7514"/>
                  </a:lnTo>
                  <a:lnTo>
                    <a:pt x="13095" y="7472"/>
                  </a:lnTo>
                  <a:lnTo>
                    <a:pt x="12989" y="7470"/>
                  </a:lnTo>
                  <a:lnTo>
                    <a:pt x="12802" y="7514"/>
                  </a:lnTo>
                  <a:lnTo>
                    <a:pt x="12805" y="7582"/>
                  </a:lnTo>
                  <a:lnTo>
                    <a:pt x="12919" y="7642"/>
                  </a:lnTo>
                  <a:lnTo>
                    <a:pt x="12919" y="7782"/>
                  </a:lnTo>
                  <a:lnTo>
                    <a:pt x="12797" y="7720"/>
                  </a:lnTo>
                  <a:lnTo>
                    <a:pt x="12746" y="7831"/>
                  </a:lnTo>
                  <a:lnTo>
                    <a:pt x="12638" y="7886"/>
                  </a:lnTo>
                  <a:lnTo>
                    <a:pt x="12621" y="7964"/>
                  </a:lnTo>
                  <a:lnTo>
                    <a:pt x="12536" y="7977"/>
                  </a:lnTo>
                  <a:lnTo>
                    <a:pt x="12549" y="7851"/>
                  </a:lnTo>
                  <a:lnTo>
                    <a:pt x="12499" y="7863"/>
                  </a:lnTo>
                  <a:lnTo>
                    <a:pt x="12345" y="8092"/>
                  </a:lnTo>
                  <a:lnTo>
                    <a:pt x="12238" y="8220"/>
                  </a:lnTo>
                  <a:lnTo>
                    <a:pt x="12261" y="8336"/>
                  </a:lnTo>
                  <a:lnTo>
                    <a:pt x="12167" y="8406"/>
                  </a:lnTo>
                  <a:lnTo>
                    <a:pt x="12094" y="8361"/>
                  </a:lnTo>
                  <a:lnTo>
                    <a:pt x="12062" y="8263"/>
                  </a:lnTo>
                  <a:lnTo>
                    <a:pt x="12140" y="8218"/>
                  </a:lnTo>
                  <a:lnTo>
                    <a:pt x="12070" y="8130"/>
                  </a:lnTo>
                  <a:lnTo>
                    <a:pt x="11869" y="8122"/>
                  </a:lnTo>
                  <a:lnTo>
                    <a:pt x="11950" y="8220"/>
                  </a:lnTo>
                  <a:lnTo>
                    <a:pt x="11946" y="8334"/>
                  </a:lnTo>
                  <a:lnTo>
                    <a:pt x="12035" y="8427"/>
                  </a:lnTo>
                  <a:lnTo>
                    <a:pt x="12028" y="8560"/>
                  </a:lnTo>
                  <a:lnTo>
                    <a:pt x="11943" y="8512"/>
                  </a:lnTo>
                  <a:lnTo>
                    <a:pt x="11874" y="8517"/>
                  </a:lnTo>
                  <a:lnTo>
                    <a:pt x="11742" y="8730"/>
                  </a:lnTo>
                  <a:lnTo>
                    <a:pt x="11822" y="8852"/>
                  </a:lnTo>
                  <a:lnTo>
                    <a:pt x="11765" y="8910"/>
                  </a:lnTo>
                  <a:lnTo>
                    <a:pt x="11556" y="8827"/>
                  </a:lnTo>
                  <a:lnTo>
                    <a:pt x="11514" y="8901"/>
                  </a:lnTo>
                  <a:lnTo>
                    <a:pt x="11576" y="8975"/>
                  </a:lnTo>
                  <a:lnTo>
                    <a:pt x="11581" y="9066"/>
                  </a:lnTo>
                  <a:lnTo>
                    <a:pt x="11511" y="9027"/>
                  </a:lnTo>
                  <a:lnTo>
                    <a:pt x="11399" y="8984"/>
                  </a:lnTo>
                  <a:lnTo>
                    <a:pt x="11355" y="8713"/>
                  </a:lnTo>
                  <a:lnTo>
                    <a:pt x="11218" y="8590"/>
                  </a:lnTo>
                  <a:lnTo>
                    <a:pt x="11268" y="8561"/>
                  </a:lnTo>
                  <a:lnTo>
                    <a:pt x="11620" y="8657"/>
                  </a:lnTo>
                  <a:lnTo>
                    <a:pt x="11732" y="8586"/>
                  </a:lnTo>
                  <a:lnTo>
                    <a:pt x="11791" y="8475"/>
                  </a:lnTo>
                  <a:lnTo>
                    <a:pt x="11759" y="8358"/>
                  </a:lnTo>
                  <a:lnTo>
                    <a:pt x="11685" y="8283"/>
                  </a:lnTo>
                  <a:lnTo>
                    <a:pt x="11392" y="8122"/>
                  </a:lnTo>
                  <a:lnTo>
                    <a:pt x="11206" y="8100"/>
                  </a:lnTo>
                  <a:lnTo>
                    <a:pt x="11089" y="7999"/>
                  </a:lnTo>
                  <a:lnTo>
                    <a:pt x="11027" y="8066"/>
                  </a:lnTo>
                  <a:lnTo>
                    <a:pt x="10950" y="7957"/>
                  </a:lnTo>
                  <a:lnTo>
                    <a:pt x="11027" y="7903"/>
                  </a:lnTo>
                  <a:lnTo>
                    <a:pt x="10830" y="7778"/>
                  </a:lnTo>
                  <a:lnTo>
                    <a:pt x="10721" y="7816"/>
                  </a:lnTo>
                  <a:lnTo>
                    <a:pt x="10609" y="7805"/>
                  </a:lnTo>
                  <a:lnTo>
                    <a:pt x="10507" y="7950"/>
                  </a:lnTo>
                  <a:lnTo>
                    <a:pt x="10403" y="7933"/>
                  </a:lnTo>
                  <a:lnTo>
                    <a:pt x="10256" y="7999"/>
                  </a:lnTo>
                  <a:lnTo>
                    <a:pt x="10040" y="8201"/>
                  </a:lnTo>
                  <a:lnTo>
                    <a:pt x="9899" y="8319"/>
                  </a:lnTo>
                  <a:lnTo>
                    <a:pt x="9651" y="8632"/>
                  </a:lnTo>
                  <a:lnTo>
                    <a:pt x="9449" y="8851"/>
                  </a:lnTo>
                  <a:lnTo>
                    <a:pt x="9241" y="8996"/>
                  </a:lnTo>
                  <a:lnTo>
                    <a:pt x="8983" y="9083"/>
                  </a:lnTo>
                  <a:lnTo>
                    <a:pt x="8870" y="9172"/>
                  </a:lnTo>
                  <a:lnTo>
                    <a:pt x="8756" y="9591"/>
                  </a:lnTo>
                  <a:lnTo>
                    <a:pt x="8726" y="9793"/>
                  </a:lnTo>
                  <a:lnTo>
                    <a:pt x="8824" y="9923"/>
                  </a:lnTo>
                  <a:lnTo>
                    <a:pt x="8960" y="9916"/>
                  </a:lnTo>
                  <a:lnTo>
                    <a:pt x="9198" y="9755"/>
                  </a:lnTo>
                  <a:lnTo>
                    <a:pt x="9233" y="9881"/>
                  </a:lnTo>
                  <a:lnTo>
                    <a:pt x="9244" y="10157"/>
                  </a:lnTo>
                  <a:lnTo>
                    <a:pt x="9281" y="10383"/>
                  </a:lnTo>
                  <a:lnTo>
                    <a:pt x="9278" y="10564"/>
                  </a:lnTo>
                  <a:lnTo>
                    <a:pt x="9400" y="10579"/>
                  </a:lnTo>
                  <a:lnTo>
                    <a:pt x="9484" y="10443"/>
                  </a:lnTo>
                  <a:lnTo>
                    <a:pt x="9606" y="10482"/>
                  </a:lnTo>
                  <a:lnTo>
                    <a:pt x="9690" y="10317"/>
                  </a:lnTo>
                  <a:lnTo>
                    <a:pt x="9775" y="10012"/>
                  </a:lnTo>
                  <a:lnTo>
                    <a:pt x="9881" y="9982"/>
                  </a:lnTo>
                  <a:lnTo>
                    <a:pt x="9994" y="9783"/>
                  </a:lnTo>
                  <a:lnTo>
                    <a:pt x="9921" y="9669"/>
                  </a:lnTo>
                  <a:lnTo>
                    <a:pt x="9876" y="9531"/>
                  </a:lnTo>
                  <a:lnTo>
                    <a:pt x="9978" y="9278"/>
                  </a:lnTo>
                  <a:lnTo>
                    <a:pt x="10160" y="9139"/>
                  </a:lnTo>
                  <a:lnTo>
                    <a:pt x="10304" y="9002"/>
                  </a:lnTo>
                  <a:lnTo>
                    <a:pt x="10302" y="8888"/>
                  </a:lnTo>
                  <a:lnTo>
                    <a:pt x="10388" y="8765"/>
                  </a:lnTo>
                  <a:lnTo>
                    <a:pt x="10523" y="8721"/>
                  </a:lnTo>
                  <a:lnTo>
                    <a:pt x="10627" y="8812"/>
                  </a:lnTo>
                  <a:lnTo>
                    <a:pt x="10632" y="8889"/>
                  </a:lnTo>
                  <a:lnTo>
                    <a:pt x="10579" y="8926"/>
                  </a:lnTo>
                  <a:lnTo>
                    <a:pt x="10383" y="9118"/>
                  </a:lnTo>
                  <a:lnTo>
                    <a:pt x="10297" y="9229"/>
                  </a:lnTo>
                  <a:lnTo>
                    <a:pt x="10247" y="9336"/>
                  </a:lnTo>
                  <a:lnTo>
                    <a:pt x="10276" y="9506"/>
                  </a:lnTo>
                  <a:lnTo>
                    <a:pt x="10240" y="9687"/>
                  </a:lnTo>
                  <a:lnTo>
                    <a:pt x="10324" y="9756"/>
                  </a:lnTo>
                  <a:lnTo>
                    <a:pt x="10371" y="9861"/>
                  </a:lnTo>
                  <a:lnTo>
                    <a:pt x="10525" y="9829"/>
                  </a:lnTo>
                  <a:lnTo>
                    <a:pt x="10691" y="9765"/>
                  </a:lnTo>
                  <a:lnTo>
                    <a:pt x="10858" y="9748"/>
                  </a:lnTo>
                  <a:lnTo>
                    <a:pt x="10957" y="9835"/>
                  </a:lnTo>
                  <a:lnTo>
                    <a:pt x="10851" y="9942"/>
                  </a:lnTo>
                  <a:lnTo>
                    <a:pt x="10754" y="9948"/>
                  </a:lnTo>
                  <a:lnTo>
                    <a:pt x="10651" y="9916"/>
                  </a:lnTo>
                  <a:lnTo>
                    <a:pt x="10532" y="9940"/>
                  </a:lnTo>
                  <a:lnTo>
                    <a:pt x="10408" y="9987"/>
                  </a:lnTo>
                  <a:lnTo>
                    <a:pt x="10411" y="10095"/>
                  </a:lnTo>
                  <a:lnTo>
                    <a:pt x="10470" y="10164"/>
                  </a:lnTo>
                  <a:lnTo>
                    <a:pt x="10507" y="10142"/>
                  </a:lnTo>
                  <a:lnTo>
                    <a:pt x="10492" y="10251"/>
                  </a:lnTo>
                  <a:lnTo>
                    <a:pt x="10465" y="10396"/>
                  </a:lnTo>
                  <a:lnTo>
                    <a:pt x="10384" y="10394"/>
                  </a:lnTo>
                  <a:lnTo>
                    <a:pt x="10312" y="10250"/>
                  </a:lnTo>
                  <a:lnTo>
                    <a:pt x="10214" y="10307"/>
                  </a:lnTo>
                  <a:lnTo>
                    <a:pt x="10153" y="10421"/>
                  </a:lnTo>
                  <a:lnTo>
                    <a:pt x="10138" y="10561"/>
                  </a:lnTo>
                  <a:lnTo>
                    <a:pt x="10147" y="10721"/>
                  </a:lnTo>
                  <a:lnTo>
                    <a:pt x="9994" y="10768"/>
                  </a:lnTo>
                  <a:lnTo>
                    <a:pt x="9963" y="10847"/>
                  </a:lnTo>
                  <a:lnTo>
                    <a:pt x="9859" y="10834"/>
                  </a:lnTo>
                  <a:lnTo>
                    <a:pt x="9855" y="10787"/>
                  </a:lnTo>
                  <a:lnTo>
                    <a:pt x="9753" y="10741"/>
                  </a:lnTo>
                  <a:lnTo>
                    <a:pt x="9609" y="10785"/>
                  </a:lnTo>
                  <a:lnTo>
                    <a:pt x="9429" y="10842"/>
                  </a:lnTo>
                  <a:lnTo>
                    <a:pt x="9345" y="10884"/>
                  </a:lnTo>
                  <a:lnTo>
                    <a:pt x="9306" y="10815"/>
                  </a:lnTo>
                  <a:lnTo>
                    <a:pt x="9201" y="10718"/>
                  </a:lnTo>
                  <a:lnTo>
                    <a:pt x="9131" y="10755"/>
                  </a:lnTo>
                  <a:lnTo>
                    <a:pt x="9015" y="10765"/>
                  </a:lnTo>
                  <a:lnTo>
                    <a:pt x="9032" y="10701"/>
                  </a:lnTo>
                  <a:lnTo>
                    <a:pt x="8936" y="10632"/>
                  </a:lnTo>
                  <a:lnTo>
                    <a:pt x="8952" y="10561"/>
                  </a:lnTo>
                  <a:lnTo>
                    <a:pt x="8947" y="10465"/>
                  </a:lnTo>
                  <a:lnTo>
                    <a:pt x="9050" y="10352"/>
                  </a:lnTo>
                  <a:lnTo>
                    <a:pt x="9075" y="10379"/>
                  </a:lnTo>
                  <a:lnTo>
                    <a:pt x="9117" y="10317"/>
                  </a:lnTo>
                  <a:lnTo>
                    <a:pt x="9070" y="10276"/>
                  </a:lnTo>
                  <a:lnTo>
                    <a:pt x="9070" y="10223"/>
                  </a:lnTo>
                  <a:lnTo>
                    <a:pt x="9114" y="10170"/>
                  </a:lnTo>
                  <a:lnTo>
                    <a:pt x="9141" y="10076"/>
                  </a:lnTo>
                  <a:lnTo>
                    <a:pt x="9050" y="10108"/>
                  </a:lnTo>
                  <a:lnTo>
                    <a:pt x="9003" y="10150"/>
                  </a:lnTo>
                  <a:lnTo>
                    <a:pt x="8915" y="10138"/>
                  </a:lnTo>
                  <a:lnTo>
                    <a:pt x="8873" y="10186"/>
                  </a:lnTo>
                  <a:lnTo>
                    <a:pt x="8843" y="10229"/>
                  </a:lnTo>
                  <a:lnTo>
                    <a:pt x="8794" y="10416"/>
                  </a:lnTo>
                  <a:lnTo>
                    <a:pt x="8808" y="10527"/>
                  </a:lnTo>
                  <a:lnTo>
                    <a:pt x="8786" y="10632"/>
                  </a:lnTo>
                  <a:lnTo>
                    <a:pt x="8791" y="10706"/>
                  </a:lnTo>
                  <a:lnTo>
                    <a:pt x="8697" y="10776"/>
                  </a:lnTo>
                  <a:lnTo>
                    <a:pt x="8687" y="10731"/>
                  </a:lnTo>
                  <a:lnTo>
                    <a:pt x="8598" y="10714"/>
                  </a:lnTo>
                  <a:lnTo>
                    <a:pt x="8567" y="10746"/>
                  </a:lnTo>
                  <a:lnTo>
                    <a:pt x="8481" y="10714"/>
                  </a:lnTo>
                  <a:lnTo>
                    <a:pt x="8315" y="10743"/>
                  </a:lnTo>
                  <a:lnTo>
                    <a:pt x="8140" y="10973"/>
                  </a:lnTo>
                  <a:lnTo>
                    <a:pt x="8069" y="11002"/>
                  </a:lnTo>
                  <a:lnTo>
                    <a:pt x="7971" y="11005"/>
                  </a:lnTo>
                  <a:lnTo>
                    <a:pt x="7865" y="11005"/>
                  </a:lnTo>
                  <a:lnTo>
                    <a:pt x="7783" y="11137"/>
                  </a:lnTo>
                  <a:lnTo>
                    <a:pt x="7482" y="11169"/>
                  </a:lnTo>
                  <a:lnTo>
                    <a:pt x="7410" y="11049"/>
                  </a:lnTo>
                  <a:lnTo>
                    <a:pt x="7366" y="11260"/>
                  </a:lnTo>
                  <a:lnTo>
                    <a:pt x="7204" y="11132"/>
                  </a:lnTo>
                  <a:lnTo>
                    <a:pt x="7052" y="11101"/>
                  </a:lnTo>
                  <a:lnTo>
                    <a:pt x="7008" y="11229"/>
                  </a:lnTo>
                  <a:lnTo>
                    <a:pt x="7147" y="11376"/>
                  </a:lnTo>
                  <a:lnTo>
                    <a:pt x="7194" y="11500"/>
                  </a:lnTo>
                  <a:lnTo>
                    <a:pt x="7242" y="11733"/>
                  </a:lnTo>
                  <a:lnTo>
                    <a:pt x="7095" y="12066"/>
                  </a:lnTo>
                  <a:lnTo>
                    <a:pt x="6996" y="12140"/>
                  </a:lnTo>
                  <a:lnTo>
                    <a:pt x="6809" y="12046"/>
                  </a:lnTo>
                  <a:lnTo>
                    <a:pt x="6708" y="12007"/>
                  </a:lnTo>
                  <a:lnTo>
                    <a:pt x="6598" y="11914"/>
                  </a:lnTo>
                  <a:lnTo>
                    <a:pt x="6444" y="11834"/>
                  </a:lnTo>
                  <a:lnTo>
                    <a:pt x="6320" y="11727"/>
                  </a:lnTo>
                  <a:lnTo>
                    <a:pt x="6111" y="11753"/>
                  </a:lnTo>
                  <a:lnTo>
                    <a:pt x="6124" y="11850"/>
                  </a:lnTo>
                  <a:lnTo>
                    <a:pt x="6066" y="11963"/>
                  </a:lnTo>
                  <a:lnTo>
                    <a:pt x="6046" y="12022"/>
                  </a:lnTo>
                  <a:lnTo>
                    <a:pt x="6042" y="12094"/>
                  </a:lnTo>
                  <a:lnTo>
                    <a:pt x="6015" y="12163"/>
                  </a:lnTo>
                  <a:lnTo>
                    <a:pt x="5948" y="12248"/>
                  </a:lnTo>
                  <a:lnTo>
                    <a:pt x="5912" y="12308"/>
                  </a:lnTo>
                  <a:lnTo>
                    <a:pt x="5840" y="12339"/>
                  </a:lnTo>
                  <a:lnTo>
                    <a:pt x="5784" y="12438"/>
                  </a:lnTo>
                  <a:lnTo>
                    <a:pt x="5786" y="12517"/>
                  </a:lnTo>
                  <a:lnTo>
                    <a:pt x="5833" y="12562"/>
                  </a:lnTo>
                  <a:lnTo>
                    <a:pt x="5804" y="12668"/>
                  </a:lnTo>
                  <a:lnTo>
                    <a:pt x="5734" y="12785"/>
                  </a:lnTo>
                  <a:lnTo>
                    <a:pt x="5803" y="12803"/>
                  </a:lnTo>
                  <a:lnTo>
                    <a:pt x="5860" y="12864"/>
                  </a:lnTo>
                  <a:lnTo>
                    <a:pt x="5925" y="12849"/>
                  </a:lnTo>
                  <a:lnTo>
                    <a:pt x="6030" y="12939"/>
                  </a:lnTo>
                  <a:lnTo>
                    <a:pt x="6030" y="13052"/>
                  </a:lnTo>
                  <a:lnTo>
                    <a:pt x="6057" y="13131"/>
                  </a:lnTo>
                  <a:lnTo>
                    <a:pt x="6116" y="13178"/>
                  </a:lnTo>
                  <a:lnTo>
                    <a:pt x="6186" y="13141"/>
                  </a:lnTo>
                  <a:lnTo>
                    <a:pt x="6287" y="13125"/>
                  </a:lnTo>
                  <a:lnTo>
                    <a:pt x="6409" y="13189"/>
                  </a:lnTo>
                  <a:lnTo>
                    <a:pt x="6574" y="13263"/>
                  </a:lnTo>
                  <a:lnTo>
                    <a:pt x="6708" y="13177"/>
                  </a:lnTo>
                  <a:lnTo>
                    <a:pt x="6817" y="13187"/>
                  </a:lnTo>
                  <a:lnTo>
                    <a:pt x="6881" y="13089"/>
                  </a:lnTo>
                  <a:lnTo>
                    <a:pt x="6980" y="13046"/>
                  </a:lnTo>
                  <a:lnTo>
                    <a:pt x="6959" y="12928"/>
                  </a:lnTo>
                  <a:lnTo>
                    <a:pt x="7053" y="12810"/>
                  </a:lnTo>
                  <a:lnTo>
                    <a:pt x="7160" y="12748"/>
                  </a:lnTo>
                  <a:lnTo>
                    <a:pt x="7191" y="12695"/>
                  </a:lnTo>
                  <a:lnTo>
                    <a:pt x="7365" y="12722"/>
                  </a:lnTo>
                  <a:lnTo>
                    <a:pt x="7519" y="12653"/>
                  </a:lnTo>
                  <a:lnTo>
                    <a:pt x="7542" y="12549"/>
                  </a:lnTo>
                  <a:lnTo>
                    <a:pt x="7587" y="12450"/>
                  </a:lnTo>
                  <a:lnTo>
                    <a:pt x="7786" y="12458"/>
                  </a:lnTo>
                  <a:lnTo>
                    <a:pt x="8024" y="12586"/>
                  </a:lnTo>
                  <a:lnTo>
                    <a:pt x="8163" y="12520"/>
                  </a:lnTo>
                  <a:lnTo>
                    <a:pt x="8220" y="12522"/>
                  </a:lnTo>
                  <a:lnTo>
                    <a:pt x="8314" y="12461"/>
                  </a:lnTo>
                  <a:lnTo>
                    <a:pt x="8377" y="12453"/>
                  </a:lnTo>
                  <a:lnTo>
                    <a:pt x="8468" y="12539"/>
                  </a:lnTo>
                  <a:lnTo>
                    <a:pt x="8528" y="12576"/>
                  </a:lnTo>
                  <a:lnTo>
                    <a:pt x="8531" y="12763"/>
                  </a:lnTo>
                  <a:lnTo>
                    <a:pt x="8602" y="12887"/>
                  </a:lnTo>
                  <a:lnTo>
                    <a:pt x="8702" y="13032"/>
                  </a:lnTo>
                  <a:lnTo>
                    <a:pt x="8794" y="13135"/>
                  </a:lnTo>
                  <a:lnTo>
                    <a:pt x="8893" y="13167"/>
                  </a:lnTo>
                  <a:lnTo>
                    <a:pt x="8941" y="13251"/>
                  </a:lnTo>
                  <a:lnTo>
                    <a:pt x="9027" y="13300"/>
                  </a:lnTo>
                  <a:lnTo>
                    <a:pt x="9057" y="13384"/>
                  </a:lnTo>
                  <a:lnTo>
                    <a:pt x="9112" y="13416"/>
                  </a:lnTo>
                  <a:lnTo>
                    <a:pt x="9142" y="13513"/>
                  </a:lnTo>
                  <a:lnTo>
                    <a:pt x="9184" y="13626"/>
                  </a:lnTo>
                  <a:lnTo>
                    <a:pt x="9149" y="13660"/>
                  </a:lnTo>
                  <a:lnTo>
                    <a:pt x="9107" y="13749"/>
                  </a:lnTo>
                  <a:lnTo>
                    <a:pt x="9101" y="13805"/>
                  </a:lnTo>
                  <a:lnTo>
                    <a:pt x="9162" y="13800"/>
                  </a:lnTo>
                  <a:lnTo>
                    <a:pt x="9258" y="13660"/>
                  </a:lnTo>
                  <a:lnTo>
                    <a:pt x="9318" y="13658"/>
                  </a:lnTo>
                  <a:lnTo>
                    <a:pt x="9347" y="13567"/>
                  </a:lnTo>
                  <a:lnTo>
                    <a:pt x="9251" y="13485"/>
                  </a:lnTo>
                  <a:lnTo>
                    <a:pt x="9325" y="13379"/>
                  </a:lnTo>
                  <a:lnTo>
                    <a:pt x="9444" y="13424"/>
                  </a:lnTo>
                  <a:lnTo>
                    <a:pt x="9512" y="13519"/>
                  </a:lnTo>
                  <a:lnTo>
                    <a:pt x="9546" y="13458"/>
                  </a:lnTo>
                  <a:lnTo>
                    <a:pt x="9534" y="13423"/>
                  </a:lnTo>
                  <a:lnTo>
                    <a:pt x="9424" y="13313"/>
                  </a:lnTo>
                  <a:lnTo>
                    <a:pt x="9328" y="13244"/>
                  </a:lnTo>
                  <a:lnTo>
                    <a:pt x="9213" y="13160"/>
                  </a:lnTo>
                  <a:lnTo>
                    <a:pt x="9256" y="13130"/>
                  </a:lnTo>
                  <a:lnTo>
                    <a:pt x="9228" y="13084"/>
                  </a:lnTo>
                  <a:lnTo>
                    <a:pt x="9121" y="13067"/>
                  </a:lnTo>
                  <a:lnTo>
                    <a:pt x="8993" y="12896"/>
                  </a:lnTo>
                  <a:lnTo>
                    <a:pt x="8950" y="12732"/>
                  </a:lnTo>
                  <a:lnTo>
                    <a:pt x="8843" y="12616"/>
                  </a:lnTo>
                  <a:lnTo>
                    <a:pt x="8818" y="12515"/>
                  </a:lnTo>
                  <a:lnTo>
                    <a:pt x="8843" y="12466"/>
                  </a:lnTo>
                  <a:lnTo>
                    <a:pt x="8853" y="12376"/>
                  </a:lnTo>
                  <a:lnTo>
                    <a:pt x="8967" y="12333"/>
                  </a:lnTo>
                  <a:lnTo>
                    <a:pt x="9064" y="12379"/>
                  </a:lnTo>
                  <a:lnTo>
                    <a:pt x="9032" y="12391"/>
                  </a:lnTo>
                  <a:lnTo>
                    <a:pt x="9027" y="12392"/>
                  </a:lnTo>
                  <a:lnTo>
                    <a:pt x="9013" y="12455"/>
                  </a:lnTo>
                  <a:lnTo>
                    <a:pt x="9042" y="12524"/>
                  </a:lnTo>
                  <a:lnTo>
                    <a:pt x="9094" y="12451"/>
                  </a:lnTo>
                  <a:lnTo>
                    <a:pt x="9172" y="12495"/>
                  </a:lnTo>
                  <a:lnTo>
                    <a:pt x="9166" y="12557"/>
                  </a:lnTo>
                  <a:lnTo>
                    <a:pt x="9214" y="12645"/>
                  </a:lnTo>
                  <a:lnTo>
                    <a:pt x="9186" y="12653"/>
                  </a:lnTo>
                  <a:lnTo>
                    <a:pt x="9278" y="12806"/>
                  </a:lnTo>
                  <a:lnTo>
                    <a:pt x="9393" y="12879"/>
                  </a:lnTo>
                  <a:lnTo>
                    <a:pt x="9464" y="12955"/>
                  </a:lnTo>
                  <a:lnTo>
                    <a:pt x="9584" y="13039"/>
                  </a:lnTo>
                  <a:lnTo>
                    <a:pt x="9640" y="13083"/>
                  </a:lnTo>
                  <a:lnTo>
                    <a:pt x="9671" y="13147"/>
                  </a:lnTo>
                  <a:lnTo>
                    <a:pt x="9700" y="13163"/>
                  </a:lnTo>
                  <a:lnTo>
                    <a:pt x="9720" y="13195"/>
                  </a:lnTo>
                  <a:lnTo>
                    <a:pt x="9696" y="13249"/>
                  </a:lnTo>
                  <a:lnTo>
                    <a:pt x="9673" y="13370"/>
                  </a:lnTo>
                  <a:lnTo>
                    <a:pt x="9678" y="13458"/>
                  </a:lnTo>
                  <a:lnTo>
                    <a:pt x="9752" y="13527"/>
                  </a:lnTo>
                  <a:lnTo>
                    <a:pt x="9752" y="13567"/>
                  </a:lnTo>
                  <a:lnTo>
                    <a:pt x="9775" y="13582"/>
                  </a:lnTo>
                  <a:lnTo>
                    <a:pt x="9780" y="13635"/>
                  </a:lnTo>
                  <a:lnTo>
                    <a:pt x="9847" y="13744"/>
                  </a:lnTo>
                  <a:lnTo>
                    <a:pt x="9897" y="13832"/>
                  </a:lnTo>
                  <a:lnTo>
                    <a:pt x="9916" y="13951"/>
                  </a:lnTo>
                  <a:lnTo>
                    <a:pt x="9963" y="14099"/>
                  </a:lnTo>
                  <a:lnTo>
                    <a:pt x="10081" y="14183"/>
                  </a:lnTo>
                  <a:lnTo>
                    <a:pt x="10180" y="14188"/>
                  </a:lnTo>
                  <a:lnTo>
                    <a:pt x="10132" y="14029"/>
                  </a:lnTo>
                  <a:lnTo>
                    <a:pt x="10225" y="14015"/>
                  </a:lnTo>
                  <a:lnTo>
                    <a:pt x="10185" y="13921"/>
                  </a:lnTo>
                  <a:lnTo>
                    <a:pt x="10321" y="13975"/>
                  </a:lnTo>
                  <a:lnTo>
                    <a:pt x="10323" y="13874"/>
                  </a:lnTo>
                  <a:lnTo>
                    <a:pt x="10251" y="13818"/>
                  </a:lnTo>
                  <a:lnTo>
                    <a:pt x="10174" y="13732"/>
                  </a:lnTo>
                  <a:lnTo>
                    <a:pt x="10230" y="13695"/>
                  </a:lnTo>
                  <a:lnTo>
                    <a:pt x="10162" y="13606"/>
                  </a:lnTo>
                  <a:lnTo>
                    <a:pt x="10135" y="13497"/>
                  </a:lnTo>
                  <a:lnTo>
                    <a:pt x="10163" y="13458"/>
                  </a:lnTo>
                  <a:lnTo>
                    <a:pt x="10235" y="13556"/>
                  </a:lnTo>
                  <a:lnTo>
                    <a:pt x="10314" y="13561"/>
                  </a:lnTo>
                  <a:lnTo>
                    <a:pt x="10388" y="13534"/>
                  </a:lnTo>
                  <a:lnTo>
                    <a:pt x="10292" y="13428"/>
                  </a:lnTo>
                  <a:lnTo>
                    <a:pt x="10466" y="13387"/>
                  </a:lnTo>
                  <a:lnTo>
                    <a:pt x="10538" y="13406"/>
                  </a:lnTo>
                  <a:lnTo>
                    <a:pt x="10626" y="13412"/>
                  </a:lnTo>
                  <a:lnTo>
                    <a:pt x="10622" y="13450"/>
                  </a:lnTo>
                  <a:lnTo>
                    <a:pt x="10667" y="13535"/>
                  </a:lnTo>
                  <a:lnTo>
                    <a:pt x="10786" y="13438"/>
                  </a:lnTo>
                  <a:lnTo>
                    <a:pt x="10846" y="13380"/>
                  </a:lnTo>
                  <a:lnTo>
                    <a:pt x="11014" y="13369"/>
                  </a:lnTo>
                  <a:lnTo>
                    <a:pt x="11037" y="13323"/>
                  </a:lnTo>
                  <a:lnTo>
                    <a:pt x="10915" y="13268"/>
                  </a:lnTo>
                  <a:lnTo>
                    <a:pt x="10897" y="13197"/>
                  </a:lnTo>
                  <a:lnTo>
                    <a:pt x="10851" y="13093"/>
                  </a:lnTo>
                  <a:lnTo>
                    <a:pt x="10900" y="12961"/>
                  </a:lnTo>
                  <a:lnTo>
                    <a:pt x="10969" y="12884"/>
                  </a:lnTo>
                  <a:lnTo>
                    <a:pt x="11002" y="12662"/>
                  </a:lnTo>
                  <a:lnTo>
                    <a:pt x="11042" y="12677"/>
                  </a:lnTo>
                  <a:lnTo>
                    <a:pt x="11106" y="12635"/>
                  </a:lnTo>
                  <a:lnTo>
                    <a:pt x="11101" y="12588"/>
                  </a:lnTo>
                  <a:lnTo>
                    <a:pt x="11196" y="12446"/>
                  </a:lnTo>
                  <a:lnTo>
                    <a:pt x="11240" y="12342"/>
                  </a:lnTo>
                  <a:lnTo>
                    <a:pt x="11357" y="12313"/>
                  </a:lnTo>
                  <a:lnTo>
                    <a:pt x="11370" y="12381"/>
                  </a:lnTo>
                  <a:lnTo>
                    <a:pt x="11575" y="12411"/>
                  </a:lnTo>
                  <a:lnTo>
                    <a:pt x="11615" y="12451"/>
                  </a:lnTo>
                  <a:lnTo>
                    <a:pt x="11496" y="12522"/>
                  </a:lnTo>
                  <a:lnTo>
                    <a:pt x="11474" y="12561"/>
                  </a:lnTo>
                  <a:lnTo>
                    <a:pt x="11622" y="12601"/>
                  </a:lnTo>
                  <a:lnTo>
                    <a:pt x="11600" y="12690"/>
                  </a:lnTo>
                  <a:lnTo>
                    <a:pt x="11677" y="12721"/>
                  </a:lnTo>
                  <a:lnTo>
                    <a:pt x="11846" y="12594"/>
                  </a:lnTo>
                  <a:lnTo>
                    <a:pt x="11985" y="12546"/>
                  </a:lnTo>
                  <a:lnTo>
                    <a:pt x="12003" y="12477"/>
                  </a:lnTo>
                  <a:lnTo>
                    <a:pt x="11873" y="12505"/>
                  </a:lnTo>
                  <a:lnTo>
                    <a:pt x="11804" y="12468"/>
                  </a:lnTo>
                  <a:lnTo>
                    <a:pt x="11786" y="12354"/>
                  </a:lnTo>
                  <a:lnTo>
                    <a:pt x="11888" y="12273"/>
                  </a:lnTo>
                  <a:lnTo>
                    <a:pt x="12005" y="12246"/>
                  </a:lnTo>
                  <a:lnTo>
                    <a:pt x="12080" y="12175"/>
                  </a:lnTo>
                  <a:lnTo>
                    <a:pt x="12179" y="12145"/>
                  </a:lnTo>
                  <a:lnTo>
                    <a:pt x="12286" y="12096"/>
                  </a:lnTo>
                  <a:lnTo>
                    <a:pt x="12296" y="12135"/>
                  </a:lnTo>
                  <a:lnTo>
                    <a:pt x="12122" y="12241"/>
                  </a:lnTo>
                  <a:lnTo>
                    <a:pt x="12202" y="12301"/>
                  </a:lnTo>
                  <a:lnTo>
                    <a:pt x="12117" y="12472"/>
                  </a:lnTo>
                  <a:lnTo>
                    <a:pt x="12027" y="12515"/>
                  </a:lnTo>
                  <a:lnTo>
                    <a:pt x="12154" y="12606"/>
                  </a:lnTo>
                  <a:lnTo>
                    <a:pt x="12311" y="12650"/>
                  </a:lnTo>
                  <a:lnTo>
                    <a:pt x="12504" y="12773"/>
                  </a:lnTo>
                  <a:lnTo>
                    <a:pt x="12561" y="12820"/>
                  </a:lnTo>
                  <a:lnTo>
                    <a:pt x="12638" y="12825"/>
                  </a:lnTo>
                  <a:lnTo>
                    <a:pt x="12726" y="12875"/>
                  </a:lnTo>
                  <a:lnTo>
                    <a:pt x="12782" y="12992"/>
                  </a:lnTo>
                  <a:lnTo>
                    <a:pt x="12775" y="13072"/>
                  </a:lnTo>
                  <a:lnTo>
                    <a:pt x="12629" y="13199"/>
                  </a:lnTo>
                  <a:lnTo>
                    <a:pt x="12509" y="13205"/>
                  </a:lnTo>
                  <a:lnTo>
                    <a:pt x="12351" y="13261"/>
                  </a:lnTo>
                  <a:lnTo>
                    <a:pt x="12144" y="13222"/>
                  </a:lnTo>
                  <a:lnTo>
                    <a:pt x="11889" y="13126"/>
                  </a:lnTo>
                  <a:lnTo>
                    <a:pt x="11662" y="13153"/>
                  </a:lnTo>
                  <a:lnTo>
                    <a:pt x="11504" y="13219"/>
                  </a:lnTo>
                  <a:lnTo>
                    <a:pt x="11342" y="13349"/>
                  </a:lnTo>
                  <a:lnTo>
                    <a:pt x="11074" y="13337"/>
                  </a:lnTo>
                  <a:lnTo>
                    <a:pt x="11017" y="13476"/>
                  </a:lnTo>
                  <a:lnTo>
                    <a:pt x="10798" y="13487"/>
                  </a:lnTo>
                  <a:lnTo>
                    <a:pt x="10639" y="13660"/>
                  </a:lnTo>
                  <a:lnTo>
                    <a:pt x="10731" y="13746"/>
                  </a:lnTo>
                  <a:lnTo>
                    <a:pt x="10659" y="13885"/>
                  </a:lnTo>
                  <a:lnTo>
                    <a:pt x="10766" y="13985"/>
                  </a:lnTo>
                  <a:lnTo>
                    <a:pt x="10855" y="14162"/>
                  </a:lnTo>
                  <a:lnTo>
                    <a:pt x="11019" y="14156"/>
                  </a:lnTo>
                  <a:lnTo>
                    <a:pt x="11166" y="14246"/>
                  </a:lnTo>
                  <a:lnTo>
                    <a:pt x="11270" y="14220"/>
                  </a:lnTo>
                  <a:lnTo>
                    <a:pt x="11302" y="14145"/>
                  </a:lnTo>
                  <a:lnTo>
                    <a:pt x="11462" y="14141"/>
                  </a:lnTo>
                  <a:lnTo>
                    <a:pt x="11590" y="14227"/>
                  </a:lnTo>
                  <a:lnTo>
                    <a:pt x="11816" y="14187"/>
                  </a:lnTo>
                  <a:lnTo>
                    <a:pt x="11909" y="14074"/>
                  </a:lnTo>
                  <a:lnTo>
                    <a:pt x="12038" y="14099"/>
                  </a:lnTo>
                  <a:lnTo>
                    <a:pt x="12127" y="14074"/>
                  </a:lnTo>
                  <a:lnTo>
                    <a:pt x="12077" y="14146"/>
                  </a:lnTo>
                  <a:lnTo>
                    <a:pt x="12140" y="14219"/>
                  </a:lnTo>
                  <a:lnTo>
                    <a:pt x="12110" y="14296"/>
                  </a:lnTo>
                  <a:lnTo>
                    <a:pt x="12137" y="14429"/>
                  </a:lnTo>
                  <a:lnTo>
                    <a:pt x="12135" y="14434"/>
                  </a:lnTo>
                  <a:lnTo>
                    <a:pt x="12070" y="14567"/>
                  </a:lnTo>
                  <a:lnTo>
                    <a:pt x="12027" y="14715"/>
                  </a:lnTo>
                  <a:lnTo>
                    <a:pt x="12023" y="14717"/>
                  </a:lnTo>
                  <a:lnTo>
                    <a:pt x="12005" y="14762"/>
                  </a:lnTo>
                  <a:lnTo>
                    <a:pt x="11983" y="14897"/>
                  </a:lnTo>
                  <a:lnTo>
                    <a:pt x="11948" y="14981"/>
                  </a:lnTo>
                  <a:lnTo>
                    <a:pt x="11960" y="14990"/>
                  </a:lnTo>
                  <a:lnTo>
                    <a:pt x="11916" y="15050"/>
                  </a:lnTo>
                  <a:lnTo>
                    <a:pt x="11842" y="15102"/>
                  </a:lnTo>
                  <a:lnTo>
                    <a:pt x="11717" y="15104"/>
                  </a:lnTo>
                  <a:lnTo>
                    <a:pt x="11586" y="15074"/>
                  </a:lnTo>
                  <a:lnTo>
                    <a:pt x="11553" y="15131"/>
                  </a:lnTo>
                  <a:lnTo>
                    <a:pt x="11506" y="15050"/>
                  </a:lnTo>
                  <a:lnTo>
                    <a:pt x="11392" y="15035"/>
                  </a:lnTo>
                  <a:lnTo>
                    <a:pt x="11252" y="15057"/>
                  </a:lnTo>
                  <a:lnTo>
                    <a:pt x="11188" y="15109"/>
                  </a:lnTo>
                  <a:lnTo>
                    <a:pt x="11094" y="15153"/>
                  </a:lnTo>
                  <a:lnTo>
                    <a:pt x="11118" y="15111"/>
                  </a:lnTo>
                  <a:lnTo>
                    <a:pt x="11121" y="15101"/>
                  </a:lnTo>
                  <a:lnTo>
                    <a:pt x="11153" y="15059"/>
                  </a:lnTo>
                  <a:lnTo>
                    <a:pt x="11143" y="14991"/>
                  </a:lnTo>
                  <a:lnTo>
                    <a:pt x="11069" y="15008"/>
                  </a:lnTo>
                  <a:lnTo>
                    <a:pt x="11024" y="15059"/>
                  </a:lnTo>
                  <a:lnTo>
                    <a:pt x="10989" y="15116"/>
                  </a:lnTo>
                  <a:lnTo>
                    <a:pt x="10982" y="15141"/>
                  </a:lnTo>
                  <a:lnTo>
                    <a:pt x="10831" y="15094"/>
                  </a:lnTo>
                  <a:lnTo>
                    <a:pt x="10679" y="15049"/>
                  </a:lnTo>
                  <a:lnTo>
                    <a:pt x="10466" y="15047"/>
                  </a:lnTo>
                  <a:lnTo>
                    <a:pt x="10430" y="14990"/>
                  </a:lnTo>
                  <a:lnTo>
                    <a:pt x="10272" y="14964"/>
                  </a:lnTo>
                  <a:lnTo>
                    <a:pt x="10222" y="14932"/>
                  </a:lnTo>
                  <a:lnTo>
                    <a:pt x="10163" y="14929"/>
                  </a:lnTo>
                  <a:lnTo>
                    <a:pt x="10113" y="14848"/>
                  </a:lnTo>
                  <a:lnTo>
                    <a:pt x="9902" y="14798"/>
                  </a:lnTo>
                  <a:lnTo>
                    <a:pt x="9794" y="14813"/>
                  </a:lnTo>
                  <a:lnTo>
                    <a:pt x="9676" y="14884"/>
                  </a:lnTo>
                  <a:lnTo>
                    <a:pt x="9621" y="14961"/>
                  </a:lnTo>
                  <a:lnTo>
                    <a:pt x="9648" y="15096"/>
                  </a:lnTo>
                  <a:lnTo>
                    <a:pt x="9566" y="15166"/>
                  </a:lnTo>
                  <a:lnTo>
                    <a:pt x="9486" y="15202"/>
                  </a:lnTo>
                  <a:lnTo>
                    <a:pt x="9323" y="15096"/>
                  </a:lnTo>
                  <a:lnTo>
                    <a:pt x="9107" y="14995"/>
                  </a:lnTo>
                  <a:lnTo>
                    <a:pt x="8970" y="14939"/>
                  </a:lnTo>
                  <a:lnTo>
                    <a:pt x="8915" y="14776"/>
                  </a:lnTo>
                  <a:lnTo>
                    <a:pt x="8719" y="14661"/>
                  </a:lnTo>
                  <a:lnTo>
                    <a:pt x="8595" y="14608"/>
                  </a:lnTo>
                  <a:lnTo>
                    <a:pt x="8530" y="14609"/>
                  </a:lnTo>
                  <a:lnTo>
                    <a:pt x="8361" y="14512"/>
                  </a:lnTo>
                  <a:lnTo>
                    <a:pt x="8307" y="14471"/>
                  </a:lnTo>
                  <a:lnTo>
                    <a:pt x="8284" y="14382"/>
                  </a:lnTo>
                  <a:lnTo>
                    <a:pt x="8207" y="14360"/>
                  </a:lnTo>
                  <a:lnTo>
                    <a:pt x="8195" y="14259"/>
                  </a:lnTo>
                  <a:lnTo>
                    <a:pt x="8307" y="14197"/>
                  </a:lnTo>
                  <a:lnTo>
                    <a:pt x="8352" y="14052"/>
                  </a:lnTo>
                  <a:lnTo>
                    <a:pt x="8309" y="13997"/>
                  </a:lnTo>
                  <a:lnTo>
                    <a:pt x="8325" y="13917"/>
                  </a:lnTo>
                  <a:lnTo>
                    <a:pt x="8413" y="13848"/>
                  </a:lnTo>
                  <a:lnTo>
                    <a:pt x="8407" y="13813"/>
                  </a:lnTo>
                  <a:lnTo>
                    <a:pt x="8274" y="13848"/>
                  </a:lnTo>
                  <a:lnTo>
                    <a:pt x="8295" y="13761"/>
                  </a:lnTo>
                  <a:lnTo>
                    <a:pt x="8200" y="13715"/>
                  </a:lnTo>
                  <a:lnTo>
                    <a:pt x="8031" y="13744"/>
                  </a:lnTo>
                  <a:lnTo>
                    <a:pt x="7932" y="13727"/>
                  </a:lnTo>
                  <a:lnTo>
                    <a:pt x="7884" y="13670"/>
                  </a:lnTo>
                  <a:lnTo>
                    <a:pt x="7733" y="13626"/>
                  </a:lnTo>
                  <a:lnTo>
                    <a:pt x="7587" y="13651"/>
                  </a:lnTo>
                  <a:lnTo>
                    <a:pt x="7522" y="13603"/>
                  </a:lnTo>
                  <a:lnTo>
                    <a:pt x="7291" y="13537"/>
                  </a:lnTo>
                  <a:lnTo>
                    <a:pt x="7052" y="13480"/>
                  </a:lnTo>
                  <a:lnTo>
                    <a:pt x="6908" y="13478"/>
                  </a:lnTo>
                  <a:lnTo>
                    <a:pt x="6802" y="13512"/>
                  </a:lnTo>
                  <a:lnTo>
                    <a:pt x="6648" y="13478"/>
                  </a:lnTo>
                  <a:lnTo>
                    <a:pt x="6491" y="13512"/>
                  </a:lnTo>
                  <a:lnTo>
                    <a:pt x="6434" y="13483"/>
                  </a:lnTo>
                  <a:lnTo>
                    <a:pt x="6308" y="13380"/>
                  </a:lnTo>
                  <a:lnTo>
                    <a:pt x="6181" y="13330"/>
                  </a:lnTo>
                  <a:lnTo>
                    <a:pt x="6128" y="13221"/>
                  </a:lnTo>
                  <a:lnTo>
                    <a:pt x="6034" y="13172"/>
                  </a:lnTo>
                  <a:lnTo>
                    <a:pt x="5957" y="13249"/>
                  </a:lnTo>
                  <a:lnTo>
                    <a:pt x="5811" y="13369"/>
                  </a:lnTo>
                  <a:lnTo>
                    <a:pt x="5692" y="13380"/>
                  </a:lnTo>
                  <a:lnTo>
                    <a:pt x="5537" y="13379"/>
                  </a:lnTo>
                  <a:lnTo>
                    <a:pt x="5414" y="13438"/>
                  </a:lnTo>
                  <a:lnTo>
                    <a:pt x="5368" y="13508"/>
                  </a:lnTo>
                  <a:lnTo>
                    <a:pt x="5269" y="13613"/>
                  </a:lnTo>
                  <a:lnTo>
                    <a:pt x="5230" y="13827"/>
                  </a:lnTo>
                  <a:lnTo>
                    <a:pt x="5076" y="13887"/>
                  </a:lnTo>
                  <a:lnTo>
                    <a:pt x="4996" y="13885"/>
                  </a:lnTo>
                  <a:lnTo>
                    <a:pt x="4857" y="13924"/>
                  </a:lnTo>
                  <a:lnTo>
                    <a:pt x="4731" y="13860"/>
                  </a:lnTo>
                  <a:lnTo>
                    <a:pt x="4644" y="13875"/>
                  </a:lnTo>
                  <a:lnTo>
                    <a:pt x="4507" y="13970"/>
                  </a:lnTo>
                  <a:lnTo>
                    <a:pt x="4403" y="13963"/>
                  </a:lnTo>
                  <a:lnTo>
                    <a:pt x="4325" y="14020"/>
                  </a:lnTo>
                  <a:lnTo>
                    <a:pt x="4295" y="14096"/>
                  </a:lnTo>
                  <a:lnTo>
                    <a:pt x="4229" y="14156"/>
                  </a:lnTo>
                  <a:lnTo>
                    <a:pt x="4179" y="14148"/>
                  </a:lnTo>
                  <a:lnTo>
                    <a:pt x="4077" y="14187"/>
                  </a:lnTo>
                  <a:lnTo>
                    <a:pt x="3998" y="14254"/>
                  </a:lnTo>
                  <a:lnTo>
                    <a:pt x="3990" y="14308"/>
                  </a:lnTo>
                  <a:lnTo>
                    <a:pt x="3923" y="14350"/>
                  </a:lnTo>
                  <a:lnTo>
                    <a:pt x="3863" y="14350"/>
                  </a:lnTo>
                  <a:lnTo>
                    <a:pt x="3834" y="14411"/>
                  </a:lnTo>
                  <a:lnTo>
                    <a:pt x="3809" y="14465"/>
                  </a:lnTo>
                  <a:lnTo>
                    <a:pt x="3856" y="14577"/>
                  </a:lnTo>
                  <a:lnTo>
                    <a:pt x="3868" y="14670"/>
                  </a:lnTo>
                  <a:lnTo>
                    <a:pt x="3833" y="14729"/>
                  </a:lnTo>
                  <a:lnTo>
                    <a:pt x="3827" y="14810"/>
                  </a:lnTo>
                  <a:lnTo>
                    <a:pt x="3802" y="14956"/>
                  </a:lnTo>
                  <a:lnTo>
                    <a:pt x="3749" y="15071"/>
                  </a:lnTo>
                  <a:lnTo>
                    <a:pt x="3695" y="15109"/>
                  </a:lnTo>
                  <a:lnTo>
                    <a:pt x="3687" y="15190"/>
                  </a:lnTo>
                  <a:lnTo>
                    <a:pt x="3638" y="15234"/>
                  </a:lnTo>
                  <a:lnTo>
                    <a:pt x="3551" y="15278"/>
                  </a:lnTo>
                  <a:lnTo>
                    <a:pt x="3488" y="15257"/>
                  </a:lnTo>
                  <a:lnTo>
                    <a:pt x="3541" y="15355"/>
                  </a:lnTo>
                  <a:lnTo>
                    <a:pt x="3571" y="15500"/>
                  </a:lnTo>
                  <a:lnTo>
                    <a:pt x="3541" y="15544"/>
                  </a:lnTo>
                  <a:lnTo>
                    <a:pt x="3541" y="15660"/>
                  </a:lnTo>
                  <a:lnTo>
                    <a:pt x="3543" y="15693"/>
                  </a:lnTo>
                  <a:lnTo>
                    <a:pt x="3578" y="15752"/>
                  </a:lnTo>
                  <a:lnTo>
                    <a:pt x="3573" y="15771"/>
                  </a:lnTo>
                  <a:lnTo>
                    <a:pt x="3596" y="15831"/>
                  </a:lnTo>
                  <a:lnTo>
                    <a:pt x="3652" y="15882"/>
                  </a:lnTo>
                  <a:lnTo>
                    <a:pt x="3714" y="15990"/>
                  </a:lnTo>
                  <a:lnTo>
                    <a:pt x="3749" y="16040"/>
                  </a:lnTo>
                  <a:lnTo>
                    <a:pt x="3764" y="16082"/>
                  </a:lnTo>
                  <a:lnTo>
                    <a:pt x="3769" y="16150"/>
                  </a:lnTo>
                  <a:lnTo>
                    <a:pt x="3799" y="16200"/>
                  </a:lnTo>
                  <a:lnTo>
                    <a:pt x="3833" y="16240"/>
                  </a:lnTo>
                  <a:lnTo>
                    <a:pt x="3879" y="16328"/>
                  </a:lnTo>
                  <a:lnTo>
                    <a:pt x="3930" y="16446"/>
                  </a:lnTo>
                  <a:lnTo>
                    <a:pt x="3933" y="16548"/>
                  </a:lnTo>
                  <a:lnTo>
                    <a:pt x="3951" y="16611"/>
                  </a:lnTo>
                  <a:lnTo>
                    <a:pt x="4018" y="16725"/>
                  </a:lnTo>
                  <a:lnTo>
                    <a:pt x="4115" y="16843"/>
                  </a:lnTo>
                  <a:lnTo>
                    <a:pt x="4154" y="16878"/>
                  </a:lnTo>
                  <a:lnTo>
                    <a:pt x="4243" y="17020"/>
                  </a:lnTo>
                  <a:lnTo>
                    <a:pt x="4363" y="17163"/>
                  </a:lnTo>
                  <a:lnTo>
                    <a:pt x="4492" y="17336"/>
                  </a:lnTo>
                  <a:lnTo>
                    <a:pt x="4643" y="17483"/>
                  </a:lnTo>
                  <a:lnTo>
                    <a:pt x="4683" y="17505"/>
                  </a:lnTo>
                  <a:lnTo>
                    <a:pt x="4713" y="17525"/>
                  </a:lnTo>
                  <a:lnTo>
                    <a:pt x="4869" y="17567"/>
                  </a:lnTo>
                  <a:lnTo>
                    <a:pt x="4979" y="17592"/>
                  </a:lnTo>
                  <a:lnTo>
                    <a:pt x="5167" y="17668"/>
                  </a:lnTo>
                  <a:lnTo>
                    <a:pt x="5269" y="17717"/>
                  </a:lnTo>
                  <a:lnTo>
                    <a:pt x="5379" y="17794"/>
                  </a:lnTo>
                  <a:lnTo>
                    <a:pt x="5453" y="17829"/>
                  </a:lnTo>
                  <a:lnTo>
                    <a:pt x="5595" y="17929"/>
                  </a:lnTo>
                  <a:lnTo>
                    <a:pt x="5744" y="17961"/>
                  </a:lnTo>
                  <a:lnTo>
                    <a:pt x="5838" y="17961"/>
                  </a:lnTo>
                  <a:lnTo>
                    <a:pt x="6104" y="17998"/>
                  </a:lnTo>
                  <a:lnTo>
                    <a:pt x="6240" y="18025"/>
                  </a:lnTo>
                  <a:lnTo>
                    <a:pt x="6380" y="18063"/>
                  </a:lnTo>
                  <a:lnTo>
                    <a:pt x="6531" y="18119"/>
                  </a:lnTo>
                  <a:lnTo>
                    <a:pt x="6658" y="18161"/>
                  </a:lnTo>
                  <a:lnTo>
                    <a:pt x="6775" y="18282"/>
                  </a:lnTo>
                  <a:lnTo>
                    <a:pt x="6827" y="18388"/>
                  </a:lnTo>
                  <a:lnTo>
                    <a:pt x="6918" y="18491"/>
                  </a:lnTo>
                  <a:lnTo>
                    <a:pt x="7057" y="18538"/>
                  </a:lnTo>
                  <a:lnTo>
                    <a:pt x="7125" y="18531"/>
                  </a:lnTo>
                  <a:lnTo>
                    <a:pt x="7191" y="18558"/>
                  </a:lnTo>
                  <a:lnTo>
                    <a:pt x="7376" y="18567"/>
                  </a:lnTo>
                  <a:lnTo>
                    <a:pt x="7373" y="18599"/>
                  </a:lnTo>
                  <a:lnTo>
                    <a:pt x="7416" y="18629"/>
                  </a:lnTo>
                  <a:lnTo>
                    <a:pt x="7452" y="18691"/>
                  </a:lnTo>
                  <a:lnTo>
                    <a:pt x="7532" y="18732"/>
                  </a:lnTo>
                  <a:lnTo>
                    <a:pt x="7599" y="18826"/>
                  </a:lnTo>
                  <a:lnTo>
                    <a:pt x="7570" y="18908"/>
                  </a:lnTo>
                  <a:lnTo>
                    <a:pt x="7507" y="19018"/>
                  </a:lnTo>
                  <a:lnTo>
                    <a:pt x="7540" y="19043"/>
                  </a:lnTo>
                  <a:lnTo>
                    <a:pt x="7504" y="19114"/>
                  </a:lnTo>
                  <a:lnTo>
                    <a:pt x="7462" y="19181"/>
                  </a:lnTo>
                  <a:lnTo>
                    <a:pt x="7423" y="19205"/>
                  </a:lnTo>
                  <a:lnTo>
                    <a:pt x="7416" y="19237"/>
                  </a:lnTo>
                  <a:lnTo>
                    <a:pt x="7527" y="19373"/>
                  </a:lnTo>
                  <a:lnTo>
                    <a:pt x="7646" y="19486"/>
                  </a:lnTo>
                  <a:lnTo>
                    <a:pt x="7833" y="19629"/>
                  </a:lnTo>
                  <a:lnTo>
                    <a:pt x="7986" y="19764"/>
                  </a:lnTo>
                  <a:lnTo>
                    <a:pt x="8036" y="19843"/>
                  </a:lnTo>
                  <a:lnTo>
                    <a:pt x="8063" y="19876"/>
                  </a:lnTo>
                  <a:lnTo>
                    <a:pt x="8048" y="19891"/>
                  </a:lnTo>
                  <a:lnTo>
                    <a:pt x="8140" y="19966"/>
                  </a:lnTo>
                  <a:lnTo>
                    <a:pt x="8181" y="20033"/>
                  </a:lnTo>
                  <a:lnTo>
                    <a:pt x="8242" y="20125"/>
                  </a:lnTo>
                  <a:lnTo>
                    <a:pt x="8190" y="20147"/>
                  </a:lnTo>
                  <a:lnTo>
                    <a:pt x="8181" y="20162"/>
                  </a:lnTo>
                  <a:lnTo>
                    <a:pt x="8230" y="20220"/>
                  </a:lnTo>
                  <a:lnTo>
                    <a:pt x="8282" y="20279"/>
                  </a:lnTo>
                  <a:lnTo>
                    <a:pt x="8337" y="20317"/>
                  </a:lnTo>
                  <a:lnTo>
                    <a:pt x="8352" y="20361"/>
                  </a:lnTo>
                  <a:lnTo>
                    <a:pt x="8339" y="20413"/>
                  </a:lnTo>
                  <a:lnTo>
                    <a:pt x="8287" y="20435"/>
                  </a:lnTo>
                  <a:lnTo>
                    <a:pt x="8192" y="20460"/>
                  </a:lnTo>
                  <a:lnTo>
                    <a:pt x="8155" y="20481"/>
                  </a:lnTo>
                  <a:lnTo>
                    <a:pt x="8108" y="20529"/>
                  </a:lnTo>
                  <a:lnTo>
                    <a:pt x="8103" y="20556"/>
                  </a:lnTo>
                  <a:lnTo>
                    <a:pt x="8054" y="20602"/>
                  </a:lnTo>
                  <a:lnTo>
                    <a:pt x="8043" y="20651"/>
                  </a:lnTo>
                  <a:lnTo>
                    <a:pt x="8068" y="20691"/>
                  </a:lnTo>
                  <a:lnTo>
                    <a:pt x="8089" y="20738"/>
                  </a:lnTo>
                  <a:lnTo>
                    <a:pt x="8243" y="20821"/>
                  </a:lnTo>
                  <a:lnTo>
                    <a:pt x="8290" y="20861"/>
                  </a:lnTo>
                  <a:lnTo>
                    <a:pt x="8399" y="20938"/>
                  </a:lnTo>
                  <a:lnTo>
                    <a:pt x="8500" y="20994"/>
                  </a:lnTo>
                  <a:lnTo>
                    <a:pt x="8572" y="21024"/>
                  </a:lnTo>
                  <a:lnTo>
                    <a:pt x="8602" y="21051"/>
                  </a:lnTo>
                  <a:lnTo>
                    <a:pt x="8625" y="21098"/>
                  </a:lnTo>
                  <a:lnTo>
                    <a:pt x="8705" y="21162"/>
                  </a:lnTo>
                  <a:lnTo>
                    <a:pt x="8759" y="21193"/>
                  </a:lnTo>
                  <a:lnTo>
                    <a:pt x="8811" y="21228"/>
                  </a:lnTo>
                  <a:lnTo>
                    <a:pt x="8888" y="21257"/>
                  </a:lnTo>
                  <a:lnTo>
                    <a:pt x="9020" y="21294"/>
                  </a:lnTo>
                  <a:lnTo>
                    <a:pt x="9157" y="21337"/>
                  </a:lnTo>
                  <a:lnTo>
                    <a:pt x="9249" y="21363"/>
                  </a:lnTo>
                  <a:lnTo>
                    <a:pt x="9368" y="21390"/>
                  </a:lnTo>
                  <a:lnTo>
                    <a:pt x="9383" y="21398"/>
                  </a:lnTo>
                  <a:lnTo>
                    <a:pt x="9337" y="21393"/>
                  </a:lnTo>
                  <a:lnTo>
                    <a:pt x="9397" y="21405"/>
                  </a:lnTo>
                  <a:lnTo>
                    <a:pt x="9405" y="21408"/>
                  </a:lnTo>
                  <a:lnTo>
                    <a:pt x="9430" y="21411"/>
                  </a:lnTo>
                  <a:lnTo>
                    <a:pt x="9435" y="21411"/>
                  </a:lnTo>
                  <a:lnTo>
                    <a:pt x="9507" y="21422"/>
                  </a:lnTo>
                  <a:lnTo>
                    <a:pt x="9559" y="21427"/>
                  </a:lnTo>
                  <a:lnTo>
                    <a:pt x="9629" y="21435"/>
                  </a:lnTo>
                  <a:lnTo>
                    <a:pt x="9698" y="21442"/>
                  </a:lnTo>
                  <a:lnTo>
                    <a:pt x="9787" y="21450"/>
                  </a:lnTo>
                  <a:lnTo>
                    <a:pt x="9917" y="21460"/>
                  </a:lnTo>
                  <a:lnTo>
                    <a:pt x="10073" y="21470"/>
                  </a:lnTo>
                  <a:lnTo>
                    <a:pt x="10137" y="21475"/>
                  </a:lnTo>
                  <a:lnTo>
                    <a:pt x="10230" y="21479"/>
                  </a:lnTo>
                  <a:lnTo>
                    <a:pt x="10400" y="21487"/>
                  </a:lnTo>
                  <a:lnTo>
                    <a:pt x="10475" y="21489"/>
                  </a:lnTo>
                  <a:lnTo>
                    <a:pt x="10570" y="21492"/>
                  </a:lnTo>
                  <a:lnTo>
                    <a:pt x="10589" y="21491"/>
                  </a:lnTo>
                  <a:lnTo>
                    <a:pt x="10669" y="21491"/>
                  </a:lnTo>
                  <a:lnTo>
                    <a:pt x="10831" y="21489"/>
                  </a:lnTo>
                  <a:lnTo>
                    <a:pt x="10950" y="21486"/>
                  </a:lnTo>
                  <a:lnTo>
                    <a:pt x="11064" y="21477"/>
                  </a:lnTo>
                  <a:lnTo>
                    <a:pt x="11248" y="21460"/>
                  </a:lnTo>
                  <a:lnTo>
                    <a:pt x="11342" y="21445"/>
                  </a:lnTo>
                  <a:lnTo>
                    <a:pt x="11391" y="21435"/>
                  </a:lnTo>
                  <a:lnTo>
                    <a:pt x="11462" y="21422"/>
                  </a:lnTo>
                  <a:lnTo>
                    <a:pt x="11496" y="21417"/>
                  </a:lnTo>
                  <a:lnTo>
                    <a:pt x="11610" y="21400"/>
                  </a:lnTo>
                  <a:lnTo>
                    <a:pt x="11657" y="21386"/>
                  </a:lnTo>
                  <a:lnTo>
                    <a:pt x="11682" y="21366"/>
                  </a:lnTo>
                  <a:lnTo>
                    <a:pt x="11730" y="21342"/>
                  </a:lnTo>
                  <a:lnTo>
                    <a:pt x="11749" y="21327"/>
                  </a:lnTo>
                  <a:lnTo>
                    <a:pt x="11707" y="21329"/>
                  </a:lnTo>
                  <a:lnTo>
                    <a:pt x="11695" y="21317"/>
                  </a:lnTo>
                  <a:lnTo>
                    <a:pt x="11772" y="21300"/>
                  </a:lnTo>
                  <a:lnTo>
                    <a:pt x="11980" y="21263"/>
                  </a:lnTo>
                  <a:lnTo>
                    <a:pt x="12122" y="21236"/>
                  </a:lnTo>
                  <a:lnTo>
                    <a:pt x="12196" y="21215"/>
                  </a:lnTo>
                  <a:lnTo>
                    <a:pt x="12226" y="21196"/>
                  </a:lnTo>
                  <a:lnTo>
                    <a:pt x="12187" y="21194"/>
                  </a:lnTo>
                  <a:lnTo>
                    <a:pt x="12221" y="21174"/>
                  </a:lnTo>
                  <a:lnTo>
                    <a:pt x="12236" y="21134"/>
                  </a:lnTo>
                  <a:lnTo>
                    <a:pt x="12204" y="21139"/>
                  </a:lnTo>
                  <a:lnTo>
                    <a:pt x="12206" y="21127"/>
                  </a:lnTo>
                  <a:lnTo>
                    <a:pt x="12177" y="21105"/>
                  </a:lnTo>
                  <a:lnTo>
                    <a:pt x="12102" y="21080"/>
                  </a:lnTo>
                  <a:lnTo>
                    <a:pt x="12124" y="21043"/>
                  </a:lnTo>
                  <a:lnTo>
                    <a:pt x="12197" y="21023"/>
                  </a:lnTo>
                  <a:lnTo>
                    <a:pt x="12325" y="20972"/>
                  </a:lnTo>
                  <a:lnTo>
                    <a:pt x="12395" y="20954"/>
                  </a:lnTo>
                  <a:lnTo>
                    <a:pt x="12602" y="20866"/>
                  </a:lnTo>
                  <a:lnTo>
                    <a:pt x="12805" y="20807"/>
                  </a:lnTo>
                  <a:lnTo>
                    <a:pt x="12969" y="20757"/>
                  </a:lnTo>
                  <a:lnTo>
                    <a:pt x="13088" y="20698"/>
                  </a:lnTo>
                  <a:lnTo>
                    <a:pt x="13163" y="20641"/>
                  </a:lnTo>
                  <a:lnTo>
                    <a:pt x="13224" y="20585"/>
                  </a:lnTo>
                  <a:lnTo>
                    <a:pt x="13198" y="20558"/>
                  </a:lnTo>
                  <a:lnTo>
                    <a:pt x="13207" y="20450"/>
                  </a:lnTo>
                  <a:lnTo>
                    <a:pt x="13193" y="20390"/>
                  </a:lnTo>
                  <a:lnTo>
                    <a:pt x="13208" y="20314"/>
                  </a:lnTo>
                  <a:lnTo>
                    <a:pt x="13183" y="20284"/>
                  </a:lnTo>
                  <a:lnTo>
                    <a:pt x="13120" y="20280"/>
                  </a:lnTo>
                  <a:lnTo>
                    <a:pt x="13051" y="20215"/>
                  </a:lnTo>
                  <a:lnTo>
                    <a:pt x="12993" y="20173"/>
                  </a:lnTo>
                  <a:lnTo>
                    <a:pt x="13008" y="20130"/>
                  </a:lnTo>
                  <a:lnTo>
                    <a:pt x="12999" y="20107"/>
                  </a:lnTo>
                  <a:lnTo>
                    <a:pt x="13051" y="20045"/>
                  </a:lnTo>
                  <a:lnTo>
                    <a:pt x="13048" y="20023"/>
                  </a:lnTo>
                  <a:lnTo>
                    <a:pt x="12932" y="20011"/>
                  </a:lnTo>
                  <a:lnTo>
                    <a:pt x="12924" y="19962"/>
                  </a:lnTo>
                  <a:lnTo>
                    <a:pt x="13013" y="19833"/>
                  </a:lnTo>
                  <a:lnTo>
                    <a:pt x="13086" y="19789"/>
                  </a:lnTo>
                  <a:lnTo>
                    <a:pt x="13125" y="19718"/>
                  </a:lnTo>
                  <a:lnTo>
                    <a:pt x="13183" y="19668"/>
                  </a:lnTo>
                  <a:lnTo>
                    <a:pt x="13210" y="19592"/>
                  </a:lnTo>
                  <a:lnTo>
                    <a:pt x="13279" y="19572"/>
                  </a:lnTo>
                  <a:lnTo>
                    <a:pt x="13324" y="19521"/>
                  </a:lnTo>
                  <a:lnTo>
                    <a:pt x="13451" y="19454"/>
                  </a:lnTo>
                  <a:lnTo>
                    <a:pt x="13493" y="19420"/>
                  </a:lnTo>
                  <a:lnTo>
                    <a:pt x="13535" y="19356"/>
                  </a:lnTo>
                  <a:lnTo>
                    <a:pt x="13732" y="19183"/>
                  </a:lnTo>
                  <a:lnTo>
                    <a:pt x="13898" y="19058"/>
                  </a:lnTo>
                  <a:lnTo>
                    <a:pt x="14163" y="18878"/>
                  </a:lnTo>
                  <a:lnTo>
                    <a:pt x="14337" y="18737"/>
                  </a:lnTo>
                  <a:lnTo>
                    <a:pt x="14538" y="18516"/>
                  </a:lnTo>
                  <a:lnTo>
                    <a:pt x="14680" y="18336"/>
                  </a:lnTo>
                  <a:lnTo>
                    <a:pt x="14817" y="18109"/>
                  </a:lnTo>
                  <a:lnTo>
                    <a:pt x="14909" y="17914"/>
                  </a:lnTo>
                  <a:lnTo>
                    <a:pt x="14980" y="17744"/>
                  </a:lnTo>
                  <a:lnTo>
                    <a:pt x="15013" y="17587"/>
                  </a:lnTo>
                  <a:lnTo>
                    <a:pt x="15043" y="17526"/>
                  </a:lnTo>
                  <a:lnTo>
                    <a:pt x="15035" y="17457"/>
                  </a:lnTo>
                  <a:lnTo>
                    <a:pt x="15041" y="17375"/>
                  </a:lnTo>
                  <a:lnTo>
                    <a:pt x="15035" y="17340"/>
                  </a:lnTo>
                  <a:lnTo>
                    <a:pt x="14971" y="17363"/>
                  </a:lnTo>
                  <a:lnTo>
                    <a:pt x="14897" y="17437"/>
                  </a:lnTo>
                  <a:lnTo>
                    <a:pt x="14809" y="17483"/>
                  </a:lnTo>
                  <a:lnTo>
                    <a:pt x="14733" y="17528"/>
                  </a:lnTo>
                  <a:lnTo>
                    <a:pt x="14680" y="17548"/>
                  </a:lnTo>
                  <a:lnTo>
                    <a:pt x="14583" y="17585"/>
                  </a:lnTo>
                  <a:lnTo>
                    <a:pt x="14524" y="17629"/>
                  </a:lnTo>
                  <a:lnTo>
                    <a:pt x="14440" y="17664"/>
                  </a:lnTo>
                  <a:lnTo>
                    <a:pt x="14292" y="17752"/>
                  </a:lnTo>
                  <a:lnTo>
                    <a:pt x="14104" y="17821"/>
                  </a:lnTo>
                  <a:lnTo>
                    <a:pt x="13943" y="17898"/>
                  </a:lnTo>
                  <a:lnTo>
                    <a:pt x="13856" y="17920"/>
                  </a:lnTo>
                  <a:lnTo>
                    <a:pt x="13773" y="17885"/>
                  </a:lnTo>
                  <a:lnTo>
                    <a:pt x="13734" y="17838"/>
                  </a:lnTo>
                  <a:lnTo>
                    <a:pt x="13675" y="17828"/>
                  </a:lnTo>
                  <a:lnTo>
                    <a:pt x="13597" y="17809"/>
                  </a:lnTo>
                  <a:lnTo>
                    <a:pt x="13694" y="17752"/>
                  </a:lnTo>
                  <a:lnTo>
                    <a:pt x="13696" y="17695"/>
                  </a:lnTo>
                  <a:lnTo>
                    <a:pt x="13650" y="17663"/>
                  </a:lnTo>
                  <a:lnTo>
                    <a:pt x="13560" y="17641"/>
                  </a:lnTo>
                  <a:lnTo>
                    <a:pt x="13501" y="17607"/>
                  </a:lnTo>
                  <a:lnTo>
                    <a:pt x="13401" y="17548"/>
                  </a:lnTo>
                  <a:lnTo>
                    <a:pt x="13297" y="17488"/>
                  </a:lnTo>
                  <a:lnTo>
                    <a:pt x="13046" y="17402"/>
                  </a:lnTo>
                  <a:lnTo>
                    <a:pt x="12946" y="17350"/>
                  </a:lnTo>
                  <a:lnTo>
                    <a:pt x="12887" y="17225"/>
                  </a:lnTo>
                  <a:lnTo>
                    <a:pt x="12772" y="17072"/>
                  </a:lnTo>
                  <a:lnTo>
                    <a:pt x="12673" y="17033"/>
                  </a:lnTo>
                  <a:lnTo>
                    <a:pt x="12604" y="17006"/>
                  </a:lnTo>
                  <a:lnTo>
                    <a:pt x="12527" y="16836"/>
                  </a:lnTo>
                  <a:lnTo>
                    <a:pt x="12490" y="16683"/>
                  </a:lnTo>
                  <a:lnTo>
                    <a:pt x="12525" y="16649"/>
                  </a:lnTo>
                  <a:lnTo>
                    <a:pt x="12459" y="16505"/>
                  </a:lnTo>
                  <a:lnTo>
                    <a:pt x="12427" y="16478"/>
                  </a:lnTo>
                  <a:lnTo>
                    <a:pt x="12219" y="16363"/>
                  </a:lnTo>
                  <a:lnTo>
                    <a:pt x="12206" y="16261"/>
                  </a:lnTo>
                  <a:lnTo>
                    <a:pt x="12238" y="16229"/>
                  </a:lnTo>
                  <a:lnTo>
                    <a:pt x="12073" y="16069"/>
                  </a:lnTo>
                  <a:lnTo>
                    <a:pt x="12015" y="15983"/>
                  </a:lnTo>
                  <a:lnTo>
                    <a:pt x="11948" y="15902"/>
                  </a:lnTo>
                  <a:lnTo>
                    <a:pt x="11807" y="15658"/>
                  </a:lnTo>
                  <a:lnTo>
                    <a:pt x="11697" y="15498"/>
                  </a:lnTo>
                  <a:lnTo>
                    <a:pt x="11620" y="15326"/>
                  </a:lnTo>
                  <a:lnTo>
                    <a:pt x="11637" y="15310"/>
                  </a:lnTo>
                  <a:lnTo>
                    <a:pt x="11765" y="15542"/>
                  </a:lnTo>
                  <a:lnTo>
                    <a:pt x="11844" y="15609"/>
                  </a:lnTo>
                  <a:lnTo>
                    <a:pt x="11901" y="15656"/>
                  </a:lnTo>
                  <a:lnTo>
                    <a:pt x="11938" y="15624"/>
                  </a:lnTo>
                  <a:lnTo>
                    <a:pt x="11976" y="15533"/>
                  </a:lnTo>
                  <a:lnTo>
                    <a:pt x="12003" y="15402"/>
                  </a:lnTo>
                  <a:lnTo>
                    <a:pt x="12043" y="15330"/>
                  </a:lnTo>
                  <a:lnTo>
                    <a:pt x="12050" y="15353"/>
                  </a:lnTo>
                  <a:lnTo>
                    <a:pt x="12035" y="15424"/>
                  </a:lnTo>
                  <a:lnTo>
                    <a:pt x="12032" y="15483"/>
                  </a:lnTo>
                  <a:lnTo>
                    <a:pt x="12013" y="15577"/>
                  </a:lnTo>
                  <a:lnTo>
                    <a:pt x="12095" y="15567"/>
                  </a:lnTo>
                  <a:lnTo>
                    <a:pt x="12187" y="15670"/>
                  </a:lnTo>
                  <a:lnTo>
                    <a:pt x="12298" y="15789"/>
                  </a:lnTo>
                  <a:lnTo>
                    <a:pt x="12373" y="15902"/>
                  </a:lnTo>
                  <a:lnTo>
                    <a:pt x="12423" y="15931"/>
                  </a:lnTo>
                  <a:lnTo>
                    <a:pt x="12477" y="16008"/>
                  </a:lnTo>
                  <a:lnTo>
                    <a:pt x="12472" y="16045"/>
                  </a:lnTo>
                  <a:lnTo>
                    <a:pt x="12534" y="16129"/>
                  </a:lnTo>
                  <a:lnTo>
                    <a:pt x="12628" y="16148"/>
                  </a:lnTo>
                  <a:lnTo>
                    <a:pt x="12711" y="16197"/>
                  </a:lnTo>
                  <a:lnTo>
                    <a:pt x="12825" y="16355"/>
                  </a:lnTo>
                  <a:lnTo>
                    <a:pt x="12827" y="16449"/>
                  </a:lnTo>
                  <a:lnTo>
                    <a:pt x="12855" y="16553"/>
                  </a:lnTo>
                  <a:lnTo>
                    <a:pt x="12982" y="16678"/>
                  </a:lnTo>
                  <a:lnTo>
                    <a:pt x="13061" y="16688"/>
                  </a:lnTo>
                  <a:lnTo>
                    <a:pt x="13190" y="16769"/>
                  </a:lnTo>
                  <a:lnTo>
                    <a:pt x="13250" y="16882"/>
                  </a:lnTo>
                  <a:lnTo>
                    <a:pt x="13354" y="16986"/>
                  </a:lnTo>
                  <a:lnTo>
                    <a:pt x="13448" y="17018"/>
                  </a:lnTo>
                  <a:lnTo>
                    <a:pt x="13466" y="17074"/>
                  </a:lnTo>
                  <a:lnTo>
                    <a:pt x="13523" y="17106"/>
                  </a:lnTo>
                  <a:lnTo>
                    <a:pt x="13552" y="17163"/>
                  </a:lnTo>
                  <a:lnTo>
                    <a:pt x="13565" y="17223"/>
                  </a:lnTo>
                  <a:lnTo>
                    <a:pt x="13547" y="17255"/>
                  </a:lnTo>
                  <a:lnTo>
                    <a:pt x="13570" y="17316"/>
                  </a:lnTo>
                  <a:lnTo>
                    <a:pt x="13537" y="17331"/>
                  </a:lnTo>
                  <a:lnTo>
                    <a:pt x="13592" y="17378"/>
                  </a:lnTo>
                  <a:lnTo>
                    <a:pt x="13635" y="17474"/>
                  </a:lnTo>
                  <a:lnTo>
                    <a:pt x="13667" y="17508"/>
                  </a:lnTo>
                  <a:lnTo>
                    <a:pt x="13669" y="17585"/>
                  </a:lnTo>
                  <a:lnTo>
                    <a:pt x="13721" y="17654"/>
                  </a:lnTo>
                  <a:lnTo>
                    <a:pt x="13843" y="17631"/>
                  </a:lnTo>
                  <a:lnTo>
                    <a:pt x="13896" y="17599"/>
                  </a:lnTo>
                  <a:lnTo>
                    <a:pt x="13983" y="17579"/>
                  </a:lnTo>
                  <a:lnTo>
                    <a:pt x="14007" y="17537"/>
                  </a:lnTo>
                  <a:lnTo>
                    <a:pt x="14050" y="17515"/>
                  </a:lnTo>
                  <a:lnTo>
                    <a:pt x="14086" y="17468"/>
                  </a:lnTo>
                  <a:lnTo>
                    <a:pt x="14127" y="17447"/>
                  </a:lnTo>
                  <a:lnTo>
                    <a:pt x="14271" y="17399"/>
                  </a:lnTo>
                  <a:lnTo>
                    <a:pt x="14377" y="17340"/>
                  </a:lnTo>
                  <a:lnTo>
                    <a:pt x="14469" y="17252"/>
                  </a:lnTo>
                  <a:lnTo>
                    <a:pt x="14521" y="17244"/>
                  </a:lnTo>
                  <a:lnTo>
                    <a:pt x="14595" y="17212"/>
                  </a:lnTo>
                  <a:lnTo>
                    <a:pt x="14732" y="17064"/>
                  </a:lnTo>
                  <a:lnTo>
                    <a:pt x="14988" y="16905"/>
                  </a:lnTo>
                  <a:lnTo>
                    <a:pt x="15142" y="16784"/>
                  </a:lnTo>
                  <a:lnTo>
                    <a:pt x="15139" y="16735"/>
                  </a:lnTo>
                  <a:lnTo>
                    <a:pt x="15160" y="16660"/>
                  </a:lnTo>
                  <a:lnTo>
                    <a:pt x="15271" y="16575"/>
                  </a:lnTo>
                  <a:lnTo>
                    <a:pt x="15344" y="16537"/>
                  </a:lnTo>
                  <a:lnTo>
                    <a:pt x="15442" y="16444"/>
                  </a:lnTo>
                  <a:lnTo>
                    <a:pt x="15532" y="16421"/>
                  </a:lnTo>
                  <a:lnTo>
                    <a:pt x="15601" y="16348"/>
                  </a:lnTo>
                  <a:lnTo>
                    <a:pt x="15589" y="16291"/>
                  </a:lnTo>
                  <a:lnTo>
                    <a:pt x="15644" y="16227"/>
                  </a:lnTo>
                  <a:lnTo>
                    <a:pt x="15741" y="16183"/>
                  </a:lnTo>
                  <a:lnTo>
                    <a:pt x="15771" y="16138"/>
                  </a:lnTo>
                  <a:lnTo>
                    <a:pt x="15771" y="16060"/>
                  </a:lnTo>
                  <a:lnTo>
                    <a:pt x="15857" y="15961"/>
                  </a:lnTo>
                  <a:lnTo>
                    <a:pt x="15927" y="15927"/>
                  </a:lnTo>
                  <a:lnTo>
                    <a:pt x="15937" y="15904"/>
                  </a:lnTo>
                  <a:lnTo>
                    <a:pt x="15897" y="15816"/>
                  </a:lnTo>
                  <a:lnTo>
                    <a:pt x="15905" y="15730"/>
                  </a:lnTo>
                  <a:lnTo>
                    <a:pt x="15929" y="15680"/>
                  </a:lnTo>
                  <a:lnTo>
                    <a:pt x="15997" y="15653"/>
                  </a:lnTo>
                  <a:lnTo>
                    <a:pt x="16029" y="15525"/>
                  </a:lnTo>
                  <a:lnTo>
                    <a:pt x="16081" y="15446"/>
                  </a:lnTo>
                  <a:lnTo>
                    <a:pt x="16093" y="15392"/>
                  </a:lnTo>
                  <a:lnTo>
                    <a:pt x="16125" y="15276"/>
                  </a:lnTo>
                  <a:lnTo>
                    <a:pt x="16116" y="15244"/>
                  </a:lnTo>
                  <a:lnTo>
                    <a:pt x="16059" y="15252"/>
                  </a:lnTo>
                  <a:lnTo>
                    <a:pt x="16007" y="15222"/>
                  </a:lnTo>
                  <a:lnTo>
                    <a:pt x="15919" y="15170"/>
                  </a:lnTo>
                  <a:lnTo>
                    <a:pt x="15825" y="15187"/>
                  </a:lnTo>
                  <a:lnTo>
                    <a:pt x="15713" y="15220"/>
                  </a:lnTo>
                  <a:lnTo>
                    <a:pt x="15617" y="15203"/>
                  </a:lnTo>
                  <a:lnTo>
                    <a:pt x="15524" y="15131"/>
                  </a:lnTo>
                  <a:lnTo>
                    <a:pt x="15473" y="15018"/>
                  </a:lnTo>
                  <a:lnTo>
                    <a:pt x="15485" y="14981"/>
                  </a:lnTo>
                  <a:lnTo>
                    <a:pt x="15483" y="14911"/>
                  </a:lnTo>
                  <a:lnTo>
                    <a:pt x="15462" y="14906"/>
                  </a:lnTo>
                  <a:lnTo>
                    <a:pt x="15431" y="14978"/>
                  </a:lnTo>
                  <a:lnTo>
                    <a:pt x="15363" y="15116"/>
                  </a:lnTo>
                  <a:lnTo>
                    <a:pt x="15276" y="15264"/>
                  </a:lnTo>
                  <a:lnTo>
                    <a:pt x="15195" y="15412"/>
                  </a:lnTo>
                  <a:lnTo>
                    <a:pt x="15103" y="15446"/>
                  </a:lnTo>
                  <a:lnTo>
                    <a:pt x="14974" y="15493"/>
                  </a:lnTo>
                  <a:lnTo>
                    <a:pt x="14859" y="15564"/>
                  </a:lnTo>
                  <a:lnTo>
                    <a:pt x="14846" y="15523"/>
                  </a:lnTo>
                  <a:lnTo>
                    <a:pt x="14819" y="15542"/>
                  </a:lnTo>
                  <a:lnTo>
                    <a:pt x="14777" y="15493"/>
                  </a:lnTo>
                  <a:lnTo>
                    <a:pt x="14792" y="15389"/>
                  </a:lnTo>
                  <a:lnTo>
                    <a:pt x="14770" y="15298"/>
                  </a:lnTo>
                  <a:lnTo>
                    <a:pt x="14713" y="15266"/>
                  </a:lnTo>
                  <a:lnTo>
                    <a:pt x="14675" y="15298"/>
                  </a:lnTo>
                  <a:lnTo>
                    <a:pt x="14650" y="15395"/>
                  </a:lnTo>
                  <a:lnTo>
                    <a:pt x="14683" y="15506"/>
                  </a:lnTo>
                  <a:lnTo>
                    <a:pt x="14653" y="15476"/>
                  </a:lnTo>
                  <a:lnTo>
                    <a:pt x="14621" y="15432"/>
                  </a:lnTo>
                  <a:lnTo>
                    <a:pt x="14568" y="15404"/>
                  </a:lnTo>
                  <a:lnTo>
                    <a:pt x="14538" y="15358"/>
                  </a:lnTo>
                  <a:lnTo>
                    <a:pt x="14543" y="15299"/>
                  </a:lnTo>
                  <a:lnTo>
                    <a:pt x="14519" y="15237"/>
                  </a:lnTo>
                  <a:lnTo>
                    <a:pt x="14402" y="15207"/>
                  </a:lnTo>
                  <a:lnTo>
                    <a:pt x="14363" y="15160"/>
                  </a:lnTo>
                  <a:lnTo>
                    <a:pt x="14281" y="15148"/>
                  </a:lnTo>
                  <a:lnTo>
                    <a:pt x="14193" y="15028"/>
                  </a:lnTo>
                  <a:lnTo>
                    <a:pt x="14119" y="14921"/>
                  </a:lnTo>
                  <a:lnTo>
                    <a:pt x="14126" y="14880"/>
                  </a:lnTo>
                  <a:lnTo>
                    <a:pt x="14079" y="14816"/>
                  </a:lnTo>
                  <a:lnTo>
                    <a:pt x="14169" y="14796"/>
                  </a:lnTo>
                  <a:lnTo>
                    <a:pt x="14213" y="14714"/>
                  </a:lnTo>
                  <a:lnTo>
                    <a:pt x="14320" y="14736"/>
                  </a:lnTo>
                  <a:lnTo>
                    <a:pt x="14394" y="14682"/>
                  </a:lnTo>
                  <a:lnTo>
                    <a:pt x="14553" y="14858"/>
                  </a:lnTo>
                  <a:lnTo>
                    <a:pt x="14687" y="14975"/>
                  </a:lnTo>
                  <a:lnTo>
                    <a:pt x="14842" y="14964"/>
                  </a:lnTo>
                  <a:lnTo>
                    <a:pt x="15021" y="15025"/>
                  </a:lnTo>
                  <a:lnTo>
                    <a:pt x="15216" y="15001"/>
                  </a:lnTo>
                  <a:lnTo>
                    <a:pt x="15344" y="14860"/>
                  </a:lnTo>
                  <a:lnTo>
                    <a:pt x="15450" y="14781"/>
                  </a:lnTo>
                  <a:lnTo>
                    <a:pt x="15525" y="14776"/>
                  </a:lnTo>
                  <a:lnTo>
                    <a:pt x="15639" y="14936"/>
                  </a:lnTo>
                  <a:lnTo>
                    <a:pt x="15806" y="14875"/>
                  </a:lnTo>
                  <a:lnTo>
                    <a:pt x="15972" y="14830"/>
                  </a:lnTo>
                  <a:lnTo>
                    <a:pt x="16250" y="14730"/>
                  </a:lnTo>
                  <a:lnTo>
                    <a:pt x="16439" y="14598"/>
                  </a:lnTo>
                  <a:lnTo>
                    <a:pt x="16659" y="14459"/>
                  </a:lnTo>
                  <a:lnTo>
                    <a:pt x="16893" y="14271"/>
                  </a:lnTo>
                  <a:lnTo>
                    <a:pt x="17032" y="14315"/>
                  </a:lnTo>
                  <a:lnTo>
                    <a:pt x="17105" y="14392"/>
                  </a:lnTo>
                  <a:lnTo>
                    <a:pt x="17213" y="14362"/>
                  </a:lnTo>
                  <a:lnTo>
                    <a:pt x="17405" y="14372"/>
                  </a:lnTo>
                  <a:lnTo>
                    <a:pt x="17460" y="14401"/>
                  </a:lnTo>
                  <a:lnTo>
                    <a:pt x="17417" y="14498"/>
                  </a:lnTo>
                  <a:lnTo>
                    <a:pt x="17639" y="14542"/>
                  </a:lnTo>
                  <a:lnTo>
                    <a:pt x="17733" y="14488"/>
                  </a:lnTo>
                  <a:lnTo>
                    <a:pt x="17886" y="14257"/>
                  </a:lnTo>
                  <a:lnTo>
                    <a:pt x="17952" y="14367"/>
                  </a:lnTo>
                  <a:lnTo>
                    <a:pt x="18008" y="14534"/>
                  </a:lnTo>
                  <a:lnTo>
                    <a:pt x="18098" y="14675"/>
                  </a:lnTo>
                  <a:lnTo>
                    <a:pt x="18225" y="14889"/>
                  </a:lnTo>
                  <a:lnTo>
                    <a:pt x="18386" y="14970"/>
                  </a:lnTo>
                  <a:lnTo>
                    <a:pt x="18430" y="15032"/>
                  </a:lnTo>
                  <a:lnTo>
                    <a:pt x="18498" y="15163"/>
                  </a:lnTo>
                  <a:lnTo>
                    <a:pt x="18592" y="15225"/>
                  </a:lnTo>
                  <a:lnTo>
                    <a:pt x="18647" y="15246"/>
                  </a:lnTo>
                  <a:lnTo>
                    <a:pt x="18721" y="15326"/>
                  </a:lnTo>
                  <a:lnTo>
                    <a:pt x="18808" y="15444"/>
                  </a:lnTo>
                  <a:lnTo>
                    <a:pt x="18940" y="15446"/>
                  </a:lnTo>
                  <a:lnTo>
                    <a:pt x="18982" y="15365"/>
                  </a:lnTo>
                  <a:lnTo>
                    <a:pt x="19005" y="15242"/>
                  </a:lnTo>
                  <a:lnTo>
                    <a:pt x="19103" y="15099"/>
                  </a:lnTo>
                  <a:lnTo>
                    <a:pt x="19061" y="15096"/>
                  </a:lnTo>
                  <a:lnTo>
                    <a:pt x="19092" y="14949"/>
                  </a:lnTo>
                  <a:lnTo>
                    <a:pt x="19149" y="14880"/>
                  </a:lnTo>
                  <a:lnTo>
                    <a:pt x="19101" y="14672"/>
                  </a:lnTo>
                  <a:lnTo>
                    <a:pt x="19118" y="14503"/>
                  </a:lnTo>
                  <a:lnTo>
                    <a:pt x="19082" y="14406"/>
                  </a:lnTo>
                  <a:lnTo>
                    <a:pt x="19012" y="14266"/>
                  </a:lnTo>
                  <a:lnTo>
                    <a:pt x="19014" y="14133"/>
                  </a:lnTo>
                  <a:lnTo>
                    <a:pt x="19062" y="14069"/>
                  </a:lnTo>
                  <a:lnTo>
                    <a:pt x="19141" y="13916"/>
                  </a:lnTo>
                  <a:lnTo>
                    <a:pt x="19181" y="13825"/>
                  </a:lnTo>
                  <a:lnTo>
                    <a:pt x="19161" y="13766"/>
                  </a:lnTo>
                  <a:lnTo>
                    <a:pt x="19231" y="13561"/>
                  </a:lnTo>
                  <a:lnTo>
                    <a:pt x="19275" y="13389"/>
                  </a:lnTo>
                  <a:lnTo>
                    <a:pt x="19322" y="13101"/>
                  </a:lnTo>
                  <a:lnTo>
                    <a:pt x="19417" y="12837"/>
                  </a:lnTo>
                  <a:lnTo>
                    <a:pt x="19431" y="12695"/>
                  </a:lnTo>
                  <a:lnTo>
                    <a:pt x="19382" y="12606"/>
                  </a:lnTo>
                  <a:lnTo>
                    <a:pt x="19474" y="12426"/>
                  </a:lnTo>
                  <a:lnTo>
                    <a:pt x="19531" y="12342"/>
                  </a:lnTo>
                  <a:lnTo>
                    <a:pt x="19521" y="12278"/>
                  </a:lnTo>
                  <a:lnTo>
                    <a:pt x="19558" y="12241"/>
                  </a:lnTo>
                  <a:lnTo>
                    <a:pt x="19588" y="12217"/>
                  </a:lnTo>
                  <a:lnTo>
                    <a:pt x="19588" y="12177"/>
                  </a:lnTo>
                  <a:lnTo>
                    <a:pt x="19633" y="12148"/>
                  </a:lnTo>
                  <a:lnTo>
                    <a:pt x="19623" y="12039"/>
                  </a:lnTo>
                  <a:lnTo>
                    <a:pt x="19590" y="11999"/>
                  </a:lnTo>
                  <a:lnTo>
                    <a:pt x="19662" y="11886"/>
                  </a:lnTo>
                  <a:lnTo>
                    <a:pt x="19730" y="11904"/>
                  </a:lnTo>
                  <a:lnTo>
                    <a:pt x="19774" y="11940"/>
                  </a:lnTo>
                  <a:lnTo>
                    <a:pt x="19811" y="11995"/>
                  </a:lnTo>
                  <a:lnTo>
                    <a:pt x="19863" y="12022"/>
                  </a:lnTo>
                  <a:lnTo>
                    <a:pt x="19961" y="12027"/>
                  </a:lnTo>
                  <a:lnTo>
                    <a:pt x="20010" y="11967"/>
                  </a:lnTo>
                  <a:lnTo>
                    <a:pt x="20022" y="12025"/>
                  </a:lnTo>
                  <a:lnTo>
                    <a:pt x="20140" y="12059"/>
                  </a:lnTo>
                  <a:lnTo>
                    <a:pt x="20202" y="12143"/>
                  </a:lnTo>
                  <a:lnTo>
                    <a:pt x="20239" y="12339"/>
                  </a:lnTo>
                  <a:lnTo>
                    <a:pt x="20293" y="12281"/>
                  </a:lnTo>
                  <a:lnTo>
                    <a:pt x="20335" y="12216"/>
                  </a:lnTo>
                  <a:lnTo>
                    <a:pt x="20375" y="11975"/>
                  </a:lnTo>
                  <a:lnTo>
                    <a:pt x="20390" y="11825"/>
                  </a:lnTo>
                  <a:lnTo>
                    <a:pt x="20457" y="11860"/>
                  </a:lnTo>
                  <a:lnTo>
                    <a:pt x="20527" y="11983"/>
                  </a:lnTo>
                  <a:lnTo>
                    <a:pt x="20597" y="12076"/>
                  </a:lnTo>
                  <a:lnTo>
                    <a:pt x="20643" y="12079"/>
                  </a:lnTo>
                  <a:lnTo>
                    <a:pt x="20679" y="12216"/>
                  </a:lnTo>
                  <a:lnTo>
                    <a:pt x="20720" y="12236"/>
                  </a:lnTo>
                  <a:lnTo>
                    <a:pt x="20728" y="12367"/>
                  </a:lnTo>
                  <a:lnTo>
                    <a:pt x="20758" y="12438"/>
                  </a:lnTo>
                  <a:lnTo>
                    <a:pt x="20768" y="12589"/>
                  </a:lnTo>
                  <a:lnTo>
                    <a:pt x="20778" y="12675"/>
                  </a:lnTo>
                  <a:lnTo>
                    <a:pt x="20803" y="12711"/>
                  </a:lnTo>
                  <a:lnTo>
                    <a:pt x="20798" y="12621"/>
                  </a:lnTo>
                  <a:lnTo>
                    <a:pt x="20838" y="12604"/>
                  </a:lnTo>
                  <a:lnTo>
                    <a:pt x="20880" y="12589"/>
                  </a:lnTo>
                  <a:lnTo>
                    <a:pt x="20902" y="12621"/>
                  </a:lnTo>
                  <a:lnTo>
                    <a:pt x="20930" y="12606"/>
                  </a:lnTo>
                  <a:lnTo>
                    <a:pt x="20951" y="12621"/>
                  </a:lnTo>
                  <a:lnTo>
                    <a:pt x="20957" y="12717"/>
                  </a:lnTo>
                  <a:lnTo>
                    <a:pt x="20986" y="12724"/>
                  </a:lnTo>
                  <a:lnTo>
                    <a:pt x="21004" y="12795"/>
                  </a:lnTo>
                  <a:lnTo>
                    <a:pt x="21041" y="12783"/>
                  </a:lnTo>
                  <a:lnTo>
                    <a:pt x="21051" y="12822"/>
                  </a:lnTo>
                  <a:lnTo>
                    <a:pt x="21115" y="12732"/>
                  </a:lnTo>
                  <a:lnTo>
                    <a:pt x="21162" y="12670"/>
                  </a:lnTo>
                  <a:lnTo>
                    <a:pt x="21190" y="12557"/>
                  </a:lnTo>
                  <a:lnTo>
                    <a:pt x="21190" y="12519"/>
                  </a:lnTo>
                  <a:lnTo>
                    <a:pt x="21168" y="12482"/>
                  </a:lnTo>
                  <a:lnTo>
                    <a:pt x="21150" y="12503"/>
                  </a:lnTo>
                  <a:lnTo>
                    <a:pt x="21141" y="12451"/>
                  </a:lnTo>
                  <a:lnTo>
                    <a:pt x="21133" y="12428"/>
                  </a:lnTo>
                  <a:lnTo>
                    <a:pt x="21133" y="12362"/>
                  </a:lnTo>
                  <a:lnTo>
                    <a:pt x="21120" y="12296"/>
                  </a:lnTo>
                  <a:lnTo>
                    <a:pt x="21091" y="12286"/>
                  </a:lnTo>
                  <a:lnTo>
                    <a:pt x="21053" y="12307"/>
                  </a:lnTo>
                  <a:lnTo>
                    <a:pt x="21039" y="12330"/>
                  </a:lnTo>
                  <a:lnTo>
                    <a:pt x="21004" y="12349"/>
                  </a:lnTo>
                  <a:lnTo>
                    <a:pt x="20971" y="12426"/>
                  </a:lnTo>
                  <a:lnTo>
                    <a:pt x="20930" y="12443"/>
                  </a:lnTo>
                  <a:lnTo>
                    <a:pt x="20899" y="12372"/>
                  </a:lnTo>
                  <a:lnTo>
                    <a:pt x="20853" y="12328"/>
                  </a:lnTo>
                  <a:lnTo>
                    <a:pt x="20817" y="12419"/>
                  </a:lnTo>
                  <a:lnTo>
                    <a:pt x="20790" y="12347"/>
                  </a:lnTo>
                  <a:lnTo>
                    <a:pt x="20780" y="12200"/>
                  </a:lnTo>
                  <a:lnTo>
                    <a:pt x="20758" y="11956"/>
                  </a:lnTo>
                  <a:lnTo>
                    <a:pt x="20718" y="11820"/>
                  </a:lnTo>
                  <a:lnTo>
                    <a:pt x="20763" y="11692"/>
                  </a:lnTo>
                  <a:lnTo>
                    <a:pt x="20788" y="11803"/>
                  </a:lnTo>
                  <a:lnTo>
                    <a:pt x="20830" y="11677"/>
                  </a:lnTo>
                  <a:lnTo>
                    <a:pt x="20889" y="11598"/>
                  </a:lnTo>
                  <a:lnTo>
                    <a:pt x="20949" y="11642"/>
                  </a:lnTo>
                  <a:lnTo>
                    <a:pt x="20984" y="11640"/>
                  </a:lnTo>
                  <a:lnTo>
                    <a:pt x="21024" y="11532"/>
                  </a:lnTo>
                  <a:lnTo>
                    <a:pt x="21071" y="11485"/>
                  </a:lnTo>
                  <a:lnTo>
                    <a:pt x="21081" y="11603"/>
                  </a:lnTo>
                  <a:lnTo>
                    <a:pt x="21113" y="11620"/>
                  </a:lnTo>
                  <a:lnTo>
                    <a:pt x="21131" y="11332"/>
                  </a:lnTo>
                  <a:lnTo>
                    <a:pt x="21131" y="11118"/>
                  </a:lnTo>
                  <a:lnTo>
                    <a:pt x="21143" y="10876"/>
                  </a:lnTo>
                  <a:lnTo>
                    <a:pt x="21141" y="10680"/>
                  </a:lnTo>
                  <a:lnTo>
                    <a:pt x="21074" y="10468"/>
                  </a:lnTo>
                  <a:lnTo>
                    <a:pt x="20979" y="10334"/>
                  </a:lnTo>
                  <a:lnTo>
                    <a:pt x="20924" y="10335"/>
                  </a:lnTo>
                  <a:lnTo>
                    <a:pt x="20865" y="10399"/>
                  </a:lnTo>
                  <a:lnTo>
                    <a:pt x="20765" y="10391"/>
                  </a:lnTo>
                  <a:lnTo>
                    <a:pt x="20678" y="10384"/>
                  </a:lnTo>
                  <a:lnTo>
                    <a:pt x="20644" y="10276"/>
                  </a:lnTo>
                  <a:lnTo>
                    <a:pt x="20611" y="10053"/>
                  </a:lnTo>
                  <a:lnTo>
                    <a:pt x="20594" y="9772"/>
                  </a:lnTo>
                  <a:lnTo>
                    <a:pt x="20594" y="9686"/>
                  </a:lnTo>
                  <a:lnTo>
                    <a:pt x="20648" y="9531"/>
                  </a:lnTo>
                  <a:lnTo>
                    <a:pt x="20669" y="9605"/>
                  </a:lnTo>
                  <a:lnTo>
                    <a:pt x="20721" y="9645"/>
                  </a:lnTo>
                  <a:lnTo>
                    <a:pt x="20730" y="9559"/>
                  </a:lnTo>
                  <a:lnTo>
                    <a:pt x="20666" y="9400"/>
                  </a:lnTo>
                  <a:lnTo>
                    <a:pt x="20674" y="9233"/>
                  </a:lnTo>
                  <a:lnTo>
                    <a:pt x="20659" y="8982"/>
                  </a:lnTo>
                  <a:lnTo>
                    <a:pt x="20629" y="8849"/>
                  </a:lnTo>
                  <a:lnTo>
                    <a:pt x="20656" y="8834"/>
                  </a:lnTo>
                  <a:lnTo>
                    <a:pt x="20629" y="8703"/>
                  </a:lnTo>
                  <a:lnTo>
                    <a:pt x="20626" y="8531"/>
                  </a:lnTo>
                  <a:lnTo>
                    <a:pt x="20609" y="8450"/>
                  </a:lnTo>
                  <a:lnTo>
                    <a:pt x="20666" y="8575"/>
                  </a:lnTo>
                  <a:lnTo>
                    <a:pt x="20658" y="8422"/>
                  </a:lnTo>
                  <a:lnTo>
                    <a:pt x="20621" y="8300"/>
                  </a:lnTo>
                  <a:lnTo>
                    <a:pt x="20661" y="8214"/>
                  </a:lnTo>
                  <a:lnTo>
                    <a:pt x="20708" y="8189"/>
                  </a:lnTo>
                  <a:lnTo>
                    <a:pt x="20843" y="8374"/>
                  </a:lnTo>
                  <a:lnTo>
                    <a:pt x="20894" y="8485"/>
                  </a:lnTo>
                  <a:lnTo>
                    <a:pt x="20989" y="8603"/>
                  </a:lnTo>
                  <a:lnTo>
                    <a:pt x="20999" y="8701"/>
                  </a:lnTo>
                  <a:lnTo>
                    <a:pt x="21018" y="8767"/>
                  </a:lnTo>
                  <a:lnTo>
                    <a:pt x="21034" y="8760"/>
                  </a:lnTo>
                  <a:lnTo>
                    <a:pt x="21039" y="8713"/>
                  </a:lnTo>
                  <a:lnTo>
                    <a:pt x="21081" y="8773"/>
                  </a:lnTo>
                  <a:lnTo>
                    <a:pt x="21056" y="8672"/>
                  </a:lnTo>
                  <a:lnTo>
                    <a:pt x="21063" y="8686"/>
                  </a:lnTo>
                  <a:lnTo>
                    <a:pt x="21083" y="8708"/>
                  </a:lnTo>
                  <a:lnTo>
                    <a:pt x="21105" y="8693"/>
                  </a:lnTo>
                  <a:lnTo>
                    <a:pt x="21096" y="8666"/>
                  </a:lnTo>
                  <a:lnTo>
                    <a:pt x="21098" y="8666"/>
                  </a:lnTo>
                  <a:lnTo>
                    <a:pt x="21140" y="8778"/>
                  </a:lnTo>
                  <a:lnTo>
                    <a:pt x="21145" y="8782"/>
                  </a:lnTo>
                  <a:lnTo>
                    <a:pt x="21148" y="8824"/>
                  </a:lnTo>
                  <a:lnTo>
                    <a:pt x="21175" y="8824"/>
                  </a:lnTo>
                  <a:lnTo>
                    <a:pt x="21188" y="8812"/>
                  </a:lnTo>
                  <a:lnTo>
                    <a:pt x="21150" y="8684"/>
                  </a:lnTo>
                  <a:lnTo>
                    <a:pt x="21140" y="8699"/>
                  </a:lnTo>
                  <a:lnTo>
                    <a:pt x="21141" y="8718"/>
                  </a:lnTo>
                  <a:lnTo>
                    <a:pt x="21130" y="8676"/>
                  </a:lnTo>
                  <a:lnTo>
                    <a:pt x="21111" y="8536"/>
                  </a:lnTo>
                  <a:lnTo>
                    <a:pt x="21126" y="8501"/>
                  </a:lnTo>
                  <a:lnTo>
                    <a:pt x="21106" y="8427"/>
                  </a:lnTo>
                  <a:lnTo>
                    <a:pt x="21121" y="8423"/>
                  </a:lnTo>
                  <a:lnTo>
                    <a:pt x="21125" y="8358"/>
                  </a:lnTo>
                  <a:lnTo>
                    <a:pt x="21105" y="8295"/>
                  </a:lnTo>
                  <a:lnTo>
                    <a:pt x="21101" y="8319"/>
                  </a:lnTo>
                  <a:lnTo>
                    <a:pt x="21076" y="8251"/>
                  </a:lnTo>
                  <a:lnTo>
                    <a:pt x="21076" y="8381"/>
                  </a:lnTo>
                  <a:lnTo>
                    <a:pt x="21090" y="8459"/>
                  </a:lnTo>
                  <a:lnTo>
                    <a:pt x="21093" y="8526"/>
                  </a:lnTo>
                  <a:lnTo>
                    <a:pt x="21091" y="8524"/>
                  </a:lnTo>
                  <a:lnTo>
                    <a:pt x="21074" y="8450"/>
                  </a:lnTo>
                  <a:lnTo>
                    <a:pt x="20991" y="8257"/>
                  </a:lnTo>
                  <a:lnTo>
                    <a:pt x="20989" y="8257"/>
                  </a:lnTo>
                  <a:lnTo>
                    <a:pt x="20941" y="8135"/>
                  </a:lnTo>
                  <a:lnTo>
                    <a:pt x="20907" y="8115"/>
                  </a:lnTo>
                  <a:lnTo>
                    <a:pt x="20880" y="8051"/>
                  </a:lnTo>
                  <a:lnTo>
                    <a:pt x="20867" y="8039"/>
                  </a:lnTo>
                  <a:lnTo>
                    <a:pt x="20887" y="8110"/>
                  </a:lnTo>
                  <a:lnTo>
                    <a:pt x="20880" y="8172"/>
                  </a:lnTo>
                  <a:lnTo>
                    <a:pt x="20887" y="8260"/>
                  </a:lnTo>
                  <a:lnTo>
                    <a:pt x="20937" y="8384"/>
                  </a:lnTo>
                  <a:lnTo>
                    <a:pt x="20890" y="8322"/>
                  </a:lnTo>
                  <a:lnTo>
                    <a:pt x="20848" y="8085"/>
                  </a:lnTo>
                  <a:lnTo>
                    <a:pt x="20780" y="7853"/>
                  </a:lnTo>
                  <a:lnTo>
                    <a:pt x="20721" y="7726"/>
                  </a:lnTo>
                  <a:lnTo>
                    <a:pt x="20659" y="7642"/>
                  </a:lnTo>
                  <a:lnTo>
                    <a:pt x="20604" y="7575"/>
                  </a:lnTo>
                  <a:lnTo>
                    <a:pt x="20524" y="7445"/>
                  </a:lnTo>
                  <a:lnTo>
                    <a:pt x="20381" y="7279"/>
                  </a:lnTo>
                  <a:lnTo>
                    <a:pt x="20221" y="7088"/>
                  </a:lnTo>
                  <a:lnTo>
                    <a:pt x="20154" y="7053"/>
                  </a:lnTo>
                  <a:lnTo>
                    <a:pt x="20099" y="7034"/>
                  </a:lnTo>
                  <a:lnTo>
                    <a:pt x="20075" y="7080"/>
                  </a:lnTo>
                  <a:lnTo>
                    <a:pt x="20025" y="7034"/>
                  </a:lnTo>
                  <a:lnTo>
                    <a:pt x="20011" y="7018"/>
                  </a:lnTo>
                  <a:lnTo>
                    <a:pt x="20010" y="7021"/>
                  </a:lnTo>
                  <a:lnTo>
                    <a:pt x="19913" y="6930"/>
                  </a:lnTo>
                  <a:lnTo>
                    <a:pt x="19901" y="6940"/>
                  </a:lnTo>
                  <a:lnTo>
                    <a:pt x="19837" y="6883"/>
                  </a:lnTo>
                  <a:lnTo>
                    <a:pt x="19770" y="6907"/>
                  </a:lnTo>
                  <a:lnTo>
                    <a:pt x="19685" y="6907"/>
                  </a:lnTo>
                  <a:lnTo>
                    <a:pt x="19586" y="6875"/>
                  </a:lnTo>
                  <a:lnTo>
                    <a:pt x="19536" y="6964"/>
                  </a:lnTo>
                  <a:lnTo>
                    <a:pt x="19457" y="6841"/>
                  </a:lnTo>
                  <a:lnTo>
                    <a:pt x="19395" y="6679"/>
                  </a:lnTo>
                  <a:lnTo>
                    <a:pt x="19330" y="6578"/>
                  </a:lnTo>
                  <a:lnTo>
                    <a:pt x="19282" y="6381"/>
                  </a:lnTo>
                  <a:lnTo>
                    <a:pt x="19226" y="6361"/>
                  </a:lnTo>
                  <a:lnTo>
                    <a:pt x="19231" y="6439"/>
                  </a:lnTo>
                  <a:lnTo>
                    <a:pt x="19196" y="6516"/>
                  </a:lnTo>
                  <a:lnTo>
                    <a:pt x="19287" y="6710"/>
                  </a:lnTo>
                  <a:lnTo>
                    <a:pt x="19258" y="6782"/>
                  </a:lnTo>
                  <a:lnTo>
                    <a:pt x="19208" y="6750"/>
                  </a:lnTo>
                  <a:lnTo>
                    <a:pt x="19193" y="6836"/>
                  </a:lnTo>
                  <a:lnTo>
                    <a:pt x="19116" y="6843"/>
                  </a:lnTo>
                  <a:lnTo>
                    <a:pt x="19059" y="6743"/>
                  </a:lnTo>
                  <a:lnTo>
                    <a:pt x="19051" y="6622"/>
                  </a:lnTo>
                  <a:lnTo>
                    <a:pt x="18970" y="6499"/>
                  </a:lnTo>
                  <a:lnTo>
                    <a:pt x="18877" y="6312"/>
                  </a:lnTo>
                  <a:lnTo>
                    <a:pt x="18825" y="6186"/>
                  </a:lnTo>
                  <a:lnTo>
                    <a:pt x="18882" y="6163"/>
                  </a:lnTo>
                  <a:lnTo>
                    <a:pt x="18972" y="6306"/>
                  </a:lnTo>
                  <a:lnTo>
                    <a:pt x="19015" y="6309"/>
                  </a:lnTo>
                  <a:lnTo>
                    <a:pt x="19076" y="6408"/>
                  </a:lnTo>
                  <a:lnTo>
                    <a:pt x="19032" y="6258"/>
                  </a:lnTo>
                  <a:lnTo>
                    <a:pt x="18967" y="6137"/>
                  </a:lnTo>
                  <a:lnTo>
                    <a:pt x="18908" y="5952"/>
                  </a:lnTo>
                  <a:lnTo>
                    <a:pt x="18932" y="5915"/>
                  </a:lnTo>
                  <a:lnTo>
                    <a:pt x="18932" y="5903"/>
                  </a:lnTo>
                  <a:lnTo>
                    <a:pt x="18959" y="5903"/>
                  </a:lnTo>
                  <a:lnTo>
                    <a:pt x="18955" y="5878"/>
                  </a:lnTo>
                  <a:lnTo>
                    <a:pt x="18933" y="5873"/>
                  </a:lnTo>
                  <a:lnTo>
                    <a:pt x="18933" y="5854"/>
                  </a:lnTo>
                  <a:lnTo>
                    <a:pt x="18950" y="5858"/>
                  </a:lnTo>
                  <a:lnTo>
                    <a:pt x="19019" y="5925"/>
                  </a:lnTo>
                  <a:lnTo>
                    <a:pt x="19037" y="5927"/>
                  </a:lnTo>
                  <a:lnTo>
                    <a:pt x="19044" y="5942"/>
                  </a:lnTo>
                  <a:lnTo>
                    <a:pt x="19017" y="5934"/>
                  </a:lnTo>
                  <a:lnTo>
                    <a:pt x="19029" y="5982"/>
                  </a:lnTo>
                  <a:lnTo>
                    <a:pt x="19061" y="6028"/>
                  </a:lnTo>
                  <a:lnTo>
                    <a:pt x="19116" y="6035"/>
                  </a:lnTo>
                  <a:lnTo>
                    <a:pt x="19176" y="6013"/>
                  </a:lnTo>
                  <a:lnTo>
                    <a:pt x="19211" y="5952"/>
                  </a:lnTo>
                  <a:lnTo>
                    <a:pt x="19198" y="5924"/>
                  </a:lnTo>
                  <a:lnTo>
                    <a:pt x="19181" y="5945"/>
                  </a:lnTo>
                  <a:lnTo>
                    <a:pt x="19143" y="5934"/>
                  </a:lnTo>
                  <a:lnTo>
                    <a:pt x="19124" y="5939"/>
                  </a:lnTo>
                  <a:lnTo>
                    <a:pt x="19111" y="5924"/>
                  </a:lnTo>
                  <a:lnTo>
                    <a:pt x="19121" y="5878"/>
                  </a:lnTo>
                  <a:lnTo>
                    <a:pt x="19200" y="5854"/>
                  </a:lnTo>
                  <a:lnTo>
                    <a:pt x="19236" y="5957"/>
                  </a:lnTo>
                  <a:lnTo>
                    <a:pt x="19339" y="5977"/>
                  </a:lnTo>
                  <a:lnTo>
                    <a:pt x="19384" y="6019"/>
                  </a:lnTo>
                  <a:lnTo>
                    <a:pt x="19372" y="6046"/>
                  </a:lnTo>
                  <a:lnTo>
                    <a:pt x="19404" y="6115"/>
                  </a:lnTo>
                  <a:lnTo>
                    <a:pt x="19431" y="6072"/>
                  </a:lnTo>
                  <a:lnTo>
                    <a:pt x="19444" y="6065"/>
                  </a:lnTo>
                  <a:lnTo>
                    <a:pt x="19476" y="6082"/>
                  </a:lnTo>
                  <a:lnTo>
                    <a:pt x="19471" y="6062"/>
                  </a:lnTo>
                  <a:lnTo>
                    <a:pt x="19513" y="6078"/>
                  </a:lnTo>
                  <a:lnTo>
                    <a:pt x="19576" y="6102"/>
                  </a:lnTo>
                  <a:lnTo>
                    <a:pt x="19653" y="6161"/>
                  </a:lnTo>
                  <a:lnTo>
                    <a:pt x="19626" y="6099"/>
                  </a:lnTo>
                  <a:lnTo>
                    <a:pt x="19568" y="6062"/>
                  </a:lnTo>
                  <a:lnTo>
                    <a:pt x="19531" y="6043"/>
                  </a:lnTo>
                  <a:lnTo>
                    <a:pt x="19484" y="6018"/>
                  </a:lnTo>
                  <a:lnTo>
                    <a:pt x="19459" y="6016"/>
                  </a:lnTo>
                  <a:lnTo>
                    <a:pt x="19444" y="5962"/>
                  </a:lnTo>
                  <a:lnTo>
                    <a:pt x="19377" y="5834"/>
                  </a:lnTo>
                  <a:lnTo>
                    <a:pt x="19330" y="5708"/>
                  </a:lnTo>
                  <a:lnTo>
                    <a:pt x="19260" y="5624"/>
                  </a:lnTo>
                  <a:lnTo>
                    <a:pt x="19136" y="5548"/>
                  </a:lnTo>
                  <a:lnTo>
                    <a:pt x="19072" y="5535"/>
                  </a:lnTo>
                  <a:lnTo>
                    <a:pt x="18967" y="5560"/>
                  </a:lnTo>
                  <a:lnTo>
                    <a:pt x="18932" y="5599"/>
                  </a:lnTo>
                  <a:lnTo>
                    <a:pt x="18923" y="5634"/>
                  </a:lnTo>
                  <a:lnTo>
                    <a:pt x="18908" y="5614"/>
                  </a:lnTo>
                  <a:lnTo>
                    <a:pt x="18856" y="5582"/>
                  </a:lnTo>
                  <a:lnTo>
                    <a:pt x="18813" y="5514"/>
                  </a:lnTo>
                  <a:lnTo>
                    <a:pt x="18776" y="5427"/>
                  </a:lnTo>
                  <a:lnTo>
                    <a:pt x="18729" y="5366"/>
                  </a:lnTo>
                  <a:lnTo>
                    <a:pt x="18704" y="5334"/>
                  </a:lnTo>
                  <a:lnTo>
                    <a:pt x="18661" y="5262"/>
                  </a:lnTo>
                  <a:lnTo>
                    <a:pt x="18577" y="5225"/>
                  </a:lnTo>
                  <a:lnTo>
                    <a:pt x="18527" y="5171"/>
                  </a:lnTo>
                  <a:lnTo>
                    <a:pt x="18471" y="5104"/>
                  </a:lnTo>
                  <a:lnTo>
                    <a:pt x="18466" y="5065"/>
                  </a:lnTo>
                  <a:lnTo>
                    <a:pt x="18420" y="5030"/>
                  </a:lnTo>
                  <a:lnTo>
                    <a:pt x="18284" y="4845"/>
                  </a:lnTo>
                  <a:lnTo>
                    <a:pt x="18321" y="4801"/>
                  </a:lnTo>
                  <a:lnTo>
                    <a:pt x="18294" y="4732"/>
                  </a:lnTo>
                  <a:lnTo>
                    <a:pt x="18170" y="4562"/>
                  </a:lnTo>
                  <a:lnTo>
                    <a:pt x="18070" y="4467"/>
                  </a:lnTo>
                  <a:lnTo>
                    <a:pt x="17869" y="4279"/>
                  </a:lnTo>
                  <a:lnTo>
                    <a:pt x="17661" y="4100"/>
                  </a:lnTo>
                  <a:lnTo>
                    <a:pt x="17557" y="4045"/>
                  </a:lnTo>
                  <a:lnTo>
                    <a:pt x="17301" y="3858"/>
                  </a:lnTo>
                  <a:lnTo>
                    <a:pt x="17072" y="3777"/>
                  </a:lnTo>
                  <a:lnTo>
                    <a:pt x="16910" y="3745"/>
                  </a:lnTo>
                  <a:lnTo>
                    <a:pt x="16739" y="3659"/>
                  </a:lnTo>
                  <a:lnTo>
                    <a:pt x="16625" y="3649"/>
                  </a:lnTo>
                  <a:lnTo>
                    <a:pt x="16538" y="3755"/>
                  </a:lnTo>
                  <a:lnTo>
                    <a:pt x="16575" y="3845"/>
                  </a:lnTo>
                  <a:lnTo>
                    <a:pt x="16670" y="3909"/>
                  </a:lnTo>
                  <a:lnTo>
                    <a:pt x="16677" y="3986"/>
                  </a:lnTo>
                  <a:lnTo>
                    <a:pt x="16607" y="4015"/>
                  </a:lnTo>
                  <a:lnTo>
                    <a:pt x="16643" y="4146"/>
                  </a:lnTo>
                  <a:lnTo>
                    <a:pt x="16163" y="3794"/>
                  </a:lnTo>
                  <a:lnTo>
                    <a:pt x="15751" y="3543"/>
                  </a:lnTo>
                  <a:lnTo>
                    <a:pt x="15567" y="3313"/>
                  </a:lnTo>
                  <a:lnTo>
                    <a:pt x="15445" y="3102"/>
                  </a:lnTo>
                  <a:lnTo>
                    <a:pt x="15314" y="3028"/>
                  </a:lnTo>
                  <a:lnTo>
                    <a:pt x="15254" y="2924"/>
                  </a:lnTo>
                  <a:lnTo>
                    <a:pt x="15353" y="2914"/>
                  </a:lnTo>
                  <a:lnTo>
                    <a:pt x="15254" y="2816"/>
                  </a:lnTo>
                  <a:lnTo>
                    <a:pt x="15092" y="2680"/>
                  </a:lnTo>
                  <a:lnTo>
                    <a:pt x="15062" y="2747"/>
                  </a:lnTo>
                  <a:lnTo>
                    <a:pt x="14705" y="2650"/>
                  </a:lnTo>
                  <a:lnTo>
                    <a:pt x="14511" y="2520"/>
                  </a:lnTo>
                  <a:lnTo>
                    <a:pt x="14610" y="2427"/>
                  </a:lnTo>
                  <a:lnTo>
                    <a:pt x="14320" y="2338"/>
                  </a:lnTo>
                  <a:lnTo>
                    <a:pt x="14188" y="2347"/>
                  </a:lnTo>
                  <a:lnTo>
                    <a:pt x="14101" y="2291"/>
                  </a:lnTo>
                  <a:lnTo>
                    <a:pt x="14312" y="2262"/>
                  </a:lnTo>
                  <a:lnTo>
                    <a:pt x="14521" y="2323"/>
                  </a:lnTo>
                  <a:lnTo>
                    <a:pt x="14752" y="2380"/>
                  </a:lnTo>
                  <a:lnTo>
                    <a:pt x="15018" y="2444"/>
                  </a:lnTo>
                  <a:lnTo>
                    <a:pt x="15145" y="2535"/>
                  </a:lnTo>
                  <a:lnTo>
                    <a:pt x="15206" y="2527"/>
                  </a:lnTo>
                  <a:lnTo>
                    <a:pt x="15333" y="2567"/>
                  </a:lnTo>
                  <a:lnTo>
                    <a:pt x="15532" y="2572"/>
                  </a:lnTo>
                  <a:lnTo>
                    <a:pt x="15756" y="2500"/>
                  </a:lnTo>
                  <a:lnTo>
                    <a:pt x="15892" y="2451"/>
                  </a:lnTo>
                  <a:lnTo>
                    <a:pt x="15942" y="2417"/>
                  </a:lnTo>
                  <a:lnTo>
                    <a:pt x="15729" y="2323"/>
                  </a:lnTo>
                  <a:lnTo>
                    <a:pt x="15594" y="2316"/>
                  </a:lnTo>
                  <a:lnTo>
                    <a:pt x="15455" y="2219"/>
                  </a:lnTo>
                  <a:lnTo>
                    <a:pt x="15303" y="2220"/>
                  </a:lnTo>
                  <a:lnTo>
                    <a:pt x="15115" y="2121"/>
                  </a:lnTo>
                  <a:lnTo>
                    <a:pt x="15100" y="2160"/>
                  </a:lnTo>
                  <a:lnTo>
                    <a:pt x="14976" y="2156"/>
                  </a:lnTo>
                  <a:lnTo>
                    <a:pt x="14903" y="2102"/>
                  </a:lnTo>
                  <a:lnTo>
                    <a:pt x="14735" y="2145"/>
                  </a:lnTo>
                  <a:lnTo>
                    <a:pt x="14792" y="2217"/>
                  </a:lnTo>
                  <a:lnTo>
                    <a:pt x="14749" y="2234"/>
                  </a:lnTo>
                  <a:lnTo>
                    <a:pt x="14558" y="2203"/>
                  </a:lnTo>
                  <a:lnTo>
                    <a:pt x="14462" y="2214"/>
                  </a:lnTo>
                  <a:lnTo>
                    <a:pt x="14385" y="2138"/>
                  </a:lnTo>
                  <a:lnTo>
                    <a:pt x="14271" y="2107"/>
                  </a:lnTo>
                  <a:lnTo>
                    <a:pt x="14278" y="2067"/>
                  </a:lnTo>
                  <a:lnTo>
                    <a:pt x="14010" y="1980"/>
                  </a:lnTo>
                  <a:lnTo>
                    <a:pt x="13973" y="1877"/>
                  </a:lnTo>
                  <a:lnTo>
                    <a:pt x="13901" y="1884"/>
                  </a:lnTo>
                  <a:lnTo>
                    <a:pt x="13736" y="1855"/>
                  </a:lnTo>
                  <a:lnTo>
                    <a:pt x="13557" y="1833"/>
                  </a:lnTo>
                  <a:lnTo>
                    <a:pt x="13480" y="1804"/>
                  </a:lnTo>
                  <a:lnTo>
                    <a:pt x="13207" y="1751"/>
                  </a:lnTo>
                  <a:lnTo>
                    <a:pt x="13081" y="1672"/>
                  </a:lnTo>
                  <a:lnTo>
                    <a:pt x="13041" y="1682"/>
                  </a:lnTo>
                  <a:lnTo>
                    <a:pt x="13019" y="1715"/>
                  </a:lnTo>
                  <a:lnTo>
                    <a:pt x="13033" y="1751"/>
                  </a:lnTo>
                  <a:lnTo>
                    <a:pt x="13011" y="1831"/>
                  </a:lnTo>
                  <a:lnTo>
                    <a:pt x="13031" y="1900"/>
                  </a:lnTo>
                  <a:lnTo>
                    <a:pt x="12946" y="1853"/>
                  </a:lnTo>
                  <a:lnTo>
                    <a:pt x="12820" y="1847"/>
                  </a:lnTo>
                  <a:lnTo>
                    <a:pt x="12818" y="1848"/>
                  </a:lnTo>
                  <a:lnTo>
                    <a:pt x="12746" y="1865"/>
                  </a:lnTo>
                  <a:lnTo>
                    <a:pt x="12741" y="1916"/>
                  </a:lnTo>
                  <a:lnTo>
                    <a:pt x="12643" y="1902"/>
                  </a:lnTo>
                  <a:lnTo>
                    <a:pt x="12684" y="1877"/>
                  </a:lnTo>
                  <a:lnTo>
                    <a:pt x="12673" y="1833"/>
                  </a:lnTo>
                  <a:lnTo>
                    <a:pt x="12582" y="1815"/>
                  </a:lnTo>
                  <a:lnTo>
                    <a:pt x="12522" y="1774"/>
                  </a:lnTo>
                  <a:lnTo>
                    <a:pt x="12534" y="1732"/>
                  </a:lnTo>
                  <a:lnTo>
                    <a:pt x="12455" y="1675"/>
                  </a:lnTo>
                  <a:lnTo>
                    <a:pt x="12418" y="1628"/>
                  </a:lnTo>
                  <a:lnTo>
                    <a:pt x="12350" y="1602"/>
                  </a:lnTo>
                  <a:close/>
                  <a:moveTo>
                    <a:pt x="12207" y="2331"/>
                  </a:moveTo>
                  <a:lnTo>
                    <a:pt x="12192" y="2343"/>
                  </a:lnTo>
                  <a:lnTo>
                    <a:pt x="12248" y="2402"/>
                  </a:lnTo>
                  <a:lnTo>
                    <a:pt x="12293" y="2421"/>
                  </a:lnTo>
                  <a:lnTo>
                    <a:pt x="12303" y="2419"/>
                  </a:lnTo>
                  <a:lnTo>
                    <a:pt x="12405" y="2409"/>
                  </a:lnTo>
                  <a:lnTo>
                    <a:pt x="12422" y="2375"/>
                  </a:lnTo>
                  <a:lnTo>
                    <a:pt x="12358" y="2355"/>
                  </a:lnTo>
                  <a:lnTo>
                    <a:pt x="12281" y="2331"/>
                  </a:lnTo>
                  <a:lnTo>
                    <a:pt x="12207" y="2331"/>
                  </a:lnTo>
                  <a:close/>
                  <a:moveTo>
                    <a:pt x="9008" y="2431"/>
                  </a:moveTo>
                  <a:lnTo>
                    <a:pt x="8918" y="2543"/>
                  </a:lnTo>
                  <a:lnTo>
                    <a:pt x="8958" y="2580"/>
                  </a:lnTo>
                  <a:lnTo>
                    <a:pt x="8967" y="2676"/>
                  </a:lnTo>
                  <a:lnTo>
                    <a:pt x="8928" y="2803"/>
                  </a:lnTo>
                  <a:lnTo>
                    <a:pt x="8901" y="2858"/>
                  </a:lnTo>
                  <a:lnTo>
                    <a:pt x="8992" y="2867"/>
                  </a:lnTo>
                  <a:lnTo>
                    <a:pt x="9062" y="2868"/>
                  </a:lnTo>
                  <a:lnTo>
                    <a:pt x="9176" y="2814"/>
                  </a:lnTo>
                  <a:lnTo>
                    <a:pt x="9256" y="2803"/>
                  </a:lnTo>
                  <a:lnTo>
                    <a:pt x="9390" y="2717"/>
                  </a:lnTo>
                  <a:lnTo>
                    <a:pt x="9295" y="2675"/>
                  </a:lnTo>
                  <a:lnTo>
                    <a:pt x="9278" y="2592"/>
                  </a:lnTo>
                  <a:lnTo>
                    <a:pt x="9248" y="2495"/>
                  </a:lnTo>
                  <a:lnTo>
                    <a:pt x="9239" y="2456"/>
                  </a:lnTo>
                  <a:lnTo>
                    <a:pt x="9074" y="2458"/>
                  </a:lnTo>
                  <a:lnTo>
                    <a:pt x="9008" y="2431"/>
                  </a:lnTo>
                  <a:close/>
                  <a:moveTo>
                    <a:pt x="8468" y="2488"/>
                  </a:moveTo>
                  <a:lnTo>
                    <a:pt x="8433" y="2527"/>
                  </a:lnTo>
                  <a:lnTo>
                    <a:pt x="8332" y="2552"/>
                  </a:lnTo>
                  <a:lnTo>
                    <a:pt x="8252" y="2537"/>
                  </a:lnTo>
                  <a:lnTo>
                    <a:pt x="8188" y="2592"/>
                  </a:lnTo>
                  <a:lnTo>
                    <a:pt x="8061" y="2715"/>
                  </a:lnTo>
                  <a:lnTo>
                    <a:pt x="8012" y="2811"/>
                  </a:lnTo>
                  <a:lnTo>
                    <a:pt x="7967" y="2860"/>
                  </a:lnTo>
                  <a:lnTo>
                    <a:pt x="7855" y="2915"/>
                  </a:lnTo>
                  <a:lnTo>
                    <a:pt x="7755" y="2983"/>
                  </a:lnTo>
                  <a:lnTo>
                    <a:pt x="7790" y="3016"/>
                  </a:lnTo>
                  <a:lnTo>
                    <a:pt x="7868" y="3011"/>
                  </a:lnTo>
                  <a:lnTo>
                    <a:pt x="7813" y="3084"/>
                  </a:lnTo>
                  <a:lnTo>
                    <a:pt x="7868" y="3111"/>
                  </a:lnTo>
                  <a:lnTo>
                    <a:pt x="8006" y="3064"/>
                  </a:lnTo>
                  <a:lnTo>
                    <a:pt x="8140" y="3028"/>
                  </a:lnTo>
                  <a:lnTo>
                    <a:pt x="8245" y="3062"/>
                  </a:lnTo>
                  <a:lnTo>
                    <a:pt x="8399" y="3102"/>
                  </a:lnTo>
                  <a:lnTo>
                    <a:pt x="8493" y="3094"/>
                  </a:lnTo>
                  <a:lnTo>
                    <a:pt x="8551" y="3072"/>
                  </a:lnTo>
                  <a:lnTo>
                    <a:pt x="8567" y="3035"/>
                  </a:lnTo>
                  <a:lnTo>
                    <a:pt x="8409" y="2984"/>
                  </a:lnTo>
                  <a:lnTo>
                    <a:pt x="8377" y="2937"/>
                  </a:lnTo>
                  <a:lnTo>
                    <a:pt x="8533" y="2981"/>
                  </a:lnTo>
                  <a:lnTo>
                    <a:pt x="8610" y="2978"/>
                  </a:lnTo>
                  <a:lnTo>
                    <a:pt x="8595" y="2904"/>
                  </a:lnTo>
                  <a:lnTo>
                    <a:pt x="8714" y="2900"/>
                  </a:lnTo>
                  <a:lnTo>
                    <a:pt x="8774" y="2811"/>
                  </a:lnTo>
                  <a:lnTo>
                    <a:pt x="8804" y="2865"/>
                  </a:lnTo>
                  <a:lnTo>
                    <a:pt x="8870" y="2853"/>
                  </a:lnTo>
                  <a:lnTo>
                    <a:pt x="8923" y="2729"/>
                  </a:lnTo>
                  <a:lnTo>
                    <a:pt x="8915" y="2675"/>
                  </a:lnTo>
                  <a:lnTo>
                    <a:pt x="8880" y="2586"/>
                  </a:lnTo>
                  <a:lnTo>
                    <a:pt x="8767" y="2612"/>
                  </a:lnTo>
                  <a:lnTo>
                    <a:pt x="8694" y="2658"/>
                  </a:lnTo>
                  <a:lnTo>
                    <a:pt x="8767" y="2557"/>
                  </a:lnTo>
                  <a:lnTo>
                    <a:pt x="8704" y="2542"/>
                  </a:lnTo>
                  <a:lnTo>
                    <a:pt x="8630" y="2582"/>
                  </a:lnTo>
                  <a:lnTo>
                    <a:pt x="8533" y="2656"/>
                  </a:lnTo>
                  <a:lnTo>
                    <a:pt x="8413" y="2702"/>
                  </a:lnTo>
                  <a:lnTo>
                    <a:pt x="8456" y="2644"/>
                  </a:lnTo>
                  <a:lnTo>
                    <a:pt x="8531" y="2602"/>
                  </a:lnTo>
                  <a:lnTo>
                    <a:pt x="8592" y="2540"/>
                  </a:lnTo>
                  <a:lnTo>
                    <a:pt x="8615" y="2511"/>
                  </a:lnTo>
                  <a:lnTo>
                    <a:pt x="8468" y="2488"/>
                  </a:lnTo>
                  <a:close/>
                  <a:moveTo>
                    <a:pt x="9465" y="2944"/>
                  </a:moveTo>
                  <a:lnTo>
                    <a:pt x="9392" y="2947"/>
                  </a:lnTo>
                  <a:lnTo>
                    <a:pt x="9347" y="2995"/>
                  </a:lnTo>
                  <a:lnTo>
                    <a:pt x="9321" y="3075"/>
                  </a:lnTo>
                  <a:lnTo>
                    <a:pt x="9293" y="3099"/>
                  </a:lnTo>
                  <a:lnTo>
                    <a:pt x="9303" y="3149"/>
                  </a:lnTo>
                  <a:lnTo>
                    <a:pt x="9383" y="3225"/>
                  </a:lnTo>
                  <a:lnTo>
                    <a:pt x="9412" y="3185"/>
                  </a:lnTo>
                  <a:lnTo>
                    <a:pt x="9464" y="3156"/>
                  </a:lnTo>
                  <a:lnTo>
                    <a:pt x="9472" y="3052"/>
                  </a:lnTo>
                  <a:lnTo>
                    <a:pt x="9465" y="2944"/>
                  </a:lnTo>
                  <a:close/>
                  <a:moveTo>
                    <a:pt x="9178" y="2961"/>
                  </a:moveTo>
                  <a:lnTo>
                    <a:pt x="9104" y="2978"/>
                  </a:lnTo>
                  <a:lnTo>
                    <a:pt x="8948" y="3101"/>
                  </a:lnTo>
                  <a:lnTo>
                    <a:pt x="8973" y="3008"/>
                  </a:lnTo>
                  <a:lnTo>
                    <a:pt x="8931" y="2984"/>
                  </a:lnTo>
                  <a:lnTo>
                    <a:pt x="8876" y="3027"/>
                  </a:lnTo>
                  <a:lnTo>
                    <a:pt x="8834" y="3131"/>
                  </a:lnTo>
                  <a:lnTo>
                    <a:pt x="8739" y="3239"/>
                  </a:lnTo>
                  <a:lnTo>
                    <a:pt x="8781" y="3293"/>
                  </a:lnTo>
                  <a:lnTo>
                    <a:pt x="8853" y="3323"/>
                  </a:lnTo>
                  <a:lnTo>
                    <a:pt x="8890" y="3298"/>
                  </a:lnTo>
                  <a:lnTo>
                    <a:pt x="8896" y="3261"/>
                  </a:lnTo>
                  <a:lnTo>
                    <a:pt x="8955" y="3279"/>
                  </a:lnTo>
                  <a:lnTo>
                    <a:pt x="9027" y="3309"/>
                  </a:lnTo>
                  <a:lnTo>
                    <a:pt x="9074" y="3294"/>
                  </a:lnTo>
                  <a:lnTo>
                    <a:pt x="9057" y="3240"/>
                  </a:lnTo>
                  <a:lnTo>
                    <a:pt x="8891" y="3198"/>
                  </a:lnTo>
                  <a:lnTo>
                    <a:pt x="8960" y="3158"/>
                  </a:lnTo>
                  <a:lnTo>
                    <a:pt x="9092" y="3165"/>
                  </a:lnTo>
                  <a:lnTo>
                    <a:pt x="9228" y="3131"/>
                  </a:lnTo>
                  <a:lnTo>
                    <a:pt x="9229" y="3084"/>
                  </a:lnTo>
                  <a:lnTo>
                    <a:pt x="9178" y="2961"/>
                  </a:lnTo>
                  <a:close/>
                  <a:moveTo>
                    <a:pt x="8558" y="3107"/>
                  </a:moveTo>
                  <a:lnTo>
                    <a:pt x="8409" y="3109"/>
                  </a:lnTo>
                  <a:lnTo>
                    <a:pt x="8464" y="3183"/>
                  </a:lnTo>
                  <a:lnTo>
                    <a:pt x="8521" y="3173"/>
                  </a:lnTo>
                  <a:lnTo>
                    <a:pt x="8565" y="3128"/>
                  </a:lnTo>
                  <a:lnTo>
                    <a:pt x="8558" y="3107"/>
                  </a:lnTo>
                  <a:close/>
                  <a:moveTo>
                    <a:pt x="7735" y="3131"/>
                  </a:moveTo>
                  <a:lnTo>
                    <a:pt x="7619" y="3170"/>
                  </a:lnTo>
                  <a:lnTo>
                    <a:pt x="7602" y="3212"/>
                  </a:lnTo>
                  <a:lnTo>
                    <a:pt x="7509" y="3261"/>
                  </a:lnTo>
                  <a:lnTo>
                    <a:pt x="7537" y="3304"/>
                  </a:lnTo>
                  <a:lnTo>
                    <a:pt x="7614" y="3291"/>
                  </a:lnTo>
                  <a:lnTo>
                    <a:pt x="7653" y="3286"/>
                  </a:lnTo>
                  <a:lnTo>
                    <a:pt x="7701" y="3267"/>
                  </a:lnTo>
                  <a:lnTo>
                    <a:pt x="7781" y="3234"/>
                  </a:lnTo>
                  <a:lnTo>
                    <a:pt x="7745" y="3183"/>
                  </a:lnTo>
                  <a:lnTo>
                    <a:pt x="7735" y="3131"/>
                  </a:lnTo>
                  <a:close/>
                  <a:moveTo>
                    <a:pt x="8270" y="3193"/>
                  </a:moveTo>
                  <a:lnTo>
                    <a:pt x="8073" y="3242"/>
                  </a:lnTo>
                  <a:lnTo>
                    <a:pt x="7994" y="3249"/>
                  </a:lnTo>
                  <a:lnTo>
                    <a:pt x="7949" y="3282"/>
                  </a:lnTo>
                  <a:lnTo>
                    <a:pt x="7950" y="3368"/>
                  </a:lnTo>
                  <a:lnTo>
                    <a:pt x="8078" y="3419"/>
                  </a:lnTo>
                  <a:lnTo>
                    <a:pt x="8188" y="3383"/>
                  </a:lnTo>
                  <a:lnTo>
                    <a:pt x="8230" y="3442"/>
                  </a:lnTo>
                  <a:lnTo>
                    <a:pt x="8282" y="3449"/>
                  </a:lnTo>
                  <a:lnTo>
                    <a:pt x="8317" y="3378"/>
                  </a:lnTo>
                  <a:lnTo>
                    <a:pt x="8384" y="3350"/>
                  </a:lnTo>
                  <a:lnTo>
                    <a:pt x="8356" y="3279"/>
                  </a:lnTo>
                  <a:lnTo>
                    <a:pt x="8225" y="3279"/>
                  </a:lnTo>
                  <a:lnTo>
                    <a:pt x="8314" y="3213"/>
                  </a:lnTo>
                  <a:lnTo>
                    <a:pt x="8270" y="3193"/>
                  </a:lnTo>
                  <a:close/>
                  <a:moveTo>
                    <a:pt x="9310" y="3289"/>
                  </a:moveTo>
                  <a:lnTo>
                    <a:pt x="9226" y="3291"/>
                  </a:lnTo>
                  <a:lnTo>
                    <a:pt x="9204" y="3358"/>
                  </a:lnTo>
                  <a:lnTo>
                    <a:pt x="9233" y="3392"/>
                  </a:lnTo>
                  <a:lnTo>
                    <a:pt x="9291" y="3375"/>
                  </a:lnTo>
                  <a:lnTo>
                    <a:pt x="9321" y="3335"/>
                  </a:lnTo>
                  <a:lnTo>
                    <a:pt x="9310" y="3289"/>
                  </a:lnTo>
                  <a:close/>
                  <a:moveTo>
                    <a:pt x="9358" y="3372"/>
                  </a:moveTo>
                  <a:lnTo>
                    <a:pt x="9311" y="3405"/>
                  </a:lnTo>
                  <a:lnTo>
                    <a:pt x="9303" y="3449"/>
                  </a:lnTo>
                  <a:lnTo>
                    <a:pt x="9363" y="3441"/>
                  </a:lnTo>
                  <a:lnTo>
                    <a:pt x="9383" y="3434"/>
                  </a:lnTo>
                  <a:lnTo>
                    <a:pt x="9375" y="3385"/>
                  </a:lnTo>
                  <a:lnTo>
                    <a:pt x="9358" y="3372"/>
                  </a:lnTo>
                  <a:close/>
                  <a:moveTo>
                    <a:pt x="8694" y="3390"/>
                  </a:moveTo>
                  <a:lnTo>
                    <a:pt x="8657" y="3446"/>
                  </a:lnTo>
                  <a:lnTo>
                    <a:pt x="8575" y="3407"/>
                  </a:lnTo>
                  <a:lnTo>
                    <a:pt x="8520" y="3431"/>
                  </a:lnTo>
                  <a:lnTo>
                    <a:pt x="8488" y="3491"/>
                  </a:lnTo>
                  <a:lnTo>
                    <a:pt x="8585" y="3548"/>
                  </a:lnTo>
                  <a:lnTo>
                    <a:pt x="8664" y="3577"/>
                  </a:lnTo>
                  <a:lnTo>
                    <a:pt x="8751" y="3584"/>
                  </a:lnTo>
                  <a:lnTo>
                    <a:pt x="8734" y="3574"/>
                  </a:lnTo>
                  <a:lnTo>
                    <a:pt x="8779" y="3537"/>
                  </a:lnTo>
                  <a:lnTo>
                    <a:pt x="8769" y="3471"/>
                  </a:lnTo>
                  <a:lnTo>
                    <a:pt x="8804" y="3442"/>
                  </a:lnTo>
                  <a:lnTo>
                    <a:pt x="8694" y="3390"/>
                  </a:lnTo>
                  <a:close/>
                  <a:moveTo>
                    <a:pt x="16992" y="3424"/>
                  </a:moveTo>
                  <a:lnTo>
                    <a:pt x="16821" y="3486"/>
                  </a:lnTo>
                  <a:lnTo>
                    <a:pt x="16712" y="3506"/>
                  </a:lnTo>
                  <a:lnTo>
                    <a:pt x="16580" y="3493"/>
                  </a:lnTo>
                  <a:lnTo>
                    <a:pt x="16468" y="3511"/>
                  </a:lnTo>
                  <a:lnTo>
                    <a:pt x="16391" y="3526"/>
                  </a:lnTo>
                  <a:lnTo>
                    <a:pt x="16431" y="3564"/>
                  </a:lnTo>
                  <a:lnTo>
                    <a:pt x="16474" y="3537"/>
                  </a:lnTo>
                  <a:lnTo>
                    <a:pt x="16582" y="3617"/>
                  </a:lnTo>
                  <a:lnTo>
                    <a:pt x="16769" y="3646"/>
                  </a:lnTo>
                  <a:lnTo>
                    <a:pt x="16871" y="3611"/>
                  </a:lnTo>
                  <a:lnTo>
                    <a:pt x="17047" y="3639"/>
                  </a:lnTo>
                  <a:lnTo>
                    <a:pt x="17156" y="3676"/>
                  </a:lnTo>
                  <a:lnTo>
                    <a:pt x="17286" y="3691"/>
                  </a:lnTo>
                  <a:lnTo>
                    <a:pt x="17413" y="3725"/>
                  </a:lnTo>
                  <a:lnTo>
                    <a:pt x="17506" y="3730"/>
                  </a:lnTo>
                  <a:lnTo>
                    <a:pt x="17375" y="3648"/>
                  </a:lnTo>
                  <a:lnTo>
                    <a:pt x="17405" y="3590"/>
                  </a:lnTo>
                  <a:lnTo>
                    <a:pt x="17318" y="3570"/>
                  </a:lnTo>
                  <a:lnTo>
                    <a:pt x="17246" y="3638"/>
                  </a:lnTo>
                  <a:lnTo>
                    <a:pt x="17032" y="3552"/>
                  </a:lnTo>
                  <a:lnTo>
                    <a:pt x="16992" y="3424"/>
                  </a:lnTo>
                  <a:close/>
                  <a:moveTo>
                    <a:pt x="7969" y="3439"/>
                  </a:moveTo>
                  <a:lnTo>
                    <a:pt x="7927" y="3483"/>
                  </a:lnTo>
                  <a:lnTo>
                    <a:pt x="8011" y="3558"/>
                  </a:lnTo>
                  <a:lnTo>
                    <a:pt x="8009" y="3614"/>
                  </a:lnTo>
                  <a:lnTo>
                    <a:pt x="8113" y="3707"/>
                  </a:lnTo>
                  <a:lnTo>
                    <a:pt x="8198" y="3644"/>
                  </a:lnTo>
                  <a:lnTo>
                    <a:pt x="8257" y="3570"/>
                  </a:lnTo>
                  <a:lnTo>
                    <a:pt x="8243" y="3521"/>
                  </a:lnTo>
                  <a:lnTo>
                    <a:pt x="8193" y="3481"/>
                  </a:lnTo>
                  <a:lnTo>
                    <a:pt x="8120" y="3456"/>
                  </a:lnTo>
                  <a:lnTo>
                    <a:pt x="7969" y="3439"/>
                  </a:lnTo>
                  <a:close/>
                  <a:moveTo>
                    <a:pt x="17501" y="3461"/>
                  </a:moveTo>
                  <a:lnTo>
                    <a:pt x="17594" y="3540"/>
                  </a:lnTo>
                  <a:lnTo>
                    <a:pt x="17613" y="3604"/>
                  </a:lnTo>
                  <a:lnTo>
                    <a:pt x="17619" y="3670"/>
                  </a:lnTo>
                  <a:lnTo>
                    <a:pt x="17562" y="3755"/>
                  </a:lnTo>
                  <a:lnTo>
                    <a:pt x="17673" y="3808"/>
                  </a:lnTo>
                  <a:lnTo>
                    <a:pt x="17852" y="3882"/>
                  </a:lnTo>
                  <a:lnTo>
                    <a:pt x="17917" y="3994"/>
                  </a:lnTo>
                  <a:lnTo>
                    <a:pt x="18033" y="4074"/>
                  </a:lnTo>
                  <a:lnTo>
                    <a:pt x="18140" y="4099"/>
                  </a:lnTo>
                  <a:lnTo>
                    <a:pt x="18076" y="3981"/>
                  </a:lnTo>
                  <a:lnTo>
                    <a:pt x="17921" y="3883"/>
                  </a:lnTo>
                  <a:lnTo>
                    <a:pt x="17906" y="3745"/>
                  </a:lnTo>
                  <a:lnTo>
                    <a:pt x="17740" y="3624"/>
                  </a:lnTo>
                  <a:lnTo>
                    <a:pt x="17614" y="3469"/>
                  </a:lnTo>
                  <a:lnTo>
                    <a:pt x="17501" y="3461"/>
                  </a:lnTo>
                  <a:close/>
                  <a:moveTo>
                    <a:pt x="9156" y="3528"/>
                  </a:moveTo>
                  <a:lnTo>
                    <a:pt x="9095" y="3579"/>
                  </a:lnTo>
                  <a:lnTo>
                    <a:pt x="9010" y="3594"/>
                  </a:lnTo>
                  <a:lnTo>
                    <a:pt x="8955" y="3629"/>
                  </a:lnTo>
                  <a:lnTo>
                    <a:pt x="9025" y="3648"/>
                  </a:lnTo>
                  <a:lnTo>
                    <a:pt x="9112" y="3663"/>
                  </a:lnTo>
                  <a:lnTo>
                    <a:pt x="9224" y="3627"/>
                  </a:lnTo>
                  <a:lnTo>
                    <a:pt x="9290" y="3596"/>
                  </a:lnTo>
                  <a:lnTo>
                    <a:pt x="9236" y="3567"/>
                  </a:lnTo>
                  <a:lnTo>
                    <a:pt x="9174" y="3574"/>
                  </a:lnTo>
                  <a:lnTo>
                    <a:pt x="9156" y="3528"/>
                  </a:lnTo>
                  <a:close/>
                  <a:moveTo>
                    <a:pt x="8439" y="3530"/>
                  </a:moveTo>
                  <a:lnTo>
                    <a:pt x="8367" y="3558"/>
                  </a:lnTo>
                  <a:lnTo>
                    <a:pt x="8319" y="3604"/>
                  </a:lnTo>
                  <a:lnTo>
                    <a:pt x="8366" y="3643"/>
                  </a:lnTo>
                  <a:lnTo>
                    <a:pt x="8423" y="3644"/>
                  </a:lnTo>
                  <a:lnTo>
                    <a:pt x="8498" y="3634"/>
                  </a:lnTo>
                  <a:lnTo>
                    <a:pt x="8495" y="3574"/>
                  </a:lnTo>
                  <a:lnTo>
                    <a:pt x="8439" y="3530"/>
                  </a:lnTo>
                  <a:close/>
                  <a:moveTo>
                    <a:pt x="13056" y="3542"/>
                  </a:moveTo>
                  <a:lnTo>
                    <a:pt x="13081" y="3639"/>
                  </a:lnTo>
                  <a:lnTo>
                    <a:pt x="13101" y="3708"/>
                  </a:lnTo>
                  <a:lnTo>
                    <a:pt x="13158" y="3703"/>
                  </a:lnTo>
                  <a:lnTo>
                    <a:pt x="13175" y="3619"/>
                  </a:lnTo>
                  <a:lnTo>
                    <a:pt x="13147" y="3560"/>
                  </a:lnTo>
                  <a:lnTo>
                    <a:pt x="13056" y="3542"/>
                  </a:lnTo>
                  <a:close/>
                  <a:moveTo>
                    <a:pt x="8722" y="3626"/>
                  </a:moveTo>
                  <a:lnTo>
                    <a:pt x="8647" y="3643"/>
                  </a:lnTo>
                  <a:lnTo>
                    <a:pt x="8580" y="3700"/>
                  </a:lnTo>
                  <a:lnTo>
                    <a:pt x="8490" y="3710"/>
                  </a:lnTo>
                  <a:lnTo>
                    <a:pt x="8407" y="3690"/>
                  </a:lnTo>
                  <a:lnTo>
                    <a:pt x="8314" y="3676"/>
                  </a:lnTo>
                  <a:lnTo>
                    <a:pt x="8200" y="3759"/>
                  </a:lnTo>
                  <a:lnTo>
                    <a:pt x="8145" y="3814"/>
                  </a:lnTo>
                  <a:lnTo>
                    <a:pt x="8106" y="3893"/>
                  </a:lnTo>
                  <a:lnTo>
                    <a:pt x="8078" y="4006"/>
                  </a:lnTo>
                  <a:lnTo>
                    <a:pt x="8036" y="4053"/>
                  </a:lnTo>
                  <a:lnTo>
                    <a:pt x="8049" y="4116"/>
                  </a:lnTo>
                  <a:lnTo>
                    <a:pt x="8086" y="4144"/>
                  </a:lnTo>
                  <a:lnTo>
                    <a:pt x="8161" y="4143"/>
                  </a:lnTo>
                  <a:lnTo>
                    <a:pt x="8242" y="4111"/>
                  </a:lnTo>
                  <a:lnTo>
                    <a:pt x="8279" y="4053"/>
                  </a:lnTo>
                  <a:lnTo>
                    <a:pt x="8297" y="3979"/>
                  </a:lnTo>
                  <a:lnTo>
                    <a:pt x="8289" y="3915"/>
                  </a:lnTo>
                  <a:lnTo>
                    <a:pt x="8330" y="3867"/>
                  </a:lnTo>
                  <a:lnTo>
                    <a:pt x="8366" y="3823"/>
                  </a:lnTo>
                  <a:lnTo>
                    <a:pt x="8418" y="3809"/>
                  </a:lnTo>
                  <a:lnTo>
                    <a:pt x="8478" y="3781"/>
                  </a:lnTo>
                  <a:lnTo>
                    <a:pt x="8533" y="3806"/>
                  </a:lnTo>
                  <a:lnTo>
                    <a:pt x="8603" y="3792"/>
                  </a:lnTo>
                  <a:lnTo>
                    <a:pt x="8645" y="3734"/>
                  </a:lnTo>
                  <a:lnTo>
                    <a:pt x="8719" y="3717"/>
                  </a:lnTo>
                  <a:lnTo>
                    <a:pt x="8776" y="3661"/>
                  </a:lnTo>
                  <a:lnTo>
                    <a:pt x="8722" y="3626"/>
                  </a:lnTo>
                  <a:close/>
                  <a:moveTo>
                    <a:pt x="6400" y="3629"/>
                  </a:moveTo>
                  <a:lnTo>
                    <a:pt x="6369" y="3715"/>
                  </a:lnTo>
                  <a:lnTo>
                    <a:pt x="6268" y="3735"/>
                  </a:lnTo>
                  <a:lnTo>
                    <a:pt x="6303" y="3828"/>
                  </a:lnTo>
                  <a:lnTo>
                    <a:pt x="6359" y="3892"/>
                  </a:lnTo>
                  <a:lnTo>
                    <a:pt x="6271" y="3927"/>
                  </a:lnTo>
                  <a:lnTo>
                    <a:pt x="6191" y="4030"/>
                  </a:lnTo>
                  <a:lnTo>
                    <a:pt x="6220" y="4085"/>
                  </a:lnTo>
                  <a:lnTo>
                    <a:pt x="6290" y="4038"/>
                  </a:lnTo>
                  <a:lnTo>
                    <a:pt x="6297" y="3991"/>
                  </a:lnTo>
                  <a:lnTo>
                    <a:pt x="6375" y="3984"/>
                  </a:lnTo>
                  <a:lnTo>
                    <a:pt x="6456" y="3912"/>
                  </a:lnTo>
                  <a:lnTo>
                    <a:pt x="6539" y="3846"/>
                  </a:lnTo>
                  <a:lnTo>
                    <a:pt x="6598" y="3813"/>
                  </a:lnTo>
                  <a:lnTo>
                    <a:pt x="6588" y="3781"/>
                  </a:lnTo>
                  <a:lnTo>
                    <a:pt x="6663" y="3774"/>
                  </a:lnTo>
                  <a:lnTo>
                    <a:pt x="6697" y="3732"/>
                  </a:lnTo>
                  <a:lnTo>
                    <a:pt x="6564" y="3703"/>
                  </a:lnTo>
                  <a:lnTo>
                    <a:pt x="6447" y="3688"/>
                  </a:lnTo>
                  <a:lnTo>
                    <a:pt x="6400" y="3629"/>
                  </a:lnTo>
                  <a:close/>
                  <a:moveTo>
                    <a:pt x="7678" y="3639"/>
                  </a:moveTo>
                  <a:lnTo>
                    <a:pt x="7639" y="3703"/>
                  </a:lnTo>
                  <a:lnTo>
                    <a:pt x="7594" y="3643"/>
                  </a:lnTo>
                  <a:lnTo>
                    <a:pt x="7517" y="3671"/>
                  </a:lnTo>
                  <a:lnTo>
                    <a:pt x="7448" y="3744"/>
                  </a:lnTo>
                  <a:lnTo>
                    <a:pt x="7350" y="3840"/>
                  </a:lnTo>
                  <a:lnTo>
                    <a:pt x="7231" y="4020"/>
                  </a:lnTo>
                  <a:lnTo>
                    <a:pt x="7217" y="4112"/>
                  </a:lnTo>
                  <a:lnTo>
                    <a:pt x="7257" y="4139"/>
                  </a:lnTo>
                  <a:lnTo>
                    <a:pt x="7187" y="4180"/>
                  </a:lnTo>
                  <a:lnTo>
                    <a:pt x="7162" y="4225"/>
                  </a:lnTo>
                  <a:lnTo>
                    <a:pt x="7040" y="4282"/>
                  </a:lnTo>
                  <a:lnTo>
                    <a:pt x="7008" y="4250"/>
                  </a:lnTo>
                  <a:lnTo>
                    <a:pt x="6919" y="4363"/>
                  </a:lnTo>
                  <a:lnTo>
                    <a:pt x="6816" y="4454"/>
                  </a:lnTo>
                  <a:lnTo>
                    <a:pt x="6752" y="4481"/>
                  </a:lnTo>
                  <a:lnTo>
                    <a:pt x="6673" y="4504"/>
                  </a:lnTo>
                  <a:lnTo>
                    <a:pt x="6526" y="4444"/>
                  </a:lnTo>
                  <a:lnTo>
                    <a:pt x="6447" y="4432"/>
                  </a:lnTo>
                  <a:lnTo>
                    <a:pt x="6384" y="4459"/>
                  </a:lnTo>
                  <a:lnTo>
                    <a:pt x="6395" y="4331"/>
                  </a:lnTo>
                  <a:lnTo>
                    <a:pt x="6427" y="4213"/>
                  </a:lnTo>
                  <a:lnTo>
                    <a:pt x="6322" y="4180"/>
                  </a:lnTo>
                  <a:lnTo>
                    <a:pt x="6248" y="4237"/>
                  </a:lnTo>
                  <a:lnTo>
                    <a:pt x="6220" y="4422"/>
                  </a:lnTo>
                  <a:lnTo>
                    <a:pt x="6268" y="4417"/>
                  </a:lnTo>
                  <a:lnTo>
                    <a:pt x="6164" y="4521"/>
                  </a:lnTo>
                  <a:lnTo>
                    <a:pt x="6059" y="4634"/>
                  </a:lnTo>
                  <a:lnTo>
                    <a:pt x="6017" y="4617"/>
                  </a:lnTo>
                  <a:lnTo>
                    <a:pt x="5922" y="4715"/>
                  </a:lnTo>
                  <a:lnTo>
                    <a:pt x="5803" y="4885"/>
                  </a:lnTo>
                  <a:lnTo>
                    <a:pt x="5719" y="5095"/>
                  </a:lnTo>
                  <a:lnTo>
                    <a:pt x="5778" y="5068"/>
                  </a:lnTo>
                  <a:lnTo>
                    <a:pt x="5883" y="4971"/>
                  </a:lnTo>
                  <a:lnTo>
                    <a:pt x="6037" y="4841"/>
                  </a:lnTo>
                  <a:lnTo>
                    <a:pt x="5886" y="5045"/>
                  </a:lnTo>
                  <a:lnTo>
                    <a:pt x="5838" y="5146"/>
                  </a:lnTo>
                  <a:lnTo>
                    <a:pt x="5957" y="5137"/>
                  </a:lnTo>
                  <a:lnTo>
                    <a:pt x="6124" y="5052"/>
                  </a:lnTo>
                  <a:lnTo>
                    <a:pt x="6169" y="5013"/>
                  </a:lnTo>
                  <a:lnTo>
                    <a:pt x="6255" y="4907"/>
                  </a:lnTo>
                  <a:lnTo>
                    <a:pt x="6360" y="4819"/>
                  </a:lnTo>
                  <a:lnTo>
                    <a:pt x="6456" y="4809"/>
                  </a:lnTo>
                  <a:lnTo>
                    <a:pt x="6471" y="4885"/>
                  </a:lnTo>
                  <a:lnTo>
                    <a:pt x="6300" y="5020"/>
                  </a:lnTo>
                  <a:lnTo>
                    <a:pt x="6225" y="5117"/>
                  </a:lnTo>
                  <a:lnTo>
                    <a:pt x="6422" y="5178"/>
                  </a:lnTo>
                  <a:lnTo>
                    <a:pt x="6543" y="5164"/>
                  </a:lnTo>
                  <a:lnTo>
                    <a:pt x="6554" y="5067"/>
                  </a:lnTo>
                  <a:lnTo>
                    <a:pt x="6715" y="4946"/>
                  </a:lnTo>
                  <a:lnTo>
                    <a:pt x="6759" y="4846"/>
                  </a:lnTo>
                  <a:lnTo>
                    <a:pt x="6884" y="4695"/>
                  </a:lnTo>
                  <a:lnTo>
                    <a:pt x="6954" y="4784"/>
                  </a:lnTo>
                  <a:lnTo>
                    <a:pt x="7124" y="4708"/>
                  </a:lnTo>
                  <a:lnTo>
                    <a:pt x="7199" y="4654"/>
                  </a:lnTo>
                  <a:lnTo>
                    <a:pt x="7286" y="4525"/>
                  </a:lnTo>
                  <a:lnTo>
                    <a:pt x="7408" y="4466"/>
                  </a:lnTo>
                  <a:lnTo>
                    <a:pt x="7388" y="4378"/>
                  </a:lnTo>
                  <a:lnTo>
                    <a:pt x="7465" y="4370"/>
                  </a:lnTo>
                  <a:lnTo>
                    <a:pt x="7565" y="4304"/>
                  </a:lnTo>
                  <a:lnTo>
                    <a:pt x="7683" y="4205"/>
                  </a:lnTo>
                  <a:lnTo>
                    <a:pt x="7627" y="4159"/>
                  </a:lnTo>
                  <a:lnTo>
                    <a:pt x="7611" y="4069"/>
                  </a:lnTo>
                  <a:lnTo>
                    <a:pt x="7719" y="4082"/>
                  </a:lnTo>
                  <a:lnTo>
                    <a:pt x="7925" y="4026"/>
                  </a:lnTo>
                  <a:lnTo>
                    <a:pt x="7904" y="3914"/>
                  </a:lnTo>
                  <a:lnTo>
                    <a:pt x="7788" y="3856"/>
                  </a:lnTo>
                  <a:lnTo>
                    <a:pt x="7909" y="3840"/>
                  </a:lnTo>
                  <a:lnTo>
                    <a:pt x="7999" y="3887"/>
                  </a:lnTo>
                  <a:lnTo>
                    <a:pt x="8011" y="3776"/>
                  </a:lnTo>
                  <a:lnTo>
                    <a:pt x="7971" y="3722"/>
                  </a:lnTo>
                  <a:lnTo>
                    <a:pt x="7847" y="3659"/>
                  </a:lnTo>
                  <a:lnTo>
                    <a:pt x="7678" y="3639"/>
                  </a:lnTo>
                  <a:close/>
                  <a:moveTo>
                    <a:pt x="8947" y="3680"/>
                  </a:moveTo>
                  <a:lnTo>
                    <a:pt x="8893" y="3686"/>
                  </a:lnTo>
                  <a:lnTo>
                    <a:pt x="8893" y="3739"/>
                  </a:lnTo>
                  <a:lnTo>
                    <a:pt x="8943" y="3769"/>
                  </a:lnTo>
                  <a:lnTo>
                    <a:pt x="9020" y="3759"/>
                  </a:lnTo>
                  <a:lnTo>
                    <a:pt x="9042" y="3749"/>
                  </a:lnTo>
                  <a:lnTo>
                    <a:pt x="9075" y="3720"/>
                  </a:lnTo>
                  <a:lnTo>
                    <a:pt x="9012" y="3693"/>
                  </a:lnTo>
                  <a:lnTo>
                    <a:pt x="8947" y="3680"/>
                  </a:lnTo>
                  <a:close/>
                  <a:moveTo>
                    <a:pt x="8823" y="3700"/>
                  </a:moveTo>
                  <a:lnTo>
                    <a:pt x="8772" y="3750"/>
                  </a:lnTo>
                  <a:lnTo>
                    <a:pt x="8767" y="3764"/>
                  </a:lnTo>
                  <a:lnTo>
                    <a:pt x="8782" y="3774"/>
                  </a:lnTo>
                  <a:lnTo>
                    <a:pt x="8826" y="3764"/>
                  </a:lnTo>
                  <a:lnTo>
                    <a:pt x="8871" y="3710"/>
                  </a:lnTo>
                  <a:lnTo>
                    <a:pt x="8823" y="3700"/>
                  </a:lnTo>
                  <a:close/>
                  <a:moveTo>
                    <a:pt x="13530" y="3718"/>
                  </a:moveTo>
                  <a:lnTo>
                    <a:pt x="13491" y="3732"/>
                  </a:lnTo>
                  <a:lnTo>
                    <a:pt x="13461" y="3801"/>
                  </a:lnTo>
                  <a:lnTo>
                    <a:pt x="13503" y="3846"/>
                  </a:lnTo>
                  <a:lnTo>
                    <a:pt x="13588" y="3873"/>
                  </a:lnTo>
                  <a:lnTo>
                    <a:pt x="13593" y="3865"/>
                  </a:lnTo>
                  <a:lnTo>
                    <a:pt x="13567" y="3779"/>
                  </a:lnTo>
                  <a:lnTo>
                    <a:pt x="13530" y="3718"/>
                  </a:lnTo>
                  <a:close/>
                  <a:moveTo>
                    <a:pt x="13255" y="3752"/>
                  </a:moveTo>
                  <a:lnTo>
                    <a:pt x="13120" y="3755"/>
                  </a:lnTo>
                  <a:lnTo>
                    <a:pt x="13106" y="3899"/>
                  </a:lnTo>
                  <a:lnTo>
                    <a:pt x="13147" y="3989"/>
                  </a:lnTo>
                  <a:lnTo>
                    <a:pt x="13200" y="4030"/>
                  </a:lnTo>
                  <a:lnTo>
                    <a:pt x="13326" y="4033"/>
                  </a:lnTo>
                  <a:lnTo>
                    <a:pt x="13401" y="3942"/>
                  </a:lnTo>
                  <a:lnTo>
                    <a:pt x="13329" y="3887"/>
                  </a:lnTo>
                  <a:lnTo>
                    <a:pt x="13255" y="3752"/>
                  </a:lnTo>
                  <a:close/>
                  <a:moveTo>
                    <a:pt x="8963" y="3829"/>
                  </a:moveTo>
                  <a:lnTo>
                    <a:pt x="8878" y="3835"/>
                  </a:lnTo>
                  <a:lnTo>
                    <a:pt x="8819" y="3885"/>
                  </a:lnTo>
                  <a:lnTo>
                    <a:pt x="8801" y="3939"/>
                  </a:lnTo>
                  <a:lnTo>
                    <a:pt x="8896" y="4021"/>
                  </a:lnTo>
                  <a:lnTo>
                    <a:pt x="8928" y="4070"/>
                  </a:lnTo>
                  <a:lnTo>
                    <a:pt x="8998" y="4052"/>
                  </a:lnTo>
                  <a:lnTo>
                    <a:pt x="9121" y="4062"/>
                  </a:lnTo>
                  <a:lnTo>
                    <a:pt x="9174" y="4033"/>
                  </a:lnTo>
                  <a:lnTo>
                    <a:pt x="9233" y="4006"/>
                  </a:lnTo>
                  <a:lnTo>
                    <a:pt x="9337" y="4010"/>
                  </a:lnTo>
                  <a:lnTo>
                    <a:pt x="9363" y="3959"/>
                  </a:lnTo>
                  <a:lnTo>
                    <a:pt x="9320" y="3954"/>
                  </a:lnTo>
                  <a:lnTo>
                    <a:pt x="9325" y="3929"/>
                  </a:lnTo>
                  <a:lnTo>
                    <a:pt x="9290" y="3893"/>
                  </a:lnTo>
                  <a:lnTo>
                    <a:pt x="9233" y="3850"/>
                  </a:lnTo>
                  <a:lnTo>
                    <a:pt x="9151" y="3835"/>
                  </a:lnTo>
                  <a:lnTo>
                    <a:pt x="9079" y="3840"/>
                  </a:lnTo>
                  <a:lnTo>
                    <a:pt x="9049" y="3885"/>
                  </a:lnTo>
                  <a:lnTo>
                    <a:pt x="9020" y="3850"/>
                  </a:lnTo>
                  <a:lnTo>
                    <a:pt x="8963" y="3829"/>
                  </a:lnTo>
                  <a:close/>
                  <a:moveTo>
                    <a:pt x="6128" y="3835"/>
                  </a:moveTo>
                  <a:lnTo>
                    <a:pt x="6077" y="3850"/>
                  </a:lnTo>
                  <a:lnTo>
                    <a:pt x="6052" y="3897"/>
                  </a:lnTo>
                  <a:lnTo>
                    <a:pt x="6106" y="3974"/>
                  </a:lnTo>
                  <a:lnTo>
                    <a:pt x="6136" y="3974"/>
                  </a:lnTo>
                  <a:lnTo>
                    <a:pt x="6176" y="3883"/>
                  </a:lnTo>
                  <a:lnTo>
                    <a:pt x="6128" y="3835"/>
                  </a:lnTo>
                  <a:close/>
                  <a:moveTo>
                    <a:pt x="8511" y="3846"/>
                  </a:moveTo>
                  <a:lnTo>
                    <a:pt x="8468" y="3907"/>
                  </a:lnTo>
                  <a:lnTo>
                    <a:pt x="8421" y="3951"/>
                  </a:lnTo>
                  <a:lnTo>
                    <a:pt x="8399" y="4055"/>
                  </a:lnTo>
                  <a:lnTo>
                    <a:pt x="8314" y="4139"/>
                  </a:lnTo>
                  <a:lnTo>
                    <a:pt x="8386" y="4242"/>
                  </a:lnTo>
                  <a:lnTo>
                    <a:pt x="8429" y="4245"/>
                  </a:lnTo>
                  <a:lnTo>
                    <a:pt x="8443" y="4186"/>
                  </a:lnTo>
                  <a:lnTo>
                    <a:pt x="8483" y="4186"/>
                  </a:lnTo>
                  <a:lnTo>
                    <a:pt x="8520" y="4237"/>
                  </a:lnTo>
                  <a:lnTo>
                    <a:pt x="8585" y="4259"/>
                  </a:lnTo>
                  <a:lnTo>
                    <a:pt x="8620" y="4311"/>
                  </a:lnTo>
                  <a:lnTo>
                    <a:pt x="8674" y="4343"/>
                  </a:lnTo>
                  <a:lnTo>
                    <a:pt x="8769" y="4326"/>
                  </a:lnTo>
                  <a:lnTo>
                    <a:pt x="8794" y="4348"/>
                  </a:lnTo>
                  <a:lnTo>
                    <a:pt x="8828" y="4311"/>
                  </a:lnTo>
                  <a:lnTo>
                    <a:pt x="8824" y="4397"/>
                  </a:lnTo>
                  <a:lnTo>
                    <a:pt x="8858" y="4415"/>
                  </a:lnTo>
                  <a:lnTo>
                    <a:pt x="8878" y="4473"/>
                  </a:lnTo>
                  <a:lnTo>
                    <a:pt x="9020" y="4518"/>
                  </a:lnTo>
                  <a:lnTo>
                    <a:pt x="9067" y="4557"/>
                  </a:lnTo>
                  <a:lnTo>
                    <a:pt x="9174" y="4609"/>
                  </a:lnTo>
                  <a:lnTo>
                    <a:pt x="9178" y="4560"/>
                  </a:lnTo>
                  <a:lnTo>
                    <a:pt x="9218" y="4579"/>
                  </a:lnTo>
                  <a:lnTo>
                    <a:pt x="9251" y="4629"/>
                  </a:lnTo>
                  <a:lnTo>
                    <a:pt x="9332" y="4675"/>
                  </a:lnTo>
                  <a:lnTo>
                    <a:pt x="9382" y="4671"/>
                  </a:lnTo>
                  <a:lnTo>
                    <a:pt x="9432" y="4632"/>
                  </a:lnTo>
                  <a:lnTo>
                    <a:pt x="9457" y="4590"/>
                  </a:lnTo>
                  <a:lnTo>
                    <a:pt x="9475" y="4540"/>
                  </a:lnTo>
                  <a:lnTo>
                    <a:pt x="9494" y="4501"/>
                  </a:lnTo>
                  <a:lnTo>
                    <a:pt x="9512" y="4462"/>
                  </a:lnTo>
                  <a:lnTo>
                    <a:pt x="9494" y="4407"/>
                  </a:lnTo>
                  <a:lnTo>
                    <a:pt x="9516" y="4400"/>
                  </a:lnTo>
                  <a:lnTo>
                    <a:pt x="9526" y="4345"/>
                  </a:lnTo>
                  <a:lnTo>
                    <a:pt x="9519" y="4309"/>
                  </a:lnTo>
                  <a:lnTo>
                    <a:pt x="9501" y="4281"/>
                  </a:lnTo>
                  <a:lnTo>
                    <a:pt x="9412" y="4245"/>
                  </a:lnTo>
                  <a:lnTo>
                    <a:pt x="9470" y="4235"/>
                  </a:lnTo>
                  <a:lnTo>
                    <a:pt x="9491" y="4215"/>
                  </a:lnTo>
                  <a:lnTo>
                    <a:pt x="9440" y="4171"/>
                  </a:lnTo>
                  <a:lnTo>
                    <a:pt x="9435" y="4126"/>
                  </a:lnTo>
                  <a:lnTo>
                    <a:pt x="9442" y="4102"/>
                  </a:lnTo>
                  <a:lnTo>
                    <a:pt x="9430" y="4063"/>
                  </a:lnTo>
                  <a:lnTo>
                    <a:pt x="9372" y="4047"/>
                  </a:lnTo>
                  <a:lnTo>
                    <a:pt x="9308" y="4055"/>
                  </a:lnTo>
                  <a:lnTo>
                    <a:pt x="9229" y="4052"/>
                  </a:lnTo>
                  <a:lnTo>
                    <a:pt x="9151" y="4075"/>
                  </a:lnTo>
                  <a:lnTo>
                    <a:pt x="9119" y="4159"/>
                  </a:lnTo>
                  <a:lnTo>
                    <a:pt x="9075" y="4210"/>
                  </a:lnTo>
                  <a:lnTo>
                    <a:pt x="9029" y="4159"/>
                  </a:lnTo>
                  <a:lnTo>
                    <a:pt x="9057" y="4144"/>
                  </a:lnTo>
                  <a:lnTo>
                    <a:pt x="9097" y="4079"/>
                  </a:lnTo>
                  <a:lnTo>
                    <a:pt x="9005" y="4069"/>
                  </a:lnTo>
                  <a:lnTo>
                    <a:pt x="8920" y="4089"/>
                  </a:lnTo>
                  <a:lnTo>
                    <a:pt x="8864" y="4069"/>
                  </a:lnTo>
                  <a:lnTo>
                    <a:pt x="8849" y="4011"/>
                  </a:lnTo>
                  <a:lnTo>
                    <a:pt x="8798" y="3973"/>
                  </a:lnTo>
                  <a:lnTo>
                    <a:pt x="8741" y="4011"/>
                  </a:lnTo>
                  <a:lnTo>
                    <a:pt x="8612" y="4030"/>
                  </a:lnTo>
                  <a:lnTo>
                    <a:pt x="8726" y="3964"/>
                  </a:lnTo>
                  <a:lnTo>
                    <a:pt x="8724" y="3944"/>
                  </a:lnTo>
                  <a:lnTo>
                    <a:pt x="8597" y="3930"/>
                  </a:lnTo>
                  <a:lnTo>
                    <a:pt x="8592" y="3863"/>
                  </a:lnTo>
                  <a:lnTo>
                    <a:pt x="8511" y="3846"/>
                  </a:lnTo>
                  <a:close/>
                  <a:moveTo>
                    <a:pt x="18204" y="3954"/>
                  </a:moveTo>
                  <a:lnTo>
                    <a:pt x="18083" y="3957"/>
                  </a:lnTo>
                  <a:lnTo>
                    <a:pt x="18163" y="4077"/>
                  </a:lnTo>
                  <a:lnTo>
                    <a:pt x="18257" y="4149"/>
                  </a:lnTo>
                  <a:lnTo>
                    <a:pt x="18373" y="4180"/>
                  </a:lnTo>
                  <a:lnTo>
                    <a:pt x="18540" y="4306"/>
                  </a:lnTo>
                  <a:lnTo>
                    <a:pt x="18612" y="4388"/>
                  </a:lnTo>
                  <a:lnTo>
                    <a:pt x="18796" y="4609"/>
                  </a:lnTo>
                  <a:lnTo>
                    <a:pt x="18779" y="4659"/>
                  </a:lnTo>
                  <a:lnTo>
                    <a:pt x="19017" y="4882"/>
                  </a:lnTo>
                  <a:lnTo>
                    <a:pt x="19047" y="4998"/>
                  </a:lnTo>
                  <a:lnTo>
                    <a:pt x="19164" y="5255"/>
                  </a:lnTo>
                  <a:lnTo>
                    <a:pt x="19265" y="5388"/>
                  </a:lnTo>
                  <a:lnTo>
                    <a:pt x="19355" y="5546"/>
                  </a:lnTo>
                  <a:lnTo>
                    <a:pt x="19437" y="5654"/>
                  </a:lnTo>
                  <a:lnTo>
                    <a:pt x="19501" y="5796"/>
                  </a:lnTo>
                  <a:lnTo>
                    <a:pt x="19556" y="5792"/>
                  </a:lnTo>
                  <a:lnTo>
                    <a:pt x="19561" y="5733"/>
                  </a:lnTo>
                  <a:lnTo>
                    <a:pt x="19657" y="5831"/>
                  </a:lnTo>
                  <a:lnTo>
                    <a:pt x="19675" y="5797"/>
                  </a:lnTo>
                  <a:lnTo>
                    <a:pt x="19610" y="5684"/>
                  </a:lnTo>
                  <a:lnTo>
                    <a:pt x="19421" y="5481"/>
                  </a:lnTo>
                  <a:lnTo>
                    <a:pt x="19387" y="5557"/>
                  </a:lnTo>
                  <a:lnTo>
                    <a:pt x="19339" y="5410"/>
                  </a:lnTo>
                  <a:lnTo>
                    <a:pt x="19241" y="5235"/>
                  </a:lnTo>
                  <a:lnTo>
                    <a:pt x="19141" y="5009"/>
                  </a:lnTo>
                  <a:lnTo>
                    <a:pt x="19213" y="5052"/>
                  </a:lnTo>
                  <a:lnTo>
                    <a:pt x="19216" y="4993"/>
                  </a:lnTo>
                  <a:lnTo>
                    <a:pt x="19032" y="4754"/>
                  </a:lnTo>
                  <a:lnTo>
                    <a:pt x="18928" y="4542"/>
                  </a:lnTo>
                  <a:lnTo>
                    <a:pt x="18806" y="4368"/>
                  </a:lnTo>
                  <a:lnTo>
                    <a:pt x="18706" y="4271"/>
                  </a:lnTo>
                  <a:lnTo>
                    <a:pt x="18666" y="4265"/>
                  </a:lnTo>
                  <a:lnTo>
                    <a:pt x="18562" y="4183"/>
                  </a:lnTo>
                  <a:lnTo>
                    <a:pt x="18455" y="4138"/>
                  </a:lnTo>
                  <a:lnTo>
                    <a:pt x="18292" y="3991"/>
                  </a:lnTo>
                  <a:lnTo>
                    <a:pt x="18204" y="3954"/>
                  </a:lnTo>
                  <a:close/>
                  <a:moveTo>
                    <a:pt x="7830" y="4079"/>
                  </a:moveTo>
                  <a:lnTo>
                    <a:pt x="7721" y="4119"/>
                  </a:lnTo>
                  <a:lnTo>
                    <a:pt x="7706" y="4132"/>
                  </a:lnTo>
                  <a:lnTo>
                    <a:pt x="7713" y="4181"/>
                  </a:lnTo>
                  <a:lnTo>
                    <a:pt x="7693" y="4228"/>
                  </a:lnTo>
                  <a:lnTo>
                    <a:pt x="7674" y="4276"/>
                  </a:lnTo>
                  <a:lnTo>
                    <a:pt x="7723" y="4272"/>
                  </a:lnTo>
                  <a:lnTo>
                    <a:pt x="7842" y="4201"/>
                  </a:lnTo>
                  <a:lnTo>
                    <a:pt x="7894" y="4107"/>
                  </a:lnTo>
                  <a:lnTo>
                    <a:pt x="7890" y="4085"/>
                  </a:lnTo>
                  <a:lnTo>
                    <a:pt x="7830" y="4079"/>
                  </a:lnTo>
                  <a:close/>
                  <a:moveTo>
                    <a:pt x="5955" y="4084"/>
                  </a:moveTo>
                  <a:lnTo>
                    <a:pt x="5902" y="4104"/>
                  </a:lnTo>
                  <a:lnTo>
                    <a:pt x="5876" y="4136"/>
                  </a:lnTo>
                  <a:lnTo>
                    <a:pt x="5950" y="4158"/>
                  </a:lnTo>
                  <a:lnTo>
                    <a:pt x="5989" y="4138"/>
                  </a:lnTo>
                  <a:lnTo>
                    <a:pt x="6002" y="4109"/>
                  </a:lnTo>
                  <a:lnTo>
                    <a:pt x="5963" y="4085"/>
                  </a:lnTo>
                  <a:lnTo>
                    <a:pt x="5955" y="4084"/>
                  </a:lnTo>
                  <a:close/>
                  <a:moveTo>
                    <a:pt x="6794" y="4237"/>
                  </a:moveTo>
                  <a:lnTo>
                    <a:pt x="6707" y="4254"/>
                  </a:lnTo>
                  <a:lnTo>
                    <a:pt x="6697" y="4319"/>
                  </a:lnTo>
                  <a:lnTo>
                    <a:pt x="6737" y="4353"/>
                  </a:lnTo>
                  <a:lnTo>
                    <a:pt x="6757" y="4358"/>
                  </a:lnTo>
                  <a:lnTo>
                    <a:pt x="6831" y="4353"/>
                  </a:lnTo>
                  <a:lnTo>
                    <a:pt x="6889" y="4306"/>
                  </a:lnTo>
                  <a:lnTo>
                    <a:pt x="6881" y="4257"/>
                  </a:lnTo>
                  <a:lnTo>
                    <a:pt x="6794" y="4237"/>
                  </a:lnTo>
                  <a:close/>
                  <a:moveTo>
                    <a:pt x="8572" y="4403"/>
                  </a:moveTo>
                  <a:lnTo>
                    <a:pt x="8483" y="4476"/>
                  </a:lnTo>
                  <a:lnTo>
                    <a:pt x="8418" y="4621"/>
                  </a:lnTo>
                  <a:lnTo>
                    <a:pt x="8416" y="4553"/>
                  </a:lnTo>
                  <a:lnTo>
                    <a:pt x="8372" y="4466"/>
                  </a:lnTo>
                  <a:lnTo>
                    <a:pt x="8248" y="4530"/>
                  </a:lnTo>
                  <a:lnTo>
                    <a:pt x="8185" y="4575"/>
                  </a:lnTo>
                  <a:lnTo>
                    <a:pt x="8190" y="4664"/>
                  </a:lnTo>
                  <a:lnTo>
                    <a:pt x="8193" y="4762"/>
                  </a:lnTo>
                  <a:lnTo>
                    <a:pt x="8181" y="4843"/>
                  </a:lnTo>
                  <a:lnTo>
                    <a:pt x="8083" y="4964"/>
                  </a:lnTo>
                  <a:lnTo>
                    <a:pt x="8007" y="4981"/>
                  </a:lnTo>
                  <a:lnTo>
                    <a:pt x="7942" y="5047"/>
                  </a:lnTo>
                  <a:lnTo>
                    <a:pt x="7760" y="5146"/>
                  </a:lnTo>
                  <a:lnTo>
                    <a:pt x="7642" y="5215"/>
                  </a:lnTo>
                  <a:lnTo>
                    <a:pt x="7581" y="5262"/>
                  </a:lnTo>
                  <a:lnTo>
                    <a:pt x="7406" y="5259"/>
                  </a:lnTo>
                  <a:lnTo>
                    <a:pt x="7370" y="5312"/>
                  </a:lnTo>
                  <a:lnTo>
                    <a:pt x="7403" y="5353"/>
                  </a:lnTo>
                  <a:lnTo>
                    <a:pt x="7353" y="5417"/>
                  </a:lnTo>
                  <a:lnTo>
                    <a:pt x="7262" y="5541"/>
                  </a:lnTo>
                  <a:lnTo>
                    <a:pt x="7284" y="5422"/>
                  </a:lnTo>
                  <a:lnTo>
                    <a:pt x="7273" y="5376"/>
                  </a:lnTo>
                  <a:lnTo>
                    <a:pt x="7177" y="5388"/>
                  </a:lnTo>
                  <a:lnTo>
                    <a:pt x="7060" y="5430"/>
                  </a:lnTo>
                  <a:lnTo>
                    <a:pt x="7015" y="5516"/>
                  </a:lnTo>
                  <a:lnTo>
                    <a:pt x="7050" y="5555"/>
                  </a:lnTo>
                  <a:lnTo>
                    <a:pt x="7082" y="5575"/>
                  </a:lnTo>
                  <a:lnTo>
                    <a:pt x="7159" y="5610"/>
                  </a:lnTo>
                  <a:lnTo>
                    <a:pt x="7021" y="5652"/>
                  </a:lnTo>
                  <a:lnTo>
                    <a:pt x="6944" y="5659"/>
                  </a:lnTo>
                  <a:lnTo>
                    <a:pt x="6861" y="5600"/>
                  </a:lnTo>
                  <a:lnTo>
                    <a:pt x="6650" y="5619"/>
                  </a:lnTo>
                  <a:lnTo>
                    <a:pt x="6598" y="5681"/>
                  </a:lnTo>
                  <a:lnTo>
                    <a:pt x="6469" y="5708"/>
                  </a:lnTo>
                  <a:lnTo>
                    <a:pt x="6333" y="5860"/>
                  </a:lnTo>
                  <a:lnTo>
                    <a:pt x="6186" y="5934"/>
                  </a:lnTo>
                  <a:lnTo>
                    <a:pt x="6087" y="6014"/>
                  </a:lnTo>
                  <a:lnTo>
                    <a:pt x="5915" y="6230"/>
                  </a:lnTo>
                  <a:lnTo>
                    <a:pt x="5773" y="6358"/>
                  </a:lnTo>
                  <a:lnTo>
                    <a:pt x="5707" y="6474"/>
                  </a:lnTo>
                  <a:lnTo>
                    <a:pt x="5756" y="6620"/>
                  </a:lnTo>
                  <a:lnTo>
                    <a:pt x="5671" y="6802"/>
                  </a:lnTo>
                  <a:lnTo>
                    <a:pt x="5722" y="6900"/>
                  </a:lnTo>
                  <a:lnTo>
                    <a:pt x="5888" y="6839"/>
                  </a:lnTo>
                  <a:lnTo>
                    <a:pt x="6029" y="6789"/>
                  </a:lnTo>
                  <a:lnTo>
                    <a:pt x="6138" y="6686"/>
                  </a:lnTo>
                  <a:lnTo>
                    <a:pt x="6312" y="6715"/>
                  </a:lnTo>
                  <a:lnTo>
                    <a:pt x="6429" y="6681"/>
                  </a:lnTo>
                  <a:lnTo>
                    <a:pt x="6539" y="6612"/>
                  </a:lnTo>
                  <a:lnTo>
                    <a:pt x="6662" y="6602"/>
                  </a:lnTo>
                  <a:lnTo>
                    <a:pt x="6744" y="6662"/>
                  </a:lnTo>
                  <a:lnTo>
                    <a:pt x="6826" y="6713"/>
                  </a:lnTo>
                  <a:lnTo>
                    <a:pt x="6856" y="6747"/>
                  </a:lnTo>
                  <a:lnTo>
                    <a:pt x="7036" y="6789"/>
                  </a:lnTo>
                  <a:lnTo>
                    <a:pt x="7244" y="6743"/>
                  </a:lnTo>
                  <a:lnTo>
                    <a:pt x="7339" y="6750"/>
                  </a:lnTo>
                  <a:lnTo>
                    <a:pt x="7380" y="6804"/>
                  </a:lnTo>
                  <a:lnTo>
                    <a:pt x="7544" y="6901"/>
                  </a:lnTo>
                  <a:lnTo>
                    <a:pt x="7763" y="6925"/>
                  </a:lnTo>
                  <a:lnTo>
                    <a:pt x="7991" y="6923"/>
                  </a:lnTo>
                  <a:lnTo>
                    <a:pt x="7942" y="6861"/>
                  </a:lnTo>
                  <a:lnTo>
                    <a:pt x="7845" y="6747"/>
                  </a:lnTo>
                  <a:lnTo>
                    <a:pt x="7964" y="6730"/>
                  </a:lnTo>
                  <a:lnTo>
                    <a:pt x="8046" y="6632"/>
                  </a:lnTo>
                  <a:lnTo>
                    <a:pt x="8012" y="6752"/>
                  </a:lnTo>
                  <a:lnTo>
                    <a:pt x="7989" y="6831"/>
                  </a:lnTo>
                  <a:lnTo>
                    <a:pt x="8088" y="6876"/>
                  </a:lnTo>
                  <a:lnTo>
                    <a:pt x="8180" y="6757"/>
                  </a:lnTo>
                  <a:lnTo>
                    <a:pt x="8213" y="6630"/>
                  </a:lnTo>
                  <a:lnTo>
                    <a:pt x="8198" y="6550"/>
                  </a:lnTo>
                  <a:lnTo>
                    <a:pt x="8255" y="6535"/>
                  </a:lnTo>
                  <a:lnTo>
                    <a:pt x="8270" y="6657"/>
                  </a:lnTo>
                  <a:lnTo>
                    <a:pt x="8329" y="6600"/>
                  </a:lnTo>
                  <a:lnTo>
                    <a:pt x="8377" y="6471"/>
                  </a:lnTo>
                  <a:lnTo>
                    <a:pt x="8426" y="6518"/>
                  </a:lnTo>
                  <a:lnTo>
                    <a:pt x="8498" y="6545"/>
                  </a:lnTo>
                  <a:lnTo>
                    <a:pt x="8556" y="6509"/>
                  </a:lnTo>
                  <a:lnTo>
                    <a:pt x="8570" y="6420"/>
                  </a:lnTo>
                  <a:lnTo>
                    <a:pt x="8655" y="6479"/>
                  </a:lnTo>
                  <a:lnTo>
                    <a:pt x="8726" y="6329"/>
                  </a:lnTo>
                  <a:lnTo>
                    <a:pt x="8772" y="6348"/>
                  </a:lnTo>
                  <a:lnTo>
                    <a:pt x="8878" y="6232"/>
                  </a:lnTo>
                  <a:lnTo>
                    <a:pt x="8895" y="6115"/>
                  </a:lnTo>
                  <a:lnTo>
                    <a:pt x="8985" y="6119"/>
                  </a:lnTo>
                  <a:lnTo>
                    <a:pt x="9035" y="6152"/>
                  </a:lnTo>
                  <a:lnTo>
                    <a:pt x="9087" y="6040"/>
                  </a:lnTo>
                  <a:lnTo>
                    <a:pt x="9234" y="5898"/>
                  </a:lnTo>
                  <a:lnTo>
                    <a:pt x="9342" y="5834"/>
                  </a:lnTo>
                  <a:lnTo>
                    <a:pt x="9464" y="5765"/>
                  </a:lnTo>
                  <a:lnTo>
                    <a:pt x="9419" y="5716"/>
                  </a:lnTo>
                  <a:lnTo>
                    <a:pt x="9512" y="5753"/>
                  </a:lnTo>
                  <a:lnTo>
                    <a:pt x="9554" y="5735"/>
                  </a:lnTo>
                  <a:lnTo>
                    <a:pt x="9732" y="5706"/>
                  </a:lnTo>
                  <a:lnTo>
                    <a:pt x="9770" y="5641"/>
                  </a:lnTo>
                  <a:lnTo>
                    <a:pt x="9733" y="5572"/>
                  </a:lnTo>
                  <a:lnTo>
                    <a:pt x="9589" y="5543"/>
                  </a:lnTo>
                  <a:lnTo>
                    <a:pt x="9491" y="5541"/>
                  </a:lnTo>
                  <a:lnTo>
                    <a:pt x="9593" y="5494"/>
                  </a:lnTo>
                  <a:lnTo>
                    <a:pt x="9629" y="5440"/>
                  </a:lnTo>
                  <a:lnTo>
                    <a:pt x="9552" y="5442"/>
                  </a:lnTo>
                  <a:lnTo>
                    <a:pt x="9558" y="5353"/>
                  </a:lnTo>
                  <a:lnTo>
                    <a:pt x="9489" y="5301"/>
                  </a:lnTo>
                  <a:lnTo>
                    <a:pt x="9511" y="5274"/>
                  </a:lnTo>
                  <a:lnTo>
                    <a:pt x="9603" y="5358"/>
                  </a:lnTo>
                  <a:lnTo>
                    <a:pt x="9668" y="5415"/>
                  </a:lnTo>
                  <a:lnTo>
                    <a:pt x="9752" y="5398"/>
                  </a:lnTo>
                  <a:lnTo>
                    <a:pt x="9777" y="5222"/>
                  </a:lnTo>
                  <a:lnTo>
                    <a:pt x="9708" y="5094"/>
                  </a:lnTo>
                  <a:lnTo>
                    <a:pt x="9660" y="5047"/>
                  </a:lnTo>
                  <a:lnTo>
                    <a:pt x="9586" y="5053"/>
                  </a:lnTo>
                  <a:lnTo>
                    <a:pt x="9566" y="4991"/>
                  </a:lnTo>
                  <a:lnTo>
                    <a:pt x="9437" y="4966"/>
                  </a:lnTo>
                  <a:lnTo>
                    <a:pt x="9358" y="4988"/>
                  </a:lnTo>
                  <a:lnTo>
                    <a:pt x="9281" y="5070"/>
                  </a:lnTo>
                  <a:lnTo>
                    <a:pt x="9323" y="5006"/>
                  </a:lnTo>
                  <a:lnTo>
                    <a:pt x="9326" y="4972"/>
                  </a:lnTo>
                  <a:lnTo>
                    <a:pt x="9380" y="4905"/>
                  </a:lnTo>
                  <a:lnTo>
                    <a:pt x="9266" y="4875"/>
                  </a:lnTo>
                  <a:lnTo>
                    <a:pt x="9320" y="4839"/>
                  </a:lnTo>
                  <a:lnTo>
                    <a:pt x="9308" y="4775"/>
                  </a:lnTo>
                  <a:lnTo>
                    <a:pt x="9273" y="4715"/>
                  </a:lnTo>
                  <a:lnTo>
                    <a:pt x="9223" y="4669"/>
                  </a:lnTo>
                  <a:lnTo>
                    <a:pt x="9139" y="4686"/>
                  </a:lnTo>
                  <a:lnTo>
                    <a:pt x="9119" y="4654"/>
                  </a:lnTo>
                  <a:lnTo>
                    <a:pt x="8995" y="4577"/>
                  </a:lnTo>
                  <a:lnTo>
                    <a:pt x="8923" y="4557"/>
                  </a:lnTo>
                  <a:lnTo>
                    <a:pt x="8851" y="4632"/>
                  </a:lnTo>
                  <a:lnTo>
                    <a:pt x="8786" y="4626"/>
                  </a:lnTo>
                  <a:lnTo>
                    <a:pt x="8707" y="4525"/>
                  </a:lnTo>
                  <a:lnTo>
                    <a:pt x="8640" y="4410"/>
                  </a:lnTo>
                  <a:lnTo>
                    <a:pt x="8572" y="4403"/>
                  </a:lnTo>
                  <a:close/>
                  <a:moveTo>
                    <a:pt x="12817" y="5065"/>
                  </a:moveTo>
                  <a:lnTo>
                    <a:pt x="12695" y="5107"/>
                  </a:lnTo>
                  <a:lnTo>
                    <a:pt x="12676" y="5124"/>
                  </a:lnTo>
                  <a:lnTo>
                    <a:pt x="12690" y="5154"/>
                  </a:lnTo>
                  <a:lnTo>
                    <a:pt x="12900" y="5292"/>
                  </a:lnTo>
                  <a:lnTo>
                    <a:pt x="12887" y="5095"/>
                  </a:lnTo>
                  <a:lnTo>
                    <a:pt x="12817" y="5065"/>
                  </a:lnTo>
                  <a:close/>
                  <a:moveTo>
                    <a:pt x="19206" y="5090"/>
                  </a:moveTo>
                  <a:lnTo>
                    <a:pt x="19218" y="5166"/>
                  </a:lnTo>
                  <a:lnTo>
                    <a:pt x="19278" y="5243"/>
                  </a:lnTo>
                  <a:lnTo>
                    <a:pt x="19292" y="5306"/>
                  </a:lnTo>
                  <a:lnTo>
                    <a:pt x="19374" y="5413"/>
                  </a:lnTo>
                  <a:lnTo>
                    <a:pt x="19421" y="5447"/>
                  </a:lnTo>
                  <a:lnTo>
                    <a:pt x="19421" y="5385"/>
                  </a:lnTo>
                  <a:lnTo>
                    <a:pt x="19352" y="5312"/>
                  </a:lnTo>
                  <a:lnTo>
                    <a:pt x="19307" y="5233"/>
                  </a:lnTo>
                  <a:lnTo>
                    <a:pt x="19320" y="5205"/>
                  </a:lnTo>
                  <a:lnTo>
                    <a:pt x="19233" y="5097"/>
                  </a:lnTo>
                  <a:lnTo>
                    <a:pt x="19206" y="5090"/>
                  </a:lnTo>
                  <a:close/>
                  <a:moveTo>
                    <a:pt x="12390" y="5144"/>
                  </a:moveTo>
                  <a:lnTo>
                    <a:pt x="12283" y="5153"/>
                  </a:lnTo>
                  <a:lnTo>
                    <a:pt x="12298" y="5217"/>
                  </a:lnTo>
                  <a:lnTo>
                    <a:pt x="12380" y="5331"/>
                  </a:lnTo>
                  <a:lnTo>
                    <a:pt x="12432" y="5316"/>
                  </a:lnTo>
                  <a:lnTo>
                    <a:pt x="12562" y="5355"/>
                  </a:lnTo>
                  <a:lnTo>
                    <a:pt x="12649" y="5341"/>
                  </a:lnTo>
                  <a:lnTo>
                    <a:pt x="12735" y="5284"/>
                  </a:lnTo>
                  <a:lnTo>
                    <a:pt x="12738" y="5213"/>
                  </a:lnTo>
                  <a:lnTo>
                    <a:pt x="12582" y="5149"/>
                  </a:lnTo>
                  <a:lnTo>
                    <a:pt x="12390" y="5144"/>
                  </a:lnTo>
                  <a:close/>
                  <a:moveTo>
                    <a:pt x="1548" y="5400"/>
                  </a:moveTo>
                  <a:lnTo>
                    <a:pt x="1514" y="5464"/>
                  </a:lnTo>
                  <a:lnTo>
                    <a:pt x="1491" y="5521"/>
                  </a:lnTo>
                  <a:lnTo>
                    <a:pt x="1497" y="5521"/>
                  </a:lnTo>
                  <a:lnTo>
                    <a:pt x="1472" y="5575"/>
                  </a:lnTo>
                  <a:lnTo>
                    <a:pt x="1466" y="5629"/>
                  </a:lnTo>
                  <a:lnTo>
                    <a:pt x="1405" y="5765"/>
                  </a:lnTo>
                  <a:lnTo>
                    <a:pt x="1410" y="5735"/>
                  </a:lnTo>
                  <a:lnTo>
                    <a:pt x="1377" y="5797"/>
                  </a:lnTo>
                  <a:lnTo>
                    <a:pt x="1296" y="5987"/>
                  </a:lnTo>
                  <a:lnTo>
                    <a:pt x="1266" y="6045"/>
                  </a:lnTo>
                  <a:lnTo>
                    <a:pt x="1203" y="6195"/>
                  </a:lnTo>
                  <a:lnTo>
                    <a:pt x="1178" y="6269"/>
                  </a:lnTo>
                  <a:lnTo>
                    <a:pt x="1131" y="6351"/>
                  </a:lnTo>
                  <a:lnTo>
                    <a:pt x="1096" y="6423"/>
                  </a:lnTo>
                  <a:lnTo>
                    <a:pt x="1062" y="6518"/>
                  </a:lnTo>
                  <a:lnTo>
                    <a:pt x="1029" y="6599"/>
                  </a:lnTo>
                  <a:lnTo>
                    <a:pt x="1024" y="6553"/>
                  </a:lnTo>
                  <a:lnTo>
                    <a:pt x="968" y="6745"/>
                  </a:lnTo>
                  <a:lnTo>
                    <a:pt x="937" y="6849"/>
                  </a:lnTo>
                  <a:lnTo>
                    <a:pt x="915" y="6940"/>
                  </a:lnTo>
                  <a:lnTo>
                    <a:pt x="898" y="7023"/>
                  </a:lnTo>
                  <a:lnTo>
                    <a:pt x="910" y="7019"/>
                  </a:lnTo>
                  <a:lnTo>
                    <a:pt x="962" y="6875"/>
                  </a:lnTo>
                  <a:lnTo>
                    <a:pt x="992" y="6769"/>
                  </a:lnTo>
                  <a:lnTo>
                    <a:pt x="1007" y="6753"/>
                  </a:lnTo>
                  <a:lnTo>
                    <a:pt x="1044" y="6652"/>
                  </a:lnTo>
                  <a:lnTo>
                    <a:pt x="1057" y="6607"/>
                  </a:lnTo>
                  <a:lnTo>
                    <a:pt x="1112" y="6482"/>
                  </a:lnTo>
                  <a:lnTo>
                    <a:pt x="1191" y="6312"/>
                  </a:lnTo>
                  <a:lnTo>
                    <a:pt x="1223" y="6243"/>
                  </a:lnTo>
                  <a:lnTo>
                    <a:pt x="1258" y="6125"/>
                  </a:lnTo>
                  <a:lnTo>
                    <a:pt x="1303" y="6041"/>
                  </a:lnTo>
                  <a:lnTo>
                    <a:pt x="1375" y="5886"/>
                  </a:lnTo>
                  <a:lnTo>
                    <a:pt x="1417" y="5779"/>
                  </a:lnTo>
                  <a:lnTo>
                    <a:pt x="1471" y="5658"/>
                  </a:lnTo>
                  <a:lnTo>
                    <a:pt x="1476" y="5634"/>
                  </a:lnTo>
                  <a:lnTo>
                    <a:pt x="1514" y="5541"/>
                  </a:lnTo>
                  <a:lnTo>
                    <a:pt x="1531" y="5489"/>
                  </a:lnTo>
                  <a:lnTo>
                    <a:pt x="1544" y="5445"/>
                  </a:lnTo>
                  <a:lnTo>
                    <a:pt x="1534" y="5445"/>
                  </a:lnTo>
                  <a:lnTo>
                    <a:pt x="1548" y="5400"/>
                  </a:lnTo>
                  <a:close/>
                  <a:moveTo>
                    <a:pt x="1571" y="5816"/>
                  </a:moveTo>
                  <a:lnTo>
                    <a:pt x="1537" y="5853"/>
                  </a:lnTo>
                  <a:lnTo>
                    <a:pt x="1502" y="5986"/>
                  </a:lnTo>
                  <a:lnTo>
                    <a:pt x="1524" y="5962"/>
                  </a:lnTo>
                  <a:lnTo>
                    <a:pt x="1556" y="5871"/>
                  </a:lnTo>
                  <a:lnTo>
                    <a:pt x="1571" y="5816"/>
                  </a:lnTo>
                  <a:close/>
                  <a:moveTo>
                    <a:pt x="3853" y="5900"/>
                  </a:moveTo>
                  <a:lnTo>
                    <a:pt x="3782" y="6026"/>
                  </a:lnTo>
                  <a:lnTo>
                    <a:pt x="3739" y="6178"/>
                  </a:lnTo>
                  <a:lnTo>
                    <a:pt x="3742" y="6226"/>
                  </a:lnTo>
                  <a:lnTo>
                    <a:pt x="3769" y="6210"/>
                  </a:lnTo>
                  <a:lnTo>
                    <a:pt x="3826" y="6077"/>
                  </a:lnTo>
                  <a:lnTo>
                    <a:pt x="3863" y="5930"/>
                  </a:lnTo>
                  <a:lnTo>
                    <a:pt x="3853" y="5900"/>
                  </a:lnTo>
                  <a:close/>
                  <a:moveTo>
                    <a:pt x="1537" y="5954"/>
                  </a:moveTo>
                  <a:lnTo>
                    <a:pt x="1529" y="5962"/>
                  </a:lnTo>
                  <a:lnTo>
                    <a:pt x="1479" y="6053"/>
                  </a:lnTo>
                  <a:lnTo>
                    <a:pt x="1437" y="6094"/>
                  </a:lnTo>
                  <a:lnTo>
                    <a:pt x="1419" y="6127"/>
                  </a:lnTo>
                  <a:lnTo>
                    <a:pt x="1469" y="6094"/>
                  </a:lnTo>
                  <a:lnTo>
                    <a:pt x="1537" y="5954"/>
                  </a:lnTo>
                  <a:close/>
                  <a:moveTo>
                    <a:pt x="11422" y="5959"/>
                  </a:moveTo>
                  <a:lnTo>
                    <a:pt x="11407" y="5994"/>
                  </a:lnTo>
                  <a:lnTo>
                    <a:pt x="11407" y="6038"/>
                  </a:lnTo>
                  <a:lnTo>
                    <a:pt x="11384" y="5996"/>
                  </a:lnTo>
                  <a:lnTo>
                    <a:pt x="11342" y="6011"/>
                  </a:lnTo>
                  <a:lnTo>
                    <a:pt x="11297" y="6056"/>
                  </a:lnTo>
                  <a:lnTo>
                    <a:pt x="11364" y="6043"/>
                  </a:lnTo>
                  <a:lnTo>
                    <a:pt x="11365" y="6099"/>
                  </a:lnTo>
                  <a:lnTo>
                    <a:pt x="11414" y="6127"/>
                  </a:lnTo>
                  <a:lnTo>
                    <a:pt x="11437" y="6090"/>
                  </a:lnTo>
                  <a:lnTo>
                    <a:pt x="11431" y="6062"/>
                  </a:lnTo>
                  <a:lnTo>
                    <a:pt x="11451" y="6041"/>
                  </a:lnTo>
                  <a:lnTo>
                    <a:pt x="11479" y="6006"/>
                  </a:lnTo>
                  <a:lnTo>
                    <a:pt x="11479" y="5979"/>
                  </a:lnTo>
                  <a:lnTo>
                    <a:pt x="11422" y="5959"/>
                  </a:lnTo>
                  <a:close/>
                  <a:moveTo>
                    <a:pt x="1410" y="6045"/>
                  </a:moveTo>
                  <a:lnTo>
                    <a:pt x="1373" y="6067"/>
                  </a:lnTo>
                  <a:lnTo>
                    <a:pt x="1335" y="6141"/>
                  </a:lnTo>
                  <a:lnTo>
                    <a:pt x="1281" y="6221"/>
                  </a:lnTo>
                  <a:lnTo>
                    <a:pt x="1275" y="6252"/>
                  </a:lnTo>
                  <a:lnTo>
                    <a:pt x="1317" y="6203"/>
                  </a:lnTo>
                  <a:lnTo>
                    <a:pt x="1395" y="6088"/>
                  </a:lnTo>
                  <a:lnTo>
                    <a:pt x="1410" y="6045"/>
                  </a:lnTo>
                  <a:close/>
                  <a:moveTo>
                    <a:pt x="10634" y="6112"/>
                  </a:moveTo>
                  <a:lnTo>
                    <a:pt x="10599" y="6159"/>
                  </a:lnTo>
                  <a:lnTo>
                    <a:pt x="10559" y="6115"/>
                  </a:lnTo>
                  <a:lnTo>
                    <a:pt x="10456" y="6151"/>
                  </a:lnTo>
                  <a:lnTo>
                    <a:pt x="10478" y="6233"/>
                  </a:lnTo>
                  <a:lnTo>
                    <a:pt x="10525" y="6242"/>
                  </a:lnTo>
                  <a:lnTo>
                    <a:pt x="10525" y="6289"/>
                  </a:lnTo>
                  <a:lnTo>
                    <a:pt x="10622" y="6326"/>
                  </a:lnTo>
                  <a:lnTo>
                    <a:pt x="10723" y="6309"/>
                  </a:lnTo>
                  <a:lnTo>
                    <a:pt x="10771" y="6216"/>
                  </a:lnTo>
                  <a:lnTo>
                    <a:pt x="10711" y="6157"/>
                  </a:lnTo>
                  <a:lnTo>
                    <a:pt x="10634" y="6112"/>
                  </a:lnTo>
                  <a:close/>
                  <a:moveTo>
                    <a:pt x="19462" y="6125"/>
                  </a:moveTo>
                  <a:lnTo>
                    <a:pt x="19457" y="6191"/>
                  </a:lnTo>
                  <a:lnTo>
                    <a:pt x="19486" y="6302"/>
                  </a:lnTo>
                  <a:lnTo>
                    <a:pt x="19539" y="6378"/>
                  </a:lnTo>
                  <a:lnTo>
                    <a:pt x="19551" y="6430"/>
                  </a:lnTo>
                  <a:lnTo>
                    <a:pt x="19605" y="6528"/>
                  </a:lnTo>
                  <a:lnTo>
                    <a:pt x="19653" y="6620"/>
                  </a:lnTo>
                  <a:lnTo>
                    <a:pt x="19707" y="6688"/>
                  </a:lnTo>
                  <a:lnTo>
                    <a:pt x="19794" y="6760"/>
                  </a:lnTo>
                  <a:lnTo>
                    <a:pt x="19854" y="6804"/>
                  </a:lnTo>
                  <a:lnTo>
                    <a:pt x="19851" y="6757"/>
                  </a:lnTo>
                  <a:lnTo>
                    <a:pt x="19760" y="6657"/>
                  </a:lnTo>
                  <a:lnTo>
                    <a:pt x="19707" y="6578"/>
                  </a:lnTo>
                  <a:lnTo>
                    <a:pt x="19698" y="6504"/>
                  </a:lnTo>
                  <a:lnTo>
                    <a:pt x="19683" y="6482"/>
                  </a:lnTo>
                  <a:lnTo>
                    <a:pt x="19667" y="6531"/>
                  </a:lnTo>
                  <a:lnTo>
                    <a:pt x="19610" y="6449"/>
                  </a:lnTo>
                  <a:lnTo>
                    <a:pt x="19585" y="6375"/>
                  </a:lnTo>
                  <a:lnTo>
                    <a:pt x="19531" y="6262"/>
                  </a:lnTo>
                  <a:lnTo>
                    <a:pt x="19549" y="6210"/>
                  </a:lnTo>
                  <a:lnTo>
                    <a:pt x="19486" y="6132"/>
                  </a:lnTo>
                  <a:lnTo>
                    <a:pt x="19462" y="6125"/>
                  </a:lnTo>
                  <a:close/>
                  <a:moveTo>
                    <a:pt x="3414" y="6129"/>
                  </a:moveTo>
                  <a:lnTo>
                    <a:pt x="3367" y="6179"/>
                  </a:lnTo>
                  <a:lnTo>
                    <a:pt x="3309" y="6346"/>
                  </a:lnTo>
                  <a:lnTo>
                    <a:pt x="3319" y="6381"/>
                  </a:lnTo>
                  <a:lnTo>
                    <a:pt x="3374" y="6403"/>
                  </a:lnTo>
                  <a:lnTo>
                    <a:pt x="3369" y="6306"/>
                  </a:lnTo>
                  <a:lnTo>
                    <a:pt x="3387" y="6220"/>
                  </a:lnTo>
                  <a:lnTo>
                    <a:pt x="3454" y="6147"/>
                  </a:lnTo>
                  <a:lnTo>
                    <a:pt x="3414" y="6129"/>
                  </a:lnTo>
                  <a:close/>
                  <a:moveTo>
                    <a:pt x="10314" y="6181"/>
                  </a:moveTo>
                  <a:lnTo>
                    <a:pt x="10209" y="6220"/>
                  </a:lnTo>
                  <a:lnTo>
                    <a:pt x="10195" y="6356"/>
                  </a:lnTo>
                  <a:lnTo>
                    <a:pt x="10227" y="6513"/>
                  </a:lnTo>
                  <a:lnTo>
                    <a:pt x="10272" y="6573"/>
                  </a:lnTo>
                  <a:lnTo>
                    <a:pt x="10222" y="6627"/>
                  </a:lnTo>
                  <a:lnTo>
                    <a:pt x="10286" y="6747"/>
                  </a:lnTo>
                  <a:lnTo>
                    <a:pt x="10338" y="6748"/>
                  </a:lnTo>
                  <a:lnTo>
                    <a:pt x="10383" y="6609"/>
                  </a:lnTo>
                  <a:lnTo>
                    <a:pt x="10423" y="6580"/>
                  </a:lnTo>
                  <a:lnTo>
                    <a:pt x="10463" y="6457"/>
                  </a:lnTo>
                  <a:lnTo>
                    <a:pt x="10564" y="6398"/>
                  </a:lnTo>
                  <a:lnTo>
                    <a:pt x="10466" y="6260"/>
                  </a:lnTo>
                  <a:lnTo>
                    <a:pt x="10436" y="6195"/>
                  </a:lnTo>
                  <a:lnTo>
                    <a:pt x="10388" y="6193"/>
                  </a:lnTo>
                  <a:lnTo>
                    <a:pt x="10363" y="6248"/>
                  </a:lnTo>
                  <a:lnTo>
                    <a:pt x="10316" y="6242"/>
                  </a:lnTo>
                  <a:lnTo>
                    <a:pt x="10314" y="6181"/>
                  </a:lnTo>
                  <a:close/>
                  <a:moveTo>
                    <a:pt x="12355" y="6262"/>
                  </a:moveTo>
                  <a:lnTo>
                    <a:pt x="12308" y="6324"/>
                  </a:lnTo>
                  <a:lnTo>
                    <a:pt x="12291" y="6415"/>
                  </a:lnTo>
                  <a:lnTo>
                    <a:pt x="12191" y="6513"/>
                  </a:lnTo>
                  <a:lnTo>
                    <a:pt x="12127" y="6678"/>
                  </a:lnTo>
                  <a:lnTo>
                    <a:pt x="12084" y="6804"/>
                  </a:lnTo>
                  <a:lnTo>
                    <a:pt x="12134" y="6871"/>
                  </a:lnTo>
                  <a:lnTo>
                    <a:pt x="12099" y="7058"/>
                  </a:lnTo>
                  <a:lnTo>
                    <a:pt x="12152" y="7060"/>
                  </a:lnTo>
                  <a:lnTo>
                    <a:pt x="12124" y="7238"/>
                  </a:lnTo>
                  <a:lnTo>
                    <a:pt x="12167" y="7329"/>
                  </a:lnTo>
                  <a:lnTo>
                    <a:pt x="12130" y="7385"/>
                  </a:lnTo>
                  <a:lnTo>
                    <a:pt x="12179" y="7472"/>
                  </a:lnTo>
                  <a:lnTo>
                    <a:pt x="12296" y="7477"/>
                  </a:lnTo>
                  <a:lnTo>
                    <a:pt x="12346" y="7545"/>
                  </a:lnTo>
                  <a:lnTo>
                    <a:pt x="12536" y="7487"/>
                  </a:lnTo>
                  <a:lnTo>
                    <a:pt x="12559" y="7459"/>
                  </a:lnTo>
                  <a:lnTo>
                    <a:pt x="12387" y="7373"/>
                  </a:lnTo>
                  <a:lnTo>
                    <a:pt x="12306" y="7243"/>
                  </a:lnTo>
                  <a:lnTo>
                    <a:pt x="12298" y="7053"/>
                  </a:lnTo>
                  <a:lnTo>
                    <a:pt x="12274" y="6868"/>
                  </a:lnTo>
                  <a:lnTo>
                    <a:pt x="12308" y="6652"/>
                  </a:lnTo>
                  <a:lnTo>
                    <a:pt x="12373" y="6513"/>
                  </a:lnTo>
                  <a:lnTo>
                    <a:pt x="12440" y="6358"/>
                  </a:lnTo>
                  <a:lnTo>
                    <a:pt x="12425" y="6299"/>
                  </a:lnTo>
                  <a:lnTo>
                    <a:pt x="12355" y="6262"/>
                  </a:lnTo>
                  <a:close/>
                  <a:moveTo>
                    <a:pt x="10604" y="6487"/>
                  </a:moveTo>
                  <a:lnTo>
                    <a:pt x="10523" y="6516"/>
                  </a:lnTo>
                  <a:lnTo>
                    <a:pt x="10540" y="6573"/>
                  </a:lnTo>
                  <a:lnTo>
                    <a:pt x="10508" y="6615"/>
                  </a:lnTo>
                  <a:lnTo>
                    <a:pt x="10575" y="6661"/>
                  </a:lnTo>
                  <a:lnTo>
                    <a:pt x="10669" y="6595"/>
                  </a:lnTo>
                  <a:lnTo>
                    <a:pt x="10615" y="6553"/>
                  </a:lnTo>
                  <a:lnTo>
                    <a:pt x="10604" y="6487"/>
                  </a:lnTo>
                  <a:close/>
                  <a:moveTo>
                    <a:pt x="3675" y="6531"/>
                  </a:moveTo>
                  <a:lnTo>
                    <a:pt x="3640" y="6597"/>
                  </a:lnTo>
                  <a:lnTo>
                    <a:pt x="3586" y="6561"/>
                  </a:lnTo>
                  <a:lnTo>
                    <a:pt x="3546" y="6600"/>
                  </a:lnTo>
                  <a:lnTo>
                    <a:pt x="3563" y="6804"/>
                  </a:lnTo>
                  <a:lnTo>
                    <a:pt x="3585" y="6910"/>
                  </a:lnTo>
                  <a:lnTo>
                    <a:pt x="3568" y="7029"/>
                  </a:lnTo>
                  <a:lnTo>
                    <a:pt x="3493" y="6997"/>
                  </a:lnTo>
                  <a:lnTo>
                    <a:pt x="3498" y="7063"/>
                  </a:lnTo>
                  <a:lnTo>
                    <a:pt x="3637" y="7105"/>
                  </a:lnTo>
                  <a:lnTo>
                    <a:pt x="3623" y="7146"/>
                  </a:lnTo>
                  <a:lnTo>
                    <a:pt x="3509" y="7198"/>
                  </a:lnTo>
                  <a:lnTo>
                    <a:pt x="3498" y="7284"/>
                  </a:lnTo>
                  <a:lnTo>
                    <a:pt x="3513" y="7327"/>
                  </a:lnTo>
                  <a:lnTo>
                    <a:pt x="3640" y="7289"/>
                  </a:lnTo>
                  <a:lnTo>
                    <a:pt x="3717" y="7199"/>
                  </a:lnTo>
                  <a:lnTo>
                    <a:pt x="3787" y="7139"/>
                  </a:lnTo>
                  <a:lnTo>
                    <a:pt x="3750" y="7083"/>
                  </a:lnTo>
                  <a:lnTo>
                    <a:pt x="3858" y="7050"/>
                  </a:lnTo>
                  <a:lnTo>
                    <a:pt x="3881" y="6923"/>
                  </a:lnTo>
                  <a:lnTo>
                    <a:pt x="3839" y="6898"/>
                  </a:lnTo>
                  <a:lnTo>
                    <a:pt x="3863" y="6787"/>
                  </a:lnTo>
                  <a:lnTo>
                    <a:pt x="3918" y="6792"/>
                  </a:lnTo>
                  <a:lnTo>
                    <a:pt x="3938" y="6708"/>
                  </a:lnTo>
                  <a:lnTo>
                    <a:pt x="3881" y="6671"/>
                  </a:lnTo>
                  <a:lnTo>
                    <a:pt x="4015" y="6664"/>
                  </a:lnTo>
                  <a:lnTo>
                    <a:pt x="4114" y="6664"/>
                  </a:lnTo>
                  <a:lnTo>
                    <a:pt x="4156" y="6659"/>
                  </a:lnTo>
                  <a:lnTo>
                    <a:pt x="4156" y="6612"/>
                  </a:lnTo>
                  <a:lnTo>
                    <a:pt x="4094" y="6558"/>
                  </a:lnTo>
                  <a:lnTo>
                    <a:pt x="4003" y="6543"/>
                  </a:lnTo>
                  <a:lnTo>
                    <a:pt x="3766" y="6568"/>
                  </a:lnTo>
                  <a:lnTo>
                    <a:pt x="3675" y="6531"/>
                  </a:lnTo>
                  <a:close/>
                  <a:moveTo>
                    <a:pt x="962" y="6612"/>
                  </a:moveTo>
                  <a:lnTo>
                    <a:pt x="955" y="6615"/>
                  </a:lnTo>
                  <a:lnTo>
                    <a:pt x="908" y="6728"/>
                  </a:lnTo>
                  <a:lnTo>
                    <a:pt x="875" y="6822"/>
                  </a:lnTo>
                  <a:lnTo>
                    <a:pt x="871" y="6851"/>
                  </a:lnTo>
                  <a:lnTo>
                    <a:pt x="843" y="6949"/>
                  </a:lnTo>
                  <a:lnTo>
                    <a:pt x="865" y="6900"/>
                  </a:lnTo>
                  <a:lnTo>
                    <a:pt x="900" y="6802"/>
                  </a:lnTo>
                  <a:lnTo>
                    <a:pt x="935" y="6700"/>
                  </a:lnTo>
                  <a:lnTo>
                    <a:pt x="947" y="6664"/>
                  </a:lnTo>
                  <a:lnTo>
                    <a:pt x="962" y="6612"/>
                  </a:lnTo>
                  <a:close/>
                  <a:moveTo>
                    <a:pt x="818" y="7139"/>
                  </a:moveTo>
                  <a:lnTo>
                    <a:pt x="803" y="7156"/>
                  </a:lnTo>
                  <a:lnTo>
                    <a:pt x="766" y="7262"/>
                  </a:lnTo>
                  <a:lnTo>
                    <a:pt x="761" y="7311"/>
                  </a:lnTo>
                  <a:lnTo>
                    <a:pt x="737" y="7406"/>
                  </a:lnTo>
                  <a:lnTo>
                    <a:pt x="727" y="7467"/>
                  </a:lnTo>
                  <a:lnTo>
                    <a:pt x="700" y="7580"/>
                  </a:lnTo>
                  <a:lnTo>
                    <a:pt x="682" y="7614"/>
                  </a:lnTo>
                  <a:lnTo>
                    <a:pt x="667" y="7666"/>
                  </a:lnTo>
                  <a:lnTo>
                    <a:pt x="695" y="7659"/>
                  </a:lnTo>
                  <a:lnTo>
                    <a:pt x="695" y="7693"/>
                  </a:lnTo>
                  <a:lnTo>
                    <a:pt x="677" y="7738"/>
                  </a:lnTo>
                  <a:lnTo>
                    <a:pt x="672" y="7789"/>
                  </a:lnTo>
                  <a:lnTo>
                    <a:pt x="679" y="7797"/>
                  </a:lnTo>
                  <a:lnTo>
                    <a:pt x="670" y="7849"/>
                  </a:lnTo>
                  <a:lnTo>
                    <a:pt x="664" y="7911"/>
                  </a:lnTo>
                  <a:lnTo>
                    <a:pt x="642" y="8002"/>
                  </a:lnTo>
                  <a:lnTo>
                    <a:pt x="659" y="8016"/>
                  </a:lnTo>
                  <a:lnTo>
                    <a:pt x="689" y="7910"/>
                  </a:lnTo>
                  <a:lnTo>
                    <a:pt x="700" y="7842"/>
                  </a:lnTo>
                  <a:lnTo>
                    <a:pt x="717" y="7817"/>
                  </a:lnTo>
                  <a:lnTo>
                    <a:pt x="727" y="7741"/>
                  </a:lnTo>
                  <a:lnTo>
                    <a:pt x="752" y="7681"/>
                  </a:lnTo>
                  <a:lnTo>
                    <a:pt x="757" y="7646"/>
                  </a:lnTo>
                  <a:lnTo>
                    <a:pt x="786" y="7536"/>
                  </a:lnTo>
                  <a:lnTo>
                    <a:pt x="806" y="7423"/>
                  </a:lnTo>
                  <a:lnTo>
                    <a:pt x="799" y="7422"/>
                  </a:lnTo>
                  <a:lnTo>
                    <a:pt x="833" y="7284"/>
                  </a:lnTo>
                  <a:lnTo>
                    <a:pt x="855" y="7193"/>
                  </a:lnTo>
                  <a:lnTo>
                    <a:pt x="844" y="7186"/>
                  </a:lnTo>
                  <a:lnTo>
                    <a:pt x="814" y="7290"/>
                  </a:lnTo>
                  <a:lnTo>
                    <a:pt x="793" y="7324"/>
                  </a:lnTo>
                  <a:lnTo>
                    <a:pt x="752" y="7430"/>
                  </a:lnTo>
                  <a:lnTo>
                    <a:pt x="751" y="7400"/>
                  </a:lnTo>
                  <a:lnTo>
                    <a:pt x="779" y="7284"/>
                  </a:lnTo>
                  <a:lnTo>
                    <a:pt x="818" y="7139"/>
                  </a:lnTo>
                  <a:close/>
                  <a:moveTo>
                    <a:pt x="7418" y="7376"/>
                  </a:moveTo>
                  <a:lnTo>
                    <a:pt x="7299" y="7430"/>
                  </a:lnTo>
                  <a:lnTo>
                    <a:pt x="7373" y="7565"/>
                  </a:lnTo>
                  <a:lnTo>
                    <a:pt x="7338" y="7607"/>
                  </a:lnTo>
                  <a:lnTo>
                    <a:pt x="7222" y="7545"/>
                  </a:lnTo>
                  <a:lnTo>
                    <a:pt x="7273" y="7721"/>
                  </a:lnTo>
                  <a:lnTo>
                    <a:pt x="7164" y="7731"/>
                  </a:lnTo>
                  <a:lnTo>
                    <a:pt x="7278" y="7917"/>
                  </a:lnTo>
                  <a:lnTo>
                    <a:pt x="7334" y="8004"/>
                  </a:lnTo>
                  <a:lnTo>
                    <a:pt x="7406" y="8019"/>
                  </a:lnTo>
                  <a:lnTo>
                    <a:pt x="7658" y="8051"/>
                  </a:lnTo>
                  <a:lnTo>
                    <a:pt x="7822" y="7994"/>
                  </a:lnTo>
                  <a:lnTo>
                    <a:pt x="7832" y="7842"/>
                  </a:lnTo>
                  <a:lnTo>
                    <a:pt x="7919" y="7757"/>
                  </a:lnTo>
                  <a:lnTo>
                    <a:pt x="7835" y="7677"/>
                  </a:lnTo>
                  <a:lnTo>
                    <a:pt x="7683" y="7684"/>
                  </a:lnTo>
                  <a:lnTo>
                    <a:pt x="7651" y="7588"/>
                  </a:lnTo>
                  <a:lnTo>
                    <a:pt x="7504" y="7595"/>
                  </a:lnTo>
                  <a:lnTo>
                    <a:pt x="7512" y="7428"/>
                  </a:lnTo>
                  <a:lnTo>
                    <a:pt x="7418" y="7376"/>
                  </a:lnTo>
                  <a:close/>
                  <a:moveTo>
                    <a:pt x="533" y="8076"/>
                  </a:moveTo>
                  <a:lnTo>
                    <a:pt x="503" y="8134"/>
                  </a:lnTo>
                  <a:cubicBezTo>
                    <a:pt x="468" y="8339"/>
                    <a:pt x="438" y="8523"/>
                    <a:pt x="491" y="8743"/>
                  </a:cubicBezTo>
                  <a:cubicBezTo>
                    <a:pt x="531" y="8908"/>
                    <a:pt x="531" y="8878"/>
                    <a:pt x="531" y="8878"/>
                  </a:cubicBezTo>
                  <a:cubicBezTo>
                    <a:pt x="531" y="8878"/>
                    <a:pt x="561" y="9039"/>
                    <a:pt x="593" y="8994"/>
                  </a:cubicBezTo>
                  <a:lnTo>
                    <a:pt x="623" y="8807"/>
                  </a:lnTo>
                  <a:lnTo>
                    <a:pt x="655" y="8659"/>
                  </a:lnTo>
                  <a:lnTo>
                    <a:pt x="629" y="8655"/>
                  </a:lnTo>
                  <a:lnTo>
                    <a:pt x="642" y="8480"/>
                  </a:lnTo>
                  <a:lnTo>
                    <a:pt x="613" y="8448"/>
                  </a:lnTo>
                  <a:lnTo>
                    <a:pt x="562" y="8496"/>
                  </a:lnTo>
                  <a:lnTo>
                    <a:pt x="525" y="8492"/>
                  </a:lnTo>
                  <a:lnTo>
                    <a:pt x="533" y="8413"/>
                  </a:lnTo>
                  <a:lnTo>
                    <a:pt x="558" y="8406"/>
                  </a:lnTo>
                  <a:lnTo>
                    <a:pt x="588" y="8272"/>
                  </a:lnTo>
                  <a:lnTo>
                    <a:pt x="575" y="8270"/>
                  </a:lnTo>
                  <a:lnTo>
                    <a:pt x="582" y="8147"/>
                  </a:lnTo>
                  <a:lnTo>
                    <a:pt x="560" y="8182"/>
                  </a:lnTo>
                  <a:lnTo>
                    <a:pt x="550" y="8142"/>
                  </a:lnTo>
                  <a:lnTo>
                    <a:pt x="528" y="8129"/>
                  </a:lnTo>
                  <a:lnTo>
                    <a:pt x="533" y="8076"/>
                  </a:lnTo>
                  <a:close/>
                  <a:moveTo>
                    <a:pt x="629" y="8196"/>
                  </a:moveTo>
                  <a:lnTo>
                    <a:pt x="603" y="8246"/>
                  </a:lnTo>
                  <a:lnTo>
                    <a:pt x="598" y="8329"/>
                  </a:lnTo>
                  <a:lnTo>
                    <a:pt x="592" y="8438"/>
                  </a:lnTo>
                  <a:lnTo>
                    <a:pt x="603" y="8452"/>
                  </a:lnTo>
                  <a:lnTo>
                    <a:pt x="617" y="8405"/>
                  </a:lnTo>
                  <a:lnTo>
                    <a:pt x="627" y="8322"/>
                  </a:lnTo>
                  <a:lnTo>
                    <a:pt x="637" y="8203"/>
                  </a:lnTo>
                  <a:lnTo>
                    <a:pt x="629" y="8196"/>
                  </a:lnTo>
                  <a:close/>
                  <a:moveTo>
                    <a:pt x="21143" y="8294"/>
                  </a:moveTo>
                  <a:cubicBezTo>
                    <a:pt x="21150" y="8324"/>
                    <a:pt x="21160" y="8353"/>
                    <a:pt x="21167" y="8383"/>
                  </a:cubicBezTo>
                  <a:lnTo>
                    <a:pt x="21160" y="8371"/>
                  </a:lnTo>
                  <a:lnTo>
                    <a:pt x="21150" y="8341"/>
                  </a:lnTo>
                  <a:lnTo>
                    <a:pt x="21143" y="8294"/>
                  </a:lnTo>
                  <a:close/>
                  <a:moveTo>
                    <a:pt x="21175" y="8489"/>
                  </a:moveTo>
                  <a:lnTo>
                    <a:pt x="21223" y="8698"/>
                  </a:lnTo>
                  <a:lnTo>
                    <a:pt x="21197" y="8605"/>
                  </a:lnTo>
                  <a:lnTo>
                    <a:pt x="21210" y="8694"/>
                  </a:lnTo>
                  <a:lnTo>
                    <a:pt x="21233" y="8773"/>
                  </a:lnTo>
                  <a:lnTo>
                    <a:pt x="21247" y="8841"/>
                  </a:lnTo>
                  <a:lnTo>
                    <a:pt x="21257" y="8891"/>
                  </a:lnTo>
                  <a:lnTo>
                    <a:pt x="21235" y="8812"/>
                  </a:lnTo>
                  <a:lnTo>
                    <a:pt x="21233" y="8836"/>
                  </a:lnTo>
                  <a:lnTo>
                    <a:pt x="21220" y="8755"/>
                  </a:lnTo>
                  <a:lnTo>
                    <a:pt x="21197" y="8642"/>
                  </a:lnTo>
                  <a:lnTo>
                    <a:pt x="21182" y="8597"/>
                  </a:lnTo>
                  <a:lnTo>
                    <a:pt x="21193" y="8691"/>
                  </a:lnTo>
                  <a:lnTo>
                    <a:pt x="21192" y="8750"/>
                  </a:lnTo>
                  <a:lnTo>
                    <a:pt x="21207" y="8775"/>
                  </a:lnTo>
                  <a:lnTo>
                    <a:pt x="21227" y="8839"/>
                  </a:lnTo>
                  <a:lnTo>
                    <a:pt x="21235" y="8861"/>
                  </a:lnTo>
                  <a:lnTo>
                    <a:pt x="21239" y="8943"/>
                  </a:lnTo>
                  <a:lnTo>
                    <a:pt x="21257" y="9011"/>
                  </a:lnTo>
                  <a:lnTo>
                    <a:pt x="21262" y="9098"/>
                  </a:lnTo>
                  <a:lnTo>
                    <a:pt x="21247" y="9093"/>
                  </a:lnTo>
                  <a:lnTo>
                    <a:pt x="21257" y="9147"/>
                  </a:lnTo>
                  <a:lnTo>
                    <a:pt x="21272" y="9140"/>
                  </a:lnTo>
                  <a:lnTo>
                    <a:pt x="21280" y="9049"/>
                  </a:lnTo>
                  <a:lnTo>
                    <a:pt x="21270" y="8933"/>
                  </a:lnTo>
                  <a:lnTo>
                    <a:pt x="21264" y="8889"/>
                  </a:lnTo>
                  <a:lnTo>
                    <a:pt x="21269" y="8878"/>
                  </a:lnTo>
                  <a:lnTo>
                    <a:pt x="21254" y="8799"/>
                  </a:lnTo>
                  <a:lnTo>
                    <a:pt x="21228" y="8687"/>
                  </a:lnTo>
                  <a:lnTo>
                    <a:pt x="21210" y="8600"/>
                  </a:lnTo>
                  <a:lnTo>
                    <a:pt x="21175" y="8489"/>
                  </a:lnTo>
                  <a:close/>
                  <a:moveTo>
                    <a:pt x="20899" y="8691"/>
                  </a:moveTo>
                  <a:lnTo>
                    <a:pt x="20890" y="8743"/>
                  </a:lnTo>
                  <a:lnTo>
                    <a:pt x="20905" y="8895"/>
                  </a:lnTo>
                  <a:lnTo>
                    <a:pt x="20925" y="8825"/>
                  </a:lnTo>
                  <a:lnTo>
                    <a:pt x="20922" y="8760"/>
                  </a:lnTo>
                  <a:lnTo>
                    <a:pt x="20917" y="8691"/>
                  </a:lnTo>
                  <a:lnTo>
                    <a:pt x="20899" y="8691"/>
                  </a:lnTo>
                  <a:close/>
                  <a:moveTo>
                    <a:pt x="21148" y="9029"/>
                  </a:moveTo>
                  <a:lnTo>
                    <a:pt x="21125" y="9058"/>
                  </a:lnTo>
                  <a:lnTo>
                    <a:pt x="21165" y="9139"/>
                  </a:lnTo>
                  <a:lnTo>
                    <a:pt x="21200" y="9255"/>
                  </a:lnTo>
                  <a:lnTo>
                    <a:pt x="21222" y="9347"/>
                  </a:lnTo>
                  <a:lnTo>
                    <a:pt x="21247" y="9447"/>
                  </a:lnTo>
                  <a:lnTo>
                    <a:pt x="21244" y="9352"/>
                  </a:lnTo>
                  <a:lnTo>
                    <a:pt x="21197" y="9162"/>
                  </a:lnTo>
                  <a:lnTo>
                    <a:pt x="21148" y="9029"/>
                  </a:lnTo>
                  <a:close/>
                  <a:moveTo>
                    <a:pt x="21240" y="9160"/>
                  </a:moveTo>
                  <a:lnTo>
                    <a:pt x="21279" y="9342"/>
                  </a:lnTo>
                  <a:lnTo>
                    <a:pt x="21304" y="9506"/>
                  </a:lnTo>
                  <a:lnTo>
                    <a:pt x="21324" y="9681"/>
                  </a:lnTo>
                  <a:lnTo>
                    <a:pt x="21346" y="9829"/>
                  </a:lnTo>
                  <a:lnTo>
                    <a:pt x="21314" y="9527"/>
                  </a:lnTo>
                  <a:lnTo>
                    <a:pt x="21290" y="9376"/>
                  </a:lnTo>
                  <a:lnTo>
                    <a:pt x="21267" y="9218"/>
                  </a:lnTo>
                  <a:lnTo>
                    <a:pt x="21240" y="9160"/>
                  </a:lnTo>
                  <a:close/>
                  <a:moveTo>
                    <a:pt x="7800" y="9401"/>
                  </a:moveTo>
                  <a:lnTo>
                    <a:pt x="7666" y="9502"/>
                  </a:lnTo>
                  <a:lnTo>
                    <a:pt x="7547" y="9659"/>
                  </a:lnTo>
                  <a:lnTo>
                    <a:pt x="7547" y="9768"/>
                  </a:lnTo>
                  <a:lnTo>
                    <a:pt x="7472" y="9931"/>
                  </a:lnTo>
                  <a:lnTo>
                    <a:pt x="7559" y="9878"/>
                  </a:lnTo>
                  <a:lnTo>
                    <a:pt x="7565" y="9940"/>
                  </a:lnTo>
                  <a:lnTo>
                    <a:pt x="7497" y="9997"/>
                  </a:lnTo>
                  <a:lnTo>
                    <a:pt x="7497" y="10054"/>
                  </a:lnTo>
                  <a:lnTo>
                    <a:pt x="7596" y="10140"/>
                  </a:lnTo>
                  <a:lnTo>
                    <a:pt x="7611" y="10278"/>
                  </a:lnTo>
                  <a:lnTo>
                    <a:pt x="7554" y="10371"/>
                  </a:lnTo>
                  <a:lnTo>
                    <a:pt x="7418" y="10287"/>
                  </a:lnTo>
                  <a:lnTo>
                    <a:pt x="7348" y="10388"/>
                  </a:lnTo>
                  <a:lnTo>
                    <a:pt x="7360" y="10505"/>
                  </a:lnTo>
                  <a:lnTo>
                    <a:pt x="7234" y="10507"/>
                  </a:lnTo>
                  <a:lnTo>
                    <a:pt x="7231" y="10588"/>
                  </a:lnTo>
                  <a:lnTo>
                    <a:pt x="7375" y="10694"/>
                  </a:lnTo>
                  <a:lnTo>
                    <a:pt x="7269" y="10687"/>
                  </a:lnTo>
                  <a:lnTo>
                    <a:pt x="7040" y="10788"/>
                  </a:lnTo>
                  <a:lnTo>
                    <a:pt x="7078" y="10850"/>
                  </a:lnTo>
                  <a:lnTo>
                    <a:pt x="7179" y="10822"/>
                  </a:lnTo>
                  <a:lnTo>
                    <a:pt x="7266" y="10889"/>
                  </a:lnTo>
                  <a:lnTo>
                    <a:pt x="7368" y="10842"/>
                  </a:lnTo>
                  <a:lnTo>
                    <a:pt x="7401" y="10898"/>
                  </a:lnTo>
                  <a:lnTo>
                    <a:pt x="7599" y="10930"/>
                  </a:lnTo>
                  <a:lnTo>
                    <a:pt x="7738" y="10992"/>
                  </a:lnTo>
                  <a:lnTo>
                    <a:pt x="7867" y="10938"/>
                  </a:lnTo>
                  <a:lnTo>
                    <a:pt x="7858" y="10830"/>
                  </a:lnTo>
                  <a:lnTo>
                    <a:pt x="7929" y="10800"/>
                  </a:lnTo>
                  <a:lnTo>
                    <a:pt x="7982" y="10692"/>
                  </a:lnTo>
                  <a:lnTo>
                    <a:pt x="7872" y="10610"/>
                  </a:lnTo>
                  <a:lnTo>
                    <a:pt x="7870" y="10529"/>
                  </a:lnTo>
                  <a:lnTo>
                    <a:pt x="7887" y="10305"/>
                  </a:lnTo>
                  <a:lnTo>
                    <a:pt x="7833" y="10248"/>
                  </a:lnTo>
                  <a:lnTo>
                    <a:pt x="7837" y="9987"/>
                  </a:lnTo>
                  <a:lnTo>
                    <a:pt x="7748" y="9931"/>
                  </a:lnTo>
                  <a:lnTo>
                    <a:pt x="7897" y="9815"/>
                  </a:lnTo>
                  <a:lnTo>
                    <a:pt x="7982" y="9687"/>
                  </a:lnTo>
                  <a:lnTo>
                    <a:pt x="7887" y="9642"/>
                  </a:lnTo>
                  <a:lnTo>
                    <a:pt x="7788" y="9622"/>
                  </a:lnTo>
                  <a:lnTo>
                    <a:pt x="7967" y="9484"/>
                  </a:lnTo>
                  <a:lnTo>
                    <a:pt x="7858" y="9448"/>
                  </a:lnTo>
                  <a:lnTo>
                    <a:pt x="7800" y="9401"/>
                  </a:lnTo>
                  <a:close/>
                  <a:moveTo>
                    <a:pt x="20753" y="9539"/>
                  </a:moveTo>
                  <a:lnTo>
                    <a:pt x="20740" y="9618"/>
                  </a:lnTo>
                  <a:lnTo>
                    <a:pt x="20733" y="9805"/>
                  </a:lnTo>
                  <a:lnTo>
                    <a:pt x="20748" y="9925"/>
                  </a:lnTo>
                  <a:lnTo>
                    <a:pt x="20800" y="10014"/>
                  </a:lnTo>
                  <a:lnTo>
                    <a:pt x="20838" y="9930"/>
                  </a:lnTo>
                  <a:lnTo>
                    <a:pt x="20830" y="9753"/>
                  </a:lnTo>
                  <a:lnTo>
                    <a:pt x="20800" y="9657"/>
                  </a:lnTo>
                  <a:lnTo>
                    <a:pt x="20782" y="9548"/>
                  </a:lnTo>
                  <a:lnTo>
                    <a:pt x="20753" y="9539"/>
                  </a:lnTo>
                  <a:close/>
                  <a:moveTo>
                    <a:pt x="21269" y="9553"/>
                  </a:moveTo>
                  <a:lnTo>
                    <a:pt x="21277" y="9645"/>
                  </a:lnTo>
                  <a:lnTo>
                    <a:pt x="21300" y="9729"/>
                  </a:lnTo>
                  <a:lnTo>
                    <a:pt x="21310" y="9713"/>
                  </a:lnTo>
                  <a:lnTo>
                    <a:pt x="21280" y="9554"/>
                  </a:lnTo>
                  <a:lnTo>
                    <a:pt x="21269" y="9553"/>
                  </a:lnTo>
                  <a:close/>
                  <a:moveTo>
                    <a:pt x="7279" y="9866"/>
                  </a:moveTo>
                  <a:lnTo>
                    <a:pt x="7172" y="9904"/>
                  </a:lnTo>
                  <a:lnTo>
                    <a:pt x="6983" y="9960"/>
                  </a:lnTo>
                  <a:lnTo>
                    <a:pt x="6939" y="10155"/>
                  </a:lnTo>
                  <a:lnTo>
                    <a:pt x="6772" y="10280"/>
                  </a:lnTo>
                  <a:lnTo>
                    <a:pt x="6891" y="10384"/>
                  </a:lnTo>
                  <a:lnTo>
                    <a:pt x="7108" y="10383"/>
                  </a:lnTo>
                  <a:lnTo>
                    <a:pt x="7254" y="10271"/>
                  </a:lnTo>
                  <a:lnTo>
                    <a:pt x="7298" y="10144"/>
                  </a:lnTo>
                  <a:lnTo>
                    <a:pt x="7403" y="10056"/>
                  </a:lnTo>
                  <a:lnTo>
                    <a:pt x="7358" y="9899"/>
                  </a:lnTo>
                  <a:lnTo>
                    <a:pt x="7279" y="9866"/>
                  </a:lnTo>
                  <a:close/>
                  <a:moveTo>
                    <a:pt x="21413" y="9962"/>
                  </a:moveTo>
                  <a:cubicBezTo>
                    <a:pt x="21414" y="9976"/>
                    <a:pt x="21415" y="9990"/>
                    <a:pt x="21416" y="10004"/>
                  </a:cubicBezTo>
                  <a:lnTo>
                    <a:pt x="21414" y="9997"/>
                  </a:lnTo>
                  <a:lnTo>
                    <a:pt x="21413" y="9962"/>
                  </a:lnTo>
                  <a:close/>
                  <a:moveTo>
                    <a:pt x="21172" y="10078"/>
                  </a:moveTo>
                  <a:lnTo>
                    <a:pt x="21177" y="10164"/>
                  </a:lnTo>
                  <a:lnTo>
                    <a:pt x="21197" y="10367"/>
                  </a:lnTo>
                  <a:lnTo>
                    <a:pt x="21210" y="10524"/>
                  </a:lnTo>
                  <a:lnTo>
                    <a:pt x="21203" y="10704"/>
                  </a:lnTo>
                  <a:lnTo>
                    <a:pt x="21215" y="10857"/>
                  </a:lnTo>
                  <a:lnTo>
                    <a:pt x="21222" y="10862"/>
                  </a:lnTo>
                  <a:lnTo>
                    <a:pt x="21230" y="10812"/>
                  </a:lnTo>
                  <a:lnTo>
                    <a:pt x="21240" y="10680"/>
                  </a:lnTo>
                  <a:lnTo>
                    <a:pt x="21228" y="10489"/>
                  </a:lnTo>
                  <a:lnTo>
                    <a:pt x="21232" y="10445"/>
                  </a:lnTo>
                  <a:lnTo>
                    <a:pt x="21215" y="10290"/>
                  </a:lnTo>
                  <a:lnTo>
                    <a:pt x="21195" y="10182"/>
                  </a:lnTo>
                  <a:lnTo>
                    <a:pt x="21188" y="10122"/>
                  </a:lnTo>
                  <a:lnTo>
                    <a:pt x="21172" y="10078"/>
                  </a:lnTo>
                  <a:close/>
                  <a:moveTo>
                    <a:pt x="9248" y="10413"/>
                  </a:moveTo>
                  <a:lnTo>
                    <a:pt x="9087" y="10440"/>
                  </a:lnTo>
                  <a:lnTo>
                    <a:pt x="9084" y="10519"/>
                  </a:lnTo>
                  <a:lnTo>
                    <a:pt x="9167" y="10649"/>
                  </a:lnTo>
                  <a:lnTo>
                    <a:pt x="9261" y="10512"/>
                  </a:lnTo>
                  <a:lnTo>
                    <a:pt x="9248" y="10413"/>
                  </a:lnTo>
                  <a:close/>
                  <a:moveTo>
                    <a:pt x="21295" y="10714"/>
                  </a:moveTo>
                  <a:lnTo>
                    <a:pt x="21284" y="10795"/>
                  </a:lnTo>
                  <a:lnTo>
                    <a:pt x="21300" y="11054"/>
                  </a:lnTo>
                  <a:lnTo>
                    <a:pt x="21319" y="11243"/>
                  </a:lnTo>
                  <a:lnTo>
                    <a:pt x="21329" y="11204"/>
                  </a:lnTo>
                  <a:lnTo>
                    <a:pt x="21326" y="11061"/>
                  </a:lnTo>
                  <a:lnTo>
                    <a:pt x="21310" y="10999"/>
                  </a:lnTo>
                  <a:lnTo>
                    <a:pt x="21302" y="10889"/>
                  </a:lnTo>
                  <a:lnTo>
                    <a:pt x="21295" y="10714"/>
                  </a:lnTo>
                  <a:close/>
                  <a:moveTo>
                    <a:pt x="21438" y="11211"/>
                  </a:moveTo>
                  <a:cubicBezTo>
                    <a:pt x="21437" y="11239"/>
                    <a:pt x="21434" y="11268"/>
                    <a:pt x="21433" y="11297"/>
                  </a:cubicBezTo>
                  <a:lnTo>
                    <a:pt x="21431" y="11307"/>
                  </a:lnTo>
                  <a:lnTo>
                    <a:pt x="21438" y="11211"/>
                  </a:lnTo>
                  <a:close/>
                  <a:moveTo>
                    <a:pt x="21275" y="11238"/>
                  </a:moveTo>
                  <a:lnTo>
                    <a:pt x="21267" y="11275"/>
                  </a:lnTo>
                  <a:lnTo>
                    <a:pt x="21270" y="11340"/>
                  </a:lnTo>
                  <a:lnTo>
                    <a:pt x="21304" y="11467"/>
                  </a:lnTo>
                  <a:lnTo>
                    <a:pt x="21302" y="11305"/>
                  </a:lnTo>
                  <a:lnTo>
                    <a:pt x="21289" y="11258"/>
                  </a:lnTo>
                  <a:lnTo>
                    <a:pt x="21275" y="11238"/>
                  </a:lnTo>
                  <a:close/>
                  <a:moveTo>
                    <a:pt x="21342" y="11345"/>
                  </a:moveTo>
                  <a:lnTo>
                    <a:pt x="21329" y="11352"/>
                  </a:lnTo>
                  <a:lnTo>
                    <a:pt x="21329" y="11549"/>
                  </a:lnTo>
                  <a:lnTo>
                    <a:pt x="21326" y="11669"/>
                  </a:lnTo>
                  <a:lnTo>
                    <a:pt x="21326" y="11749"/>
                  </a:lnTo>
                  <a:lnTo>
                    <a:pt x="21342" y="11637"/>
                  </a:lnTo>
                  <a:lnTo>
                    <a:pt x="21342" y="11552"/>
                  </a:lnTo>
                  <a:lnTo>
                    <a:pt x="21351" y="11473"/>
                  </a:lnTo>
                  <a:lnTo>
                    <a:pt x="21342" y="11448"/>
                  </a:lnTo>
                  <a:lnTo>
                    <a:pt x="21342" y="11345"/>
                  </a:lnTo>
                  <a:close/>
                  <a:moveTo>
                    <a:pt x="13977" y="11692"/>
                  </a:moveTo>
                  <a:lnTo>
                    <a:pt x="14034" y="11791"/>
                  </a:lnTo>
                  <a:lnTo>
                    <a:pt x="14071" y="11970"/>
                  </a:lnTo>
                  <a:lnTo>
                    <a:pt x="13958" y="11985"/>
                  </a:lnTo>
                  <a:lnTo>
                    <a:pt x="13866" y="12051"/>
                  </a:lnTo>
                  <a:lnTo>
                    <a:pt x="13901" y="12180"/>
                  </a:lnTo>
                  <a:lnTo>
                    <a:pt x="13778" y="12207"/>
                  </a:lnTo>
                  <a:lnTo>
                    <a:pt x="13798" y="12263"/>
                  </a:lnTo>
                  <a:lnTo>
                    <a:pt x="13880" y="12283"/>
                  </a:lnTo>
                  <a:lnTo>
                    <a:pt x="13982" y="12419"/>
                  </a:lnTo>
                  <a:lnTo>
                    <a:pt x="14144" y="12423"/>
                  </a:lnTo>
                  <a:lnTo>
                    <a:pt x="14188" y="12475"/>
                  </a:lnTo>
                  <a:lnTo>
                    <a:pt x="14179" y="12559"/>
                  </a:lnTo>
                  <a:lnTo>
                    <a:pt x="14199" y="12598"/>
                  </a:lnTo>
                  <a:lnTo>
                    <a:pt x="14273" y="12694"/>
                  </a:lnTo>
                  <a:lnTo>
                    <a:pt x="14246" y="12562"/>
                  </a:lnTo>
                  <a:lnTo>
                    <a:pt x="14332" y="12478"/>
                  </a:lnTo>
                  <a:lnTo>
                    <a:pt x="14400" y="12561"/>
                  </a:lnTo>
                  <a:lnTo>
                    <a:pt x="14526" y="12625"/>
                  </a:lnTo>
                  <a:lnTo>
                    <a:pt x="14432" y="12726"/>
                  </a:lnTo>
                  <a:lnTo>
                    <a:pt x="14300" y="12732"/>
                  </a:lnTo>
                  <a:lnTo>
                    <a:pt x="14315" y="12889"/>
                  </a:lnTo>
                  <a:lnTo>
                    <a:pt x="14404" y="12864"/>
                  </a:lnTo>
                  <a:lnTo>
                    <a:pt x="14407" y="12995"/>
                  </a:lnTo>
                  <a:lnTo>
                    <a:pt x="14526" y="13010"/>
                  </a:lnTo>
                  <a:lnTo>
                    <a:pt x="14561" y="13195"/>
                  </a:lnTo>
                  <a:lnTo>
                    <a:pt x="14623" y="13305"/>
                  </a:lnTo>
                  <a:lnTo>
                    <a:pt x="14621" y="13349"/>
                  </a:lnTo>
                  <a:lnTo>
                    <a:pt x="14424" y="13478"/>
                  </a:lnTo>
                  <a:lnTo>
                    <a:pt x="14223" y="13522"/>
                  </a:lnTo>
                  <a:lnTo>
                    <a:pt x="14106" y="13470"/>
                  </a:lnTo>
                  <a:lnTo>
                    <a:pt x="13967" y="13480"/>
                  </a:lnTo>
                  <a:lnTo>
                    <a:pt x="13891" y="13367"/>
                  </a:lnTo>
                  <a:lnTo>
                    <a:pt x="13866" y="13283"/>
                  </a:lnTo>
                  <a:lnTo>
                    <a:pt x="13905" y="13226"/>
                  </a:lnTo>
                  <a:lnTo>
                    <a:pt x="13913" y="13157"/>
                  </a:lnTo>
                  <a:lnTo>
                    <a:pt x="13901" y="13015"/>
                  </a:lnTo>
                  <a:lnTo>
                    <a:pt x="14005" y="12963"/>
                  </a:lnTo>
                  <a:lnTo>
                    <a:pt x="13952" y="12931"/>
                  </a:lnTo>
                  <a:lnTo>
                    <a:pt x="13888" y="12943"/>
                  </a:lnTo>
                  <a:lnTo>
                    <a:pt x="13789" y="12842"/>
                  </a:lnTo>
                  <a:lnTo>
                    <a:pt x="13697" y="12773"/>
                  </a:lnTo>
                  <a:lnTo>
                    <a:pt x="13503" y="12610"/>
                  </a:lnTo>
                  <a:lnTo>
                    <a:pt x="13485" y="12487"/>
                  </a:lnTo>
                  <a:lnTo>
                    <a:pt x="13329" y="12354"/>
                  </a:lnTo>
                  <a:lnTo>
                    <a:pt x="13404" y="12131"/>
                  </a:lnTo>
                  <a:lnTo>
                    <a:pt x="13515" y="12066"/>
                  </a:lnTo>
                  <a:lnTo>
                    <a:pt x="13540" y="11941"/>
                  </a:lnTo>
                  <a:lnTo>
                    <a:pt x="13640" y="11867"/>
                  </a:lnTo>
                  <a:lnTo>
                    <a:pt x="13752" y="11741"/>
                  </a:lnTo>
                  <a:lnTo>
                    <a:pt x="13865" y="11746"/>
                  </a:lnTo>
                  <a:lnTo>
                    <a:pt x="13977" y="11692"/>
                  </a:lnTo>
                  <a:close/>
                  <a:moveTo>
                    <a:pt x="8387" y="12712"/>
                  </a:moveTo>
                  <a:lnTo>
                    <a:pt x="8289" y="12758"/>
                  </a:lnTo>
                  <a:lnTo>
                    <a:pt x="8248" y="12817"/>
                  </a:lnTo>
                  <a:lnTo>
                    <a:pt x="8252" y="12945"/>
                  </a:lnTo>
                  <a:lnTo>
                    <a:pt x="8305" y="12997"/>
                  </a:lnTo>
                  <a:lnTo>
                    <a:pt x="8377" y="12870"/>
                  </a:lnTo>
                  <a:lnTo>
                    <a:pt x="8387" y="12712"/>
                  </a:lnTo>
                  <a:close/>
                  <a:moveTo>
                    <a:pt x="8295" y="13025"/>
                  </a:moveTo>
                  <a:lnTo>
                    <a:pt x="8217" y="13062"/>
                  </a:lnTo>
                  <a:lnTo>
                    <a:pt x="8145" y="13034"/>
                  </a:lnTo>
                  <a:lnTo>
                    <a:pt x="8153" y="13143"/>
                  </a:lnTo>
                  <a:lnTo>
                    <a:pt x="8113" y="13355"/>
                  </a:lnTo>
                  <a:lnTo>
                    <a:pt x="8156" y="13418"/>
                  </a:lnTo>
                  <a:lnTo>
                    <a:pt x="8223" y="13374"/>
                  </a:lnTo>
                  <a:lnTo>
                    <a:pt x="8285" y="13401"/>
                  </a:lnTo>
                  <a:lnTo>
                    <a:pt x="8351" y="13172"/>
                  </a:lnTo>
                  <a:lnTo>
                    <a:pt x="8295" y="13025"/>
                  </a:lnTo>
                  <a:close/>
                  <a:moveTo>
                    <a:pt x="8659" y="13682"/>
                  </a:moveTo>
                  <a:lnTo>
                    <a:pt x="8623" y="13768"/>
                  </a:lnTo>
                  <a:lnTo>
                    <a:pt x="8811" y="13897"/>
                  </a:lnTo>
                  <a:lnTo>
                    <a:pt x="8883" y="13931"/>
                  </a:lnTo>
                  <a:lnTo>
                    <a:pt x="8987" y="14017"/>
                  </a:lnTo>
                  <a:lnTo>
                    <a:pt x="9029" y="13931"/>
                  </a:lnTo>
                  <a:lnTo>
                    <a:pt x="9013" y="13874"/>
                  </a:lnTo>
                  <a:lnTo>
                    <a:pt x="9084" y="13742"/>
                  </a:lnTo>
                  <a:lnTo>
                    <a:pt x="8973" y="13739"/>
                  </a:lnTo>
                  <a:lnTo>
                    <a:pt x="8824" y="13731"/>
                  </a:lnTo>
                  <a:lnTo>
                    <a:pt x="8659" y="13682"/>
                  </a:lnTo>
                  <a:close/>
                  <a:moveTo>
                    <a:pt x="11906" y="14274"/>
                  </a:moveTo>
                  <a:lnTo>
                    <a:pt x="11772" y="14342"/>
                  </a:lnTo>
                  <a:lnTo>
                    <a:pt x="11663" y="14348"/>
                  </a:lnTo>
                  <a:lnTo>
                    <a:pt x="11645" y="14392"/>
                  </a:lnTo>
                  <a:lnTo>
                    <a:pt x="11633" y="14394"/>
                  </a:lnTo>
                  <a:lnTo>
                    <a:pt x="11561" y="14407"/>
                  </a:lnTo>
                  <a:lnTo>
                    <a:pt x="11601" y="14475"/>
                  </a:lnTo>
                  <a:lnTo>
                    <a:pt x="11677" y="14491"/>
                  </a:lnTo>
                  <a:lnTo>
                    <a:pt x="11829" y="14406"/>
                  </a:lnTo>
                  <a:lnTo>
                    <a:pt x="11824" y="14392"/>
                  </a:lnTo>
                  <a:lnTo>
                    <a:pt x="11809" y="14360"/>
                  </a:lnTo>
                  <a:lnTo>
                    <a:pt x="11906" y="14274"/>
                  </a:lnTo>
                  <a:close/>
                  <a:moveTo>
                    <a:pt x="10257" y="14320"/>
                  </a:moveTo>
                  <a:lnTo>
                    <a:pt x="10227" y="14392"/>
                  </a:lnTo>
                  <a:lnTo>
                    <a:pt x="10413" y="14434"/>
                  </a:lnTo>
                  <a:lnTo>
                    <a:pt x="10410" y="14463"/>
                  </a:lnTo>
                  <a:lnTo>
                    <a:pt x="10631" y="14453"/>
                  </a:lnTo>
                  <a:lnTo>
                    <a:pt x="10651" y="14402"/>
                  </a:lnTo>
                  <a:lnTo>
                    <a:pt x="10567" y="14422"/>
                  </a:lnTo>
                  <a:lnTo>
                    <a:pt x="10570" y="14390"/>
                  </a:lnTo>
                  <a:lnTo>
                    <a:pt x="10458" y="14375"/>
                  </a:lnTo>
                  <a:lnTo>
                    <a:pt x="10339" y="14382"/>
                  </a:lnTo>
                  <a:lnTo>
                    <a:pt x="10257" y="14320"/>
                  </a:lnTo>
                  <a:close/>
                  <a:moveTo>
                    <a:pt x="9382" y="14353"/>
                  </a:moveTo>
                  <a:lnTo>
                    <a:pt x="9353" y="14412"/>
                  </a:lnTo>
                  <a:lnTo>
                    <a:pt x="9315" y="14507"/>
                  </a:lnTo>
                  <a:lnTo>
                    <a:pt x="9338" y="14488"/>
                  </a:lnTo>
                  <a:lnTo>
                    <a:pt x="9390" y="14446"/>
                  </a:lnTo>
                  <a:lnTo>
                    <a:pt x="9434" y="14375"/>
                  </a:lnTo>
                  <a:lnTo>
                    <a:pt x="9382" y="14353"/>
                  </a:lnTo>
                  <a:close/>
                  <a:moveTo>
                    <a:pt x="9191" y="14454"/>
                  </a:moveTo>
                  <a:lnTo>
                    <a:pt x="9152" y="14510"/>
                  </a:lnTo>
                  <a:lnTo>
                    <a:pt x="9111" y="14564"/>
                  </a:lnTo>
                  <a:lnTo>
                    <a:pt x="9040" y="14566"/>
                  </a:lnTo>
                  <a:lnTo>
                    <a:pt x="9101" y="14606"/>
                  </a:lnTo>
                  <a:lnTo>
                    <a:pt x="9166" y="14623"/>
                  </a:lnTo>
                  <a:lnTo>
                    <a:pt x="9219" y="14579"/>
                  </a:lnTo>
                  <a:lnTo>
                    <a:pt x="9231" y="14502"/>
                  </a:lnTo>
                  <a:lnTo>
                    <a:pt x="9191" y="14454"/>
                  </a:lnTo>
                  <a:close/>
                  <a:moveTo>
                    <a:pt x="19285" y="14894"/>
                  </a:moveTo>
                  <a:lnTo>
                    <a:pt x="19196" y="14911"/>
                  </a:lnTo>
                  <a:lnTo>
                    <a:pt x="19183" y="15160"/>
                  </a:lnTo>
                  <a:lnTo>
                    <a:pt x="19230" y="15308"/>
                  </a:lnTo>
                  <a:lnTo>
                    <a:pt x="19297" y="15343"/>
                  </a:lnTo>
                  <a:lnTo>
                    <a:pt x="19389" y="15209"/>
                  </a:lnTo>
                  <a:lnTo>
                    <a:pt x="19429" y="15124"/>
                  </a:lnTo>
                  <a:lnTo>
                    <a:pt x="19426" y="14983"/>
                  </a:lnTo>
                  <a:lnTo>
                    <a:pt x="19352" y="14921"/>
                  </a:lnTo>
                  <a:lnTo>
                    <a:pt x="19285" y="14894"/>
                  </a:lnTo>
                  <a:close/>
                  <a:moveTo>
                    <a:pt x="15580" y="19577"/>
                  </a:moveTo>
                  <a:lnTo>
                    <a:pt x="15512" y="19590"/>
                  </a:lnTo>
                  <a:lnTo>
                    <a:pt x="15368" y="19691"/>
                  </a:lnTo>
                  <a:lnTo>
                    <a:pt x="15416" y="19703"/>
                  </a:lnTo>
                  <a:lnTo>
                    <a:pt x="15468" y="19700"/>
                  </a:lnTo>
                  <a:lnTo>
                    <a:pt x="15493" y="19698"/>
                  </a:lnTo>
                  <a:lnTo>
                    <a:pt x="15524" y="19649"/>
                  </a:lnTo>
                  <a:lnTo>
                    <a:pt x="15596" y="19582"/>
                  </a:lnTo>
                  <a:lnTo>
                    <a:pt x="15580" y="19577"/>
                  </a:lnTo>
                  <a:close/>
                  <a:moveTo>
                    <a:pt x="14712" y="20008"/>
                  </a:moveTo>
                  <a:lnTo>
                    <a:pt x="14650" y="20060"/>
                  </a:lnTo>
                  <a:lnTo>
                    <a:pt x="14636" y="20105"/>
                  </a:lnTo>
                  <a:lnTo>
                    <a:pt x="14533" y="20184"/>
                  </a:lnTo>
                  <a:lnTo>
                    <a:pt x="14462" y="20200"/>
                  </a:lnTo>
                  <a:lnTo>
                    <a:pt x="14479" y="20221"/>
                  </a:lnTo>
                  <a:lnTo>
                    <a:pt x="14420" y="20272"/>
                  </a:lnTo>
                  <a:lnTo>
                    <a:pt x="14271" y="20356"/>
                  </a:lnTo>
                  <a:lnTo>
                    <a:pt x="14164" y="20420"/>
                  </a:lnTo>
                  <a:lnTo>
                    <a:pt x="14089" y="20444"/>
                  </a:lnTo>
                  <a:lnTo>
                    <a:pt x="14024" y="20472"/>
                  </a:lnTo>
                  <a:lnTo>
                    <a:pt x="13925" y="20511"/>
                  </a:lnTo>
                  <a:lnTo>
                    <a:pt x="13840" y="20534"/>
                  </a:lnTo>
                  <a:lnTo>
                    <a:pt x="13806" y="20580"/>
                  </a:lnTo>
                  <a:lnTo>
                    <a:pt x="13737" y="20629"/>
                  </a:lnTo>
                  <a:lnTo>
                    <a:pt x="13736" y="20678"/>
                  </a:lnTo>
                  <a:lnTo>
                    <a:pt x="13758" y="20704"/>
                  </a:lnTo>
                  <a:lnTo>
                    <a:pt x="13788" y="20720"/>
                  </a:lnTo>
                  <a:lnTo>
                    <a:pt x="13761" y="20755"/>
                  </a:lnTo>
                  <a:lnTo>
                    <a:pt x="13667" y="20814"/>
                  </a:lnTo>
                  <a:lnTo>
                    <a:pt x="13659" y="20829"/>
                  </a:lnTo>
                  <a:lnTo>
                    <a:pt x="13580" y="20856"/>
                  </a:lnTo>
                  <a:lnTo>
                    <a:pt x="13535" y="20896"/>
                  </a:lnTo>
                  <a:lnTo>
                    <a:pt x="13537" y="20923"/>
                  </a:lnTo>
                  <a:lnTo>
                    <a:pt x="13578" y="20942"/>
                  </a:lnTo>
                  <a:lnTo>
                    <a:pt x="13570" y="20972"/>
                  </a:lnTo>
                  <a:lnTo>
                    <a:pt x="13602" y="20981"/>
                  </a:lnTo>
                  <a:lnTo>
                    <a:pt x="13722" y="20960"/>
                  </a:lnTo>
                  <a:lnTo>
                    <a:pt x="13808" y="20944"/>
                  </a:lnTo>
                  <a:lnTo>
                    <a:pt x="13958" y="20890"/>
                  </a:lnTo>
                  <a:lnTo>
                    <a:pt x="14094" y="20843"/>
                  </a:lnTo>
                  <a:lnTo>
                    <a:pt x="14198" y="20777"/>
                  </a:lnTo>
                  <a:lnTo>
                    <a:pt x="14295" y="20698"/>
                  </a:lnTo>
                  <a:lnTo>
                    <a:pt x="14440" y="20577"/>
                  </a:lnTo>
                  <a:lnTo>
                    <a:pt x="14554" y="20477"/>
                  </a:lnTo>
                  <a:lnTo>
                    <a:pt x="14645" y="20390"/>
                  </a:lnTo>
                  <a:lnTo>
                    <a:pt x="14673" y="20336"/>
                  </a:lnTo>
                  <a:lnTo>
                    <a:pt x="14723" y="20306"/>
                  </a:lnTo>
                  <a:lnTo>
                    <a:pt x="14747" y="20275"/>
                  </a:lnTo>
                  <a:lnTo>
                    <a:pt x="14730" y="20238"/>
                  </a:lnTo>
                  <a:lnTo>
                    <a:pt x="14767" y="20208"/>
                  </a:lnTo>
                  <a:lnTo>
                    <a:pt x="14812" y="20226"/>
                  </a:lnTo>
                  <a:lnTo>
                    <a:pt x="14847" y="20198"/>
                  </a:lnTo>
                  <a:lnTo>
                    <a:pt x="14872" y="20159"/>
                  </a:lnTo>
                  <a:lnTo>
                    <a:pt x="14839" y="20144"/>
                  </a:lnTo>
                  <a:lnTo>
                    <a:pt x="14832" y="20070"/>
                  </a:lnTo>
                  <a:lnTo>
                    <a:pt x="14802" y="20036"/>
                  </a:lnTo>
                  <a:lnTo>
                    <a:pt x="14765" y="20021"/>
                  </a:lnTo>
                  <a:lnTo>
                    <a:pt x="14712" y="20008"/>
                  </a:lnTo>
                  <a:close/>
                </a:path>
              </a:pathLst>
            </a:custGeom>
            <a:solidFill>
              <a:schemeClr val="accent4">
                <a:hueOff val="-12309678"/>
                <a:satOff val="-68888"/>
                <a:lumOff val="8823"/>
              </a:schemeClr>
            </a:solidFill>
            <a:ln>
              <a:solidFill>
                <a:schemeClr val="accent4">
                  <a:hueOff val="-12309678"/>
                  <a:satOff val="-68888"/>
                  <a:lumOff val="8823"/>
                </a:schemeClr>
              </a:solidFill>
              <a:miter/>
            </a:ln>
          </p:spPr>
          <p:txBody>
            <a:bodyPr tIns="91415" bIns="91415" anchor="ctr"/>
            <a:lstStyle/>
            <a:p>
              <a:pPr defTabSz="2438012">
                <a:defRPr sz="4800"/>
              </a:pPr>
              <a:endParaRPr sz="4799">
                <a:solidFill>
                  <a:prstClr val="black"/>
                </a:solidFill>
              </a:endParaRPr>
            </a:p>
          </p:txBody>
        </p:sp>
        <p:sp>
          <p:nvSpPr>
            <p:cNvPr id="7374" name="TRANSPORT"/>
            <p:cNvSpPr txBox="1"/>
            <p:nvPr/>
          </p:nvSpPr>
          <p:spPr>
            <a:xfrm>
              <a:off x="1304199" y="4268825"/>
              <a:ext cx="1166318" cy="323249"/>
            </a:xfrm>
            <a:prstGeom prst="rect">
              <a:avLst/>
            </a:prstGeom>
            <a:ln w="12700">
              <a:miter lim="400000"/>
            </a:ln>
            <a:extLst>
              <a:ext uri="{C572A759-6A51-4108-AA02-DFA0A04FC94B}">
                <ma14:wrappingTextBoxFlag xmlns:ma14="http://schemas.microsoft.com/office/mac/drawingml/2011/main" xmlns:mc="http://schemas.openxmlformats.org/markup-compatibility/2006" xmlns:p14="http://schemas.microsoft.com/office/powerpoint/2010/main" xmlns:a14="http://schemas.microsoft.com/office/drawing/2010/main" xmlns:a16="http://schemas.microsoft.com/office/drawing/2014/main" xmlns="" val="1"/>
              </a:ext>
            </a:extLst>
          </p:spPr>
          <p:txBody>
            <a:bodyPr wrap="none" lIns="45707" rIns="45707">
              <a:spAutoFit/>
            </a:bodyPr>
            <a:lstStyle>
              <a:lvl1pPr>
                <a:defRPr sz="1500">
                  <a:solidFill>
                    <a:srgbClr val="001F4B"/>
                  </a:solidFill>
                  <a:latin typeface="Futura LT Pro"/>
                  <a:ea typeface="Futura LT Pro"/>
                  <a:cs typeface="Futura LT Pro"/>
                  <a:sym typeface="Futura LT Pro"/>
                </a:defRPr>
              </a:lvl1pPr>
            </a:lstStyle>
            <a:p>
              <a:r>
                <a:rPr b="1" dirty="0">
                  <a:latin typeface="+mn-lt"/>
                  <a:ea typeface="Futura Std Medium" charset="0"/>
                  <a:cs typeface="Futura Std Medium" charset="0"/>
                </a:rPr>
                <a:t>TRANSPORT</a:t>
              </a:r>
            </a:p>
          </p:txBody>
        </p:sp>
      </p:grpSp>
      <p:sp>
        <p:nvSpPr>
          <p:cNvPr id="7375" name="Line"/>
          <p:cNvSpPr/>
          <p:nvPr/>
        </p:nvSpPr>
        <p:spPr>
          <a:xfrm flipV="1">
            <a:off x="3690492" y="2571719"/>
            <a:ext cx="1" cy="3200597"/>
          </a:xfrm>
          <a:prstGeom prst="line">
            <a:avLst/>
          </a:prstGeom>
          <a:ln w="28575">
            <a:solidFill>
              <a:schemeClr val="accent4">
                <a:hueOff val="-12309678"/>
                <a:satOff val="-68888"/>
                <a:lumOff val="8823"/>
              </a:schemeClr>
            </a:solidFill>
            <a:custDash>
              <a:ds d="200000" sp="200000"/>
            </a:custDash>
            <a:miter lim="400000"/>
          </a:ln>
        </p:spPr>
        <p:txBody>
          <a:bodyPr lIns="45707" rIns="45707"/>
          <a:lstStyle/>
          <a:p>
            <a:endParaRPr sz="1800">
              <a:solidFill>
                <a:prstClr val="black"/>
              </a:solidFill>
            </a:endParaRPr>
          </a:p>
        </p:txBody>
      </p:sp>
      <p:sp>
        <p:nvSpPr>
          <p:cNvPr id="7376" name="Line"/>
          <p:cNvSpPr/>
          <p:nvPr/>
        </p:nvSpPr>
        <p:spPr>
          <a:xfrm flipV="1">
            <a:off x="8504741" y="2571719"/>
            <a:ext cx="1" cy="3200597"/>
          </a:xfrm>
          <a:prstGeom prst="line">
            <a:avLst/>
          </a:prstGeom>
          <a:ln w="28575">
            <a:solidFill>
              <a:schemeClr val="accent4">
                <a:hueOff val="-12309678"/>
                <a:satOff val="-68888"/>
                <a:lumOff val="8823"/>
              </a:schemeClr>
            </a:solidFill>
            <a:custDash>
              <a:ds d="200000" sp="200000"/>
            </a:custDash>
            <a:miter lim="400000"/>
          </a:ln>
        </p:spPr>
        <p:txBody>
          <a:bodyPr lIns="45707" rIns="45707"/>
          <a:lstStyle/>
          <a:p>
            <a:endParaRPr sz="1800">
              <a:solidFill>
                <a:prstClr val="black"/>
              </a:solidFill>
            </a:endParaRPr>
          </a:p>
        </p:txBody>
      </p:sp>
      <p:sp>
        <p:nvSpPr>
          <p:cNvPr id="8" name="Tijdelijke aanduiding voor datum 7">
            <a:extLst>
              <a:ext uri="{FF2B5EF4-FFF2-40B4-BE49-F238E27FC236}">
                <a16:creationId xmlns:a16="http://schemas.microsoft.com/office/drawing/2014/main" id="{89A47A53-B7F7-40EB-BF7C-83A2EE8AEDF7}"/>
              </a:ext>
            </a:extLst>
          </p:cNvPr>
          <p:cNvSpPr>
            <a:spLocks noGrp="1"/>
          </p:cNvSpPr>
          <p:nvPr>
            <p:ph type="dt" sz="half" idx="10"/>
          </p:nvPr>
        </p:nvSpPr>
        <p:spPr/>
        <p:txBody>
          <a:bodyPr/>
          <a:lstStyle/>
          <a:p>
            <a:fld id="{A231826E-40EB-4AA4-9DDD-BEC9E36552DB}" type="datetime4">
              <a:rPr lang="en-GB" smtClean="0"/>
              <a:t>29 May 2020</a:t>
            </a:fld>
            <a:endParaRPr lang="en-GB" dirty="0"/>
          </a:p>
        </p:txBody>
      </p:sp>
      <p:sp>
        <p:nvSpPr>
          <p:cNvPr id="9" name="Tijdelijke aanduiding voor voettekst 8">
            <a:extLst>
              <a:ext uri="{FF2B5EF4-FFF2-40B4-BE49-F238E27FC236}">
                <a16:creationId xmlns:a16="http://schemas.microsoft.com/office/drawing/2014/main" id="{767A46C6-846E-42E7-8B20-18C9D2CEADDB}"/>
              </a:ext>
            </a:extLst>
          </p:cNvPr>
          <p:cNvSpPr>
            <a:spLocks noGrp="1"/>
          </p:cNvSpPr>
          <p:nvPr>
            <p:ph type="ftr" sz="quarter" idx="11"/>
          </p:nvPr>
        </p:nvSpPr>
        <p:spPr/>
        <p:txBody>
          <a:bodyPr/>
          <a:lstStyle/>
          <a:p>
            <a:r>
              <a:rPr lang="en-GB"/>
              <a:t>|</a:t>
            </a:r>
            <a:endParaRPr lang="en-GB" dirty="0"/>
          </a:p>
        </p:txBody>
      </p:sp>
      <p:sp>
        <p:nvSpPr>
          <p:cNvPr id="10" name="Tijdelijke aanduiding voor dianummer 9">
            <a:extLst>
              <a:ext uri="{FF2B5EF4-FFF2-40B4-BE49-F238E27FC236}">
                <a16:creationId xmlns:a16="http://schemas.microsoft.com/office/drawing/2014/main" id="{44A102A8-9DD5-47F3-B311-B3AE8490D7CF}"/>
              </a:ext>
            </a:extLst>
          </p:cNvPr>
          <p:cNvSpPr>
            <a:spLocks noGrp="1"/>
          </p:cNvSpPr>
          <p:nvPr>
            <p:ph type="sldNum" sz="quarter" idx="12"/>
          </p:nvPr>
        </p:nvSpPr>
        <p:spPr/>
        <p:txBody>
          <a:bodyPr/>
          <a:lstStyle/>
          <a:p>
            <a:fld id="{534B5F9C-CFE5-4EC6-9BBB-664E2F56B033}" type="slidenum">
              <a:rPr lang="en-GB" smtClean="0"/>
              <a:t>37</a:t>
            </a:fld>
            <a:endParaRPr lang="en-GB" dirty="0"/>
          </a:p>
        </p:txBody>
      </p:sp>
    </p:spTree>
    <p:custDataLst>
      <p:tags r:id="rId1"/>
    </p:custDataLst>
    <p:extLst>
      <p:ext uri="{BB962C8B-B14F-4D97-AF65-F5344CB8AC3E}">
        <p14:creationId xmlns:p14="http://schemas.microsoft.com/office/powerpoint/2010/main" val="1311708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ma14="http://schemas.microsoft.com/office/mac/drawingml/2011/main" xmlns:a16="http://schemas.microsoft.com/office/drawing/2014/main"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Hinterland.png" descr="Hinterland.png">
            <a:extLst>
              <a:ext uri="{FF2B5EF4-FFF2-40B4-BE49-F238E27FC236}">
                <a16:creationId xmlns:a16="http://schemas.microsoft.com/office/drawing/2014/main" id="{856EAA4A-03A2-2541-8F22-922B2544A688}"/>
              </a:ext>
            </a:extLst>
          </p:cNvPr>
          <p:cNvPicPr>
            <a:picLocks/>
          </p:cNvPicPr>
          <p:nvPr/>
        </p:nvPicPr>
        <p:blipFill rotWithShape="1">
          <a:blip r:embed="rId4" cstate="email">
            <a:extLst>
              <a:ext uri="{28A0092B-C50C-407E-A947-70E740481C1C}">
                <a14:useLocalDpi xmlns:a14="http://schemas.microsoft.com/office/drawing/2010/main"/>
              </a:ext>
            </a:extLst>
          </a:blip>
          <a:srcRect/>
          <a:stretch/>
        </p:blipFill>
        <p:spPr>
          <a:xfrm>
            <a:off x="-1" y="0"/>
            <a:ext cx="12195175" cy="6858000"/>
          </a:xfrm>
          <a:prstGeom prst="rect">
            <a:avLst/>
          </a:prstGeom>
          <a:ln w="12700">
            <a:miter lim="400000"/>
          </a:ln>
        </p:spPr>
      </p:pic>
      <p:sp>
        <p:nvSpPr>
          <p:cNvPr id="2" name="Titel 1">
            <a:extLst>
              <a:ext uri="{FF2B5EF4-FFF2-40B4-BE49-F238E27FC236}">
                <a16:creationId xmlns:a16="http://schemas.microsoft.com/office/drawing/2014/main" id="{FEDCBC03-4EE5-4F9E-B625-35B7A60123FA}"/>
              </a:ext>
            </a:extLst>
          </p:cNvPr>
          <p:cNvSpPr>
            <a:spLocks noGrp="1"/>
          </p:cNvSpPr>
          <p:nvPr>
            <p:ph type="title"/>
          </p:nvPr>
        </p:nvSpPr>
        <p:spPr/>
        <p:txBody>
          <a:bodyPr/>
          <a:lstStyle/>
          <a:p>
            <a:r>
              <a:rPr lang="nl-NL" dirty="0"/>
              <a:t>PATHWAYS TO </a:t>
            </a:r>
            <a:br>
              <a:rPr lang="nl-NL" dirty="0"/>
            </a:br>
            <a:r>
              <a:rPr lang="nl-NL" dirty="0"/>
              <a:t>DECARBONISE TRANSPORT</a:t>
            </a:r>
            <a:br>
              <a:rPr lang="nl-NL" dirty="0"/>
            </a:br>
            <a:endParaRPr lang="nl-NL" dirty="0"/>
          </a:p>
        </p:txBody>
      </p:sp>
      <p:sp>
        <p:nvSpPr>
          <p:cNvPr id="7" name="Tijdelijke aanduiding voor SmartArt 6">
            <a:extLst>
              <a:ext uri="{FF2B5EF4-FFF2-40B4-BE49-F238E27FC236}">
                <a16:creationId xmlns:a16="http://schemas.microsoft.com/office/drawing/2014/main" id="{81492B85-E159-46CC-917F-7609F7B9386A}"/>
              </a:ext>
            </a:extLst>
          </p:cNvPr>
          <p:cNvSpPr>
            <a:spLocks noGrp="1"/>
          </p:cNvSpPr>
          <p:nvPr>
            <p:ph type="dgm" sz="quarter" idx="14"/>
          </p:nvPr>
        </p:nvSpPr>
        <p:spPr/>
      </p:sp>
      <p:sp>
        <p:nvSpPr>
          <p:cNvPr id="3" name="Tijdelijke aanduiding voor datum 2">
            <a:extLst>
              <a:ext uri="{FF2B5EF4-FFF2-40B4-BE49-F238E27FC236}">
                <a16:creationId xmlns:a16="http://schemas.microsoft.com/office/drawing/2014/main" id="{BCC59A1B-8DC5-4434-8845-E3AC15681491}"/>
              </a:ext>
            </a:extLst>
          </p:cNvPr>
          <p:cNvSpPr>
            <a:spLocks noGrp="1"/>
          </p:cNvSpPr>
          <p:nvPr>
            <p:ph type="dt" sz="half" idx="10"/>
          </p:nvPr>
        </p:nvSpPr>
        <p:spPr/>
        <p:txBody>
          <a:bodyPr/>
          <a:lstStyle/>
          <a:p>
            <a:fld id="{7F340F51-8EA8-4436-B81F-6F9BCD90C88B}" type="datetime4">
              <a:rPr lang="en-GB" smtClean="0"/>
              <a:t>29 May 2020</a:t>
            </a:fld>
            <a:endParaRPr lang="en-GB"/>
          </a:p>
        </p:txBody>
      </p:sp>
      <p:sp>
        <p:nvSpPr>
          <p:cNvPr id="4" name="Tijdelijke aanduiding voor voettekst 3">
            <a:extLst>
              <a:ext uri="{FF2B5EF4-FFF2-40B4-BE49-F238E27FC236}">
                <a16:creationId xmlns:a16="http://schemas.microsoft.com/office/drawing/2014/main" id="{1A9DFD8C-B21E-4815-A20E-0E19495A799A}"/>
              </a:ext>
            </a:extLst>
          </p:cNvPr>
          <p:cNvSpPr>
            <a:spLocks noGrp="1"/>
          </p:cNvSpPr>
          <p:nvPr>
            <p:ph type="ftr" sz="quarter" idx="11"/>
          </p:nvPr>
        </p:nvSpPr>
        <p:spPr/>
        <p:txBody>
          <a:bodyPr/>
          <a:lstStyle/>
          <a:p>
            <a:r>
              <a:rPr lang="en-GB"/>
              <a:t>|</a:t>
            </a:r>
          </a:p>
        </p:txBody>
      </p:sp>
      <p:sp>
        <p:nvSpPr>
          <p:cNvPr id="5" name="Tijdelijke aanduiding voor dianummer 4">
            <a:extLst>
              <a:ext uri="{FF2B5EF4-FFF2-40B4-BE49-F238E27FC236}">
                <a16:creationId xmlns:a16="http://schemas.microsoft.com/office/drawing/2014/main" id="{482A85D2-7351-4466-A532-0D734AEAB85E}"/>
              </a:ext>
            </a:extLst>
          </p:cNvPr>
          <p:cNvSpPr>
            <a:spLocks noGrp="1"/>
          </p:cNvSpPr>
          <p:nvPr>
            <p:ph type="sldNum" sz="quarter" idx="12"/>
          </p:nvPr>
        </p:nvSpPr>
        <p:spPr/>
        <p:txBody>
          <a:bodyPr/>
          <a:lstStyle/>
          <a:p>
            <a:fld id="{534B5F9C-CFE5-4EC6-9BBB-664E2F56B033}" type="slidenum">
              <a:rPr lang="en-GB" smtClean="0"/>
              <a:t>38</a:t>
            </a:fld>
            <a:endParaRPr lang="en-GB"/>
          </a:p>
        </p:txBody>
      </p:sp>
    </p:spTree>
    <p:custDataLst>
      <p:tags r:id="rId1"/>
    </p:custDataLst>
    <p:extLst>
      <p:ext uri="{BB962C8B-B14F-4D97-AF65-F5344CB8AC3E}">
        <p14:creationId xmlns:p14="http://schemas.microsoft.com/office/powerpoint/2010/main" val="1349901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el 24"/>
          <p:cNvSpPr txBox="1">
            <a:spLocks/>
          </p:cNvSpPr>
          <p:nvPr/>
        </p:nvSpPr>
        <p:spPr>
          <a:xfrm>
            <a:off x="683548" y="440430"/>
            <a:ext cx="11247071" cy="647831"/>
          </a:xfrm>
          <a:prstGeom prst="rect">
            <a:avLst/>
          </a:prstGeom>
        </p:spPr>
        <p:txBody>
          <a:bodyPr vert="horz" lIns="71981" tIns="143963" rIns="71981" bIns="143963" rtlCol="0" anchor="b">
            <a:noAutofit/>
          </a:bodyPr>
          <a:lstStyle>
            <a:lvl1pPr algn="r" defTabSz="914400" rtl="0" eaLnBrk="1" latinLnBrk="0" hangingPunct="1">
              <a:lnSpc>
                <a:spcPct val="90000"/>
              </a:lnSpc>
              <a:spcBef>
                <a:spcPct val="0"/>
              </a:spcBef>
              <a:buNone/>
              <a:defRPr sz="3200" kern="1200">
                <a:solidFill>
                  <a:schemeClr val="tx2"/>
                </a:solidFill>
                <a:latin typeface="Arial Black" panose="020B0A04020102020204" pitchFamily="34" charset="0"/>
                <a:ea typeface="+mj-ea"/>
                <a:cs typeface="+mj-cs"/>
              </a:defRPr>
            </a:lvl1pPr>
          </a:lstStyle>
          <a:p>
            <a:pPr algn="l"/>
            <a:endParaRPr lang="en-US" sz="1800" dirty="0">
              <a:solidFill>
                <a:srgbClr val="001F4B"/>
              </a:solidFill>
              <a:latin typeface="Arial" charset="0"/>
              <a:ea typeface="Arial" charset="0"/>
              <a:cs typeface="Arial" charset="0"/>
            </a:endParaRPr>
          </a:p>
        </p:txBody>
      </p:sp>
      <p:sp>
        <p:nvSpPr>
          <p:cNvPr id="19" name="Rectangle 18"/>
          <p:cNvSpPr/>
          <p:nvPr/>
        </p:nvSpPr>
        <p:spPr>
          <a:xfrm>
            <a:off x="9145587" y="7941501"/>
            <a:ext cx="6096000" cy="584775"/>
          </a:xfrm>
          <a:prstGeom prst="rect">
            <a:avLst/>
          </a:prstGeom>
        </p:spPr>
        <p:txBody>
          <a:bodyPr>
            <a:spAutoFit/>
          </a:bodyPr>
          <a:lstStyle/>
          <a:p>
            <a:pPr>
              <a:spcBef>
                <a:spcPts val="300"/>
              </a:spcBef>
              <a:spcAft>
                <a:spcPts val="300"/>
              </a:spcAft>
              <a:buClr>
                <a:srgbClr val="009CD6"/>
              </a:buClr>
              <a:buSzPct val="125000"/>
            </a:pPr>
            <a:r>
              <a:rPr lang="en-GB" sz="3200" b="1">
                <a:latin typeface="Futura Std Book" charset="0"/>
                <a:ea typeface="Futura Std Book" charset="0"/>
                <a:cs typeface="Futura Std Book" charset="0"/>
              </a:rPr>
              <a:t>HINTERLAND TRAFFIC</a:t>
            </a:r>
            <a:endParaRPr lang="en-GB" sz="2667" b="1" i="1" dirty="0">
              <a:effectLst>
                <a:outerShdw blurRad="38100" dist="38100" dir="2700000" algn="tl">
                  <a:srgbClr val="000000">
                    <a:alpha val="43137"/>
                  </a:srgbClr>
                </a:outerShdw>
              </a:effectLst>
              <a:latin typeface="Futura Std Book" charset="0"/>
              <a:ea typeface="Futura Std Book" charset="0"/>
              <a:cs typeface="Futura Std Book" charset="0"/>
            </a:endParaRPr>
          </a:p>
        </p:txBody>
      </p:sp>
      <p:sp>
        <p:nvSpPr>
          <p:cNvPr id="17" name="Title 16"/>
          <p:cNvSpPr>
            <a:spLocks noGrp="1"/>
          </p:cNvSpPr>
          <p:nvPr>
            <p:ph type="title"/>
          </p:nvPr>
        </p:nvSpPr>
        <p:spPr/>
        <p:txBody>
          <a:bodyPr/>
          <a:lstStyle/>
          <a:p>
            <a:r>
              <a:rPr lang="nl-NL" dirty="0"/>
              <a:t>THE WORLD’S BEST PORT INFRASTRUCTURE</a:t>
            </a:r>
          </a:p>
        </p:txBody>
      </p:sp>
      <p:sp>
        <p:nvSpPr>
          <p:cNvPr id="32" name="Tijdelijke aanduiding voor verticale tekst 1"/>
          <p:cNvSpPr>
            <a:spLocks noGrp="1"/>
          </p:cNvSpPr>
          <p:nvPr>
            <p:ph type="body" orient="vert" idx="1"/>
          </p:nvPr>
        </p:nvSpPr>
        <p:spPr>
          <a:prstGeom prst="rect">
            <a:avLst/>
          </a:prstGeom>
        </p:spPr>
        <p:txBody>
          <a:bodyPr/>
          <a:lstStyle/>
          <a:p>
            <a:pPr marL="16933" indent="-16933" defTabSz="1219170">
              <a:lnSpc>
                <a:spcPct val="100000"/>
              </a:lnSpc>
              <a:spcBef>
                <a:spcPts val="0"/>
              </a:spcBef>
              <a:spcAft>
                <a:spcPts val="0"/>
              </a:spcAft>
              <a:defRPr/>
            </a:pPr>
            <a:r>
              <a:rPr lang="en-US" sz="2133" dirty="0"/>
              <a:t>The Netherlands was ranked first 6 times in a row</a:t>
            </a:r>
          </a:p>
        </p:txBody>
      </p:sp>
      <p:graphicFrame>
        <p:nvGraphicFramePr>
          <p:cNvPr id="30" name="Tabel 23"/>
          <p:cNvGraphicFramePr>
            <a:graphicFrameLocks noGrp="1"/>
          </p:cNvGraphicFramePr>
          <p:nvPr>
            <p:extLst>
              <p:ext uri="{D42A27DB-BD31-4B8C-83A1-F6EECF244321}">
                <p14:modId xmlns:p14="http://schemas.microsoft.com/office/powerpoint/2010/main" val="1497282306"/>
              </p:ext>
            </p:extLst>
          </p:nvPr>
        </p:nvGraphicFramePr>
        <p:xfrm>
          <a:off x="570970" y="2167706"/>
          <a:ext cx="5615516" cy="2713188"/>
        </p:xfrm>
        <a:graphic>
          <a:graphicData uri="http://schemas.openxmlformats.org/drawingml/2006/table">
            <a:tbl>
              <a:tblPr firstRow="1" bandRow="1">
                <a:tableStyleId>{00A15C55-8517-42AA-B614-E9B94910E393}</a:tableStyleId>
              </a:tblPr>
              <a:tblGrid>
                <a:gridCol w="4199236">
                  <a:extLst>
                    <a:ext uri="{9D8B030D-6E8A-4147-A177-3AD203B41FA5}">
                      <a16:colId xmlns:a16="http://schemas.microsoft.com/office/drawing/2014/main" val="20000"/>
                    </a:ext>
                  </a:extLst>
                </a:gridCol>
                <a:gridCol w="1416280">
                  <a:extLst>
                    <a:ext uri="{9D8B030D-6E8A-4147-A177-3AD203B41FA5}">
                      <a16:colId xmlns:a16="http://schemas.microsoft.com/office/drawing/2014/main" val="20001"/>
                    </a:ext>
                  </a:extLst>
                </a:gridCol>
              </a:tblGrid>
              <a:tr h="606230">
                <a:tc>
                  <a:txBody>
                    <a:bodyPr/>
                    <a:lstStyle/>
                    <a:p>
                      <a:pPr marL="0" indent="0" algn="ctr" defTabSz="977402" rtl="0" eaLnBrk="1" latinLnBrk="0" hangingPunct="1">
                        <a:buFont typeface="Arial" panose="020B0604020202020204" pitchFamily="34" charset="0"/>
                        <a:buNone/>
                      </a:pPr>
                      <a:r>
                        <a:rPr lang="nl-NL" sz="2100" b="0" i="0" kern="1200" dirty="0">
                          <a:solidFill>
                            <a:schemeClr val="bg1"/>
                          </a:solidFill>
                          <a:latin typeface="+mn-lt"/>
                          <a:ea typeface="Futura Std Book" charset="0"/>
                          <a:cs typeface="Futura Std Book" charset="0"/>
                        </a:rPr>
                        <a:t>Country / Economy</a:t>
                      </a:r>
                    </a:p>
                  </a:txBody>
                  <a:tcPr marL="91416" marR="91416"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ctr" defTabSz="977402" rtl="0" eaLnBrk="1" latinLnBrk="0" hangingPunct="1">
                        <a:buFont typeface="Arial" panose="020B0604020202020204" pitchFamily="34" charset="0"/>
                        <a:buNone/>
                      </a:pPr>
                      <a:r>
                        <a:rPr lang="nl-NL" sz="2100" b="0" i="0" kern="1200" dirty="0">
                          <a:solidFill>
                            <a:schemeClr val="bg1"/>
                          </a:solidFill>
                          <a:latin typeface="+mn-lt"/>
                          <a:ea typeface="Futura Std Book" charset="0"/>
                          <a:cs typeface="Futura Std Book" charset="0"/>
                        </a:rPr>
                        <a:t>Score</a:t>
                      </a:r>
                      <a:br>
                        <a:rPr lang="nl-NL" sz="2100" b="0" i="0" kern="1200" dirty="0">
                          <a:solidFill>
                            <a:schemeClr val="bg1"/>
                          </a:solidFill>
                          <a:latin typeface="+mn-lt"/>
                          <a:ea typeface="Futura Std Book" charset="0"/>
                          <a:cs typeface="Futura Std Book" charset="0"/>
                        </a:rPr>
                      </a:br>
                      <a:r>
                        <a:rPr lang="nl-NL" sz="1300" b="0" i="0" kern="1200" dirty="0">
                          <a:solidFill>
                            <a:schemeClr val="bg1"/>
                          </a:solidFill>
                          <a:latin typeface="+mn-lt"/>
                          <a:ea typeface="Futura Std Book" charset="0"/>
                          <a:cs typeface="Futura Std Book" charset="0"/>
                        </a:rPr>
                        <a:t>(1-7)</a:t>
                      </a:r>
                    </a:p>
                  </a:txBody>
                  <a:tcPr marL="91416" marR="91416"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2103612">
                <a:tc>
                  <a:txBody>
                    <a:bodyPr/>
                    <a:lstStyle/>
                    <a:p>
                      <a:pPr marL="342900" indent="-342900">
                        <a:buFont typeface="+mj-lt"/>
                        <a:buAutoNum type="arabicPeriod"/>
                      </a:pPr>
                      <a:r>
                        <a:rPr lang="nl-NL" sz="2100" b="1" dirty="0">
                          <a:solidFill>
                            <a:schemeClr val="tx2"/>
                          </a:solidFill>
                          <a:latin typeface="+mn-lt"/>
                          <a:ea typeface="Futura Std Book" charset="0"/>
                          <a:cs typeface="Futura Std Book" charset="0"/>
                        </a:rPr>
                        <a:t>Netherlands</a:t>
                      </a:r>
                    </a:p>
                    <a:p>
                      <a:pPr marL="342900" indent="-342900">
                        <a:buFont typeface="+mj-lt"/>
                        <a:buAutoNum type="arabicPeriod"/>
                      </a:pPr>
                      <a:r>
                        <a:rPr lang="nl-NL" sz="2100" b="0" dirty="0">
                          <a:solidFill>
                            <a:schemeClr val="tx2"/>
                          </a:solidFill>
                          <a:latin typeface="+mn-lt"/>
                          <a:ea typeface="Futura Std Book" charset="0"/>
                          <a:cs typeface="Futura Std Book" charset="0"/>
                        </a:rPr>
                        <a:t>Singapore</a:t>
                      </a:r>
                    </a:p>
                    <a:p>
                      <a:pPr marL="342900" indent="-342900">
                        <a:buFont typeface="+mj-lt"/>
                        <a:buAutoNum type="arabicPeriod"/>
                      </a:pPr>
                      <a:r>
                        <a:rPr lang="nl-NL" sz="2100" b="0" dirty="0">
                          <a:solidFill>
                            <a:schemeClr val="tx2"/>
                          </a:solidFill>
                          <a:latin typeface="+mn-lt"/>
                          <a:ea typeface="Futura Std Book" charset="0"/>
                          <a:cs typeface="Futura Std Book" charset="0"/>
                        </a:rPr>
                        <a:t>Hong Kong</a:t>
                      </a:r>
                    </a:p>
                    <a:p>
                      <a:pPr marL="342900" indent="-342900">
                        <a:buFont typeface="+mj-lt"/>
                        <a:buAutoNum type="arabicPeriod"/>
                      </a:pPr>
                      <a:r>
                        <a:rPr lang="nl-NL" sz="2100" b="0" dirty="0">
                          <a:solidFill>
                            <a:schemeClr val="tx2"/>
                          </a:solidFill>
                          <a:latin typeface="+mn-lt"/>
                          <a:ea typeface="Futura Std Book" charset="0"/>
                          <a:cs typeface="Futura Std Book" charset="0"/>
                        </a:rPr>
                        <a:t>United Arab Emirates</a:t>
                      </a:r>
                    </a:p>
                    <a:p>
                      <a:pPr marL="342900" indent="-342900">
                        <a:buFont typeface="+mj-lt"/>
                        <a:buAutoNum type="arabicPeriod"/>
                      </a:pPr>
                      <a:r>
                        <a:rPr lang="nl-NL" sz="2100" b="0" dirty="0">
                          <a:solidFill>
                            <a:schemeClr val="tx2"/>
                          </a:solidFill>
                          <a:latin typeface="+mn-lt"/>
                          <a:ea typeface="Futura Std Book" charset="0"/>
                          <a:cs typeface="Futura Std Book" charset="0"/>
                        </a:rPr>
                        <a:t>Finland</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indent="0" algn="ctr">
                        <a:buFont typeface="+mj-lt"/>
                        <a:buNone/>
                      </a:pPr>
                      <a:r>
                        <a:rPr lang="nl-NL" sz="2100" b="1" dirty="0">
                          <a:solidFill>
                            <a:schemeClr val="tx2"/>
                          </a:solidFill>
                          <a:latin typeface="+mn-lt"/>
                          <a:ea typeface="Futura Std Book" charset="0"/>
                          <a:cs typeface="Futura Std Book" charset="0"/>
                        </a:rPr>
                        <a:t>6.8</a:t>
                      </a:r>
                    </a:p>
                    <a:p>
                      <a:pPr marL="0" indent="0" algn="ctr">
                        <a:buFont typeface="+mj-lt"/>
                        <a:buNone/>
                      </a:pPr>
                      <a:r>
                        <a:rPr lang="nl-NL" sz="2100" b="0" dirty="0">
                          <a:solidFill>
                            <a:schemeClr val="tx2"/>
                          </a:solidFill>
                          <a:latin typeface="+mn-lt"/>
                          <a:ea typeface="Futura Std Book" charset="0"/>
                          <a:cs typeface="Futura Std Book" charset="0"/>
                        </a:rPr>
                        <a:t>6.7</a:t>
                      </a:r>
                    </a:p>
                    <a:p>
                      <a:pPr marL="0" indent="0" algn="ctr">
                        <a:buFont typeface="+mj-lt"/>
                        <a:buNone/>
                      </a:pPr>
                      <a:r>
                        <a:rPr lang="nl-NL" sz="2100" b="0" dirty="0">
                          <a:solidFill>
                            <a:schemeClr val="tx2"/>
                          </a:solidFill>
                          <a:latin typeface="+mn-lt"/>
                          <a:ea typeface="Futura Std Book" charset="0"/>
                          <a:cs typeface="Futura Std Book" charset="0"/>
                        </a:rPr>
                        <a:t>6.5</a:t>
                      </a:r>
                    </a:p>
                    <a:p>
                      <a:pPr marL="0" indent="0" algn="ctr">
                        <a:buFont typeface="+mj-lt"/>
                        <a:buNone/>
                      </a:pPr>
                      <a:r>
                        <a:rPr lang="nl-NL" sz="2100" b="0" dirty="0">
                          <a:solidFill>
                            <a:schemeClr val="tx2"/>
                          </a:solidFill>
                          <a:latin typeface="+mn-lt"/>
                          <a:ea typeface="Futura Std Book" charset="0"/>
                          <a:cs typeface="Futura Std Book" charset="0"/>
                        </a:rPr>
                        <a:t>6.2</a:t>
                      </a:r>
                    </a:p>
                    <a:p>
                      <a:pPr marL="0" indent="0" algn="ctr">
                        <a:buFont typeface="+mj-lt"/>
                        <a:buNone/>
                      </a:pPr>
                      <a:r>
                        <a:rPr lang="nl-NL" sz="2100" b="0" dirty="0">
                          <a:solidFill>
                            <a:schemeClr val="tx2"/>
                          </a:solidFill>
                          <a:latin typeface="+mn-lt"/>
                          <a:ea typeface="Futura Std Book" charset="0"/>
                          <a:cs typeface="Futura Std Book" charset="0"/>
                        </a:rPr>
                        <a:t>6.2</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bl>
          </a:graphicData>
        </a:graphic>
      </p:graphicFrame>
      <p:sp>
        <p:nvSpPr>
          <p:cNvPr id="33" name="Tijdelijke aanduiding voor verticale tekst 1"/>
          <p:cNvSpPr txBox="1">
            <a:spLocks/>
          </p:cNvSpPr>
          <p:nvPr/>
        </p:nvSpPr>
        <p:spPr>
          <a:xfrm>
            <a:off x="424973" y="4914946"/>
            <a:ext cx="4198455" cy="480053"/>
          </a:xfrm>
          <a:prstGeom prst="rect">
            <a:avLst/>
          </a:prstGeom>
        </p:spPr>
        <p:txBody>
          <a:bodyPr/>
          <a:lstStyle>
            <a:lvl1pPr marL="0" indent="0" algn="l" defTabSz="685622" rtl="0" eaLnBrk="1" latinLnBrk="0" hangingPunct="1">
              <a:lnSpc>
                <a:spcPct val="90000"/>
              </a:lnSpc>
              <a:spcBef>
                <a:spcPts val="525"/>
              </a:spcBef>
              <a:spcAft>
                <a:spcPts val="525"/>
              </a:spcAft>
              <a:buFont typeface="Arial" panose="020B0604020202020204" pitchFamily="34" charset="0"/>
              <a:buNone/>
              <a:defRPr sz="1500" b="0" i="0" kern="1200" spc="15" baseline="0">
                <a:ln>
                  <a:noFill/>
                </a:ln>
                <a:solidFill>
                  <a:schemeClr val="bg1"/>
                </a:solidFill>
                <a:latin typeface="Futura Std Medium" charset="0"/>
                <a:ea typeface="Futura Std Medium" charset="0"/>
                <a:cs typeface="Futura Std Medium" charset="0"/>
              </a:defRPr>
            </a:lvl1pPr>
            <a:lvl2pPr marL="135696" indent="-135696" algn="l" defTabSz="685622" rtl="0" eaLnBrk="1" latinLnBrk="0" hangingPunct="1">
              <a:lnSpc>
                <a:spcPct val="90000"/>
              </a:lnSpc>
              <a:spcBef>
                <a:spcPts val="525"/>
              </a:spcBef>
              <a:spcAft>
                <a:spcPts val="525"/>
              </a:spcAft>
              <a:buSzPct val="110000"/>
              <a:buFont typeface="Arial" panose="020B0604020202020204" pitchFamily="34" charset="0"/>
              <a:buChar char="•"/>
              <a:defRPr sz="1500" b="0" i="0" kern="1200" spc="15" baseline="0">
                <a:ln>
                  <a:noFill/>
                </a:ln>
                <a:solidFill>
                  <a:schemeClr val="bg1"/>
                </a:solidFill>
                <a:latin typeface="Futura Std Medium" charset="0"/>
                <a:ea typeface="Futura Std Medium" charset="0"/>
                <a:cs typeface="Futura Std Medium" charset="0"/>
              </a:defRPr>
            </a:lvl2pPr>
            <a:lvl3pPr marL="266631" indent="-133315" algn="l" defTabSz="685622" rtl="0" eaLnBrk="1" latinLnBrk="0" hangingPunct="1">
              <a:lnSpc>
                <a:spcPct val="90000"/>
              </a:lnSpc>
              <a:spcBef>
                <a:spcPts val="525"/>
              </a:spcBef>
              <a:spcAft>
                <a:spcPts val="525"/>
              </a:spcAft>
              <a:buFont typeface="Arial" panose="020B0604020202020204" pitchFamily="34" charset="0"/>
              <a:buChar char="−"/>
              <a:defRPr sz="1500" b="0" i="0" kern="1200" spc="15" baseline="0">
                <a:ln>
                  <a:noFill/>
                </a:ln>
                <a:solidFill>
                  <a:schemeClr val="bg1"/>
                </a:solidFill>
                <a:latin typeface="Futura Std Medium" charset="0"/>
                <a:ea typeface="Futura Std Medium" charset="0"/>
                <a:cs typeface="Futura Std Medium" charset="0"/>
              </a:defRPr>
            </a:lvl3pPr>
            <a:lvl4pPr marL="0" indent="0" algn="l" defTabSz="685622" rtl="0" eaLnBrk="1" latinLnBrk="0" hangingPunct="1">
              <a:lnSpc>
                <a:spcPct val="90000"/>
              </a:lnSpc>
              <a:spcBef>
                <a:spcPts val="525"/>
              </a:spcBef>
              <a:spcAft>
                <a:spcPts val="525"/>
              </a:spcAft>
              <a:buFont typeface="Arial" panose="020B0604020202020204" pitchFamily="34" charset="0"/>
              <a:buNone/>
              <a:defRPr sz="1500" b="0" i="0" kern="1200" spc="15" baseline="0">
                <a:ln>
                  <a:noFill/>
                </a:ln>
                <a:solidFill>
                  <a:schemeClr val="bg1"/>
                </a:solidFill>
                <a:latin typeface="Futura Std Medium" charset="0"/>
                <a:ea typeface="Futura Std Medium" charset="0"/>
                <a:cs typeface="Futura Std Medium" charset="0"/>
              </a:defRPr>
            </a:lvl4pPr>
            <a:lvl5pPr marL="0" indent="0" algn="l" defTabSz="685622" rtl="0" eaLnBrk="1" latinLnBrk="0" hangingPunct="1">
              <a:lnSpc>
                <a:spcPct val="90000"/>
              </a:lnSpc>
              <a:spcBef>
                <a:spcPts val="525"/>
              </a:spcBef>
              <a:spcAft>
                <a:spcPts val="525"/>
              </a:spcAft>
              <a:buFont typeface="Arial" panose="020B0604020202020204" pitchFamily="34" charset="0"/>
              <a:buNone/>
              <a:defRPr sz="1500" b="0" i="0" kern="1200" spc="15" baseline="0">
                <a:ln>
                  <a:noFill/>
                </a:ln>
                <a:solidFill>
                  <a:schemeClr val="bg1"/>
                </a:solidFill>
                <a:latin typeface="Futura Std Medium" charset="0"/>
                <a:ea typeface="Futura Std Medium" charset="0"/>
                <a:cs typeface="Futura Std Medium" charset="0"/>
              </a:defRPr>
            </a:lvl5pPr>
            <a:lvl6pPr marL="257108" indent="-257108" algn="l" defTabSz="685622" rtl="0" eaLnBrk="1" latinLnBrk="0" hangingPunct="1">
              <a:lnSpc>
                <a:spcPct val="90000"/>
              </a:lnSpc>
              <a:spcBef>
                <a:spcPts val="525"/>
              </a:spcBef>
              <a:spcAft>
                <a:spcPts val="525"/>
              </a:spcAft>
              <a:buFont typeface="+mj-lt"/>
              <a:buAutoNum type="arabicPeriod"/>
              <a:defRPr sz="1500" kern="1200" spc="15" baseline="0">
                <a:solidFill>
                  <a:schemeClr val="tx2"/>
                </a:solidFill>
                <a:latin typeface="+mn-lt"/>
                <a:ea typeface="+mn-ea"/>
                <a:cs typeface="+mn-cs"/>
              </a:defRPr>
            </a:lvl6pPr>
            <a:lvl7pPr marL="398756" indent="-132126" algn="l" defTabSz="685622" rtl="0" eaLnBrk="1" latinLnBrk="0" hangingPunct="1">
              <a:lnSpc>
                <a:spcPct val="90000"/>
              </a:lnSpc>
              <a:spcBef>
                <a:spcPts val="525"/>
              </a:spcBef>
              <a:spcAft>
                <a:spcPts val="525"/>
              </a:spcAft>
              <a:buSzPct val="110000"/>
              <a:buFont typeface="Arial" panose="020B0604020202020204" pitchFamily="34" charset="0"/>
              <a:buChar char="•"/>
              <a:defRPr sz="1500" kern="1200" spc="15" baseline="0">
                <a:solidFill>
                  <a:schemeClr val="tx2"/>
                </a:solidFill>
                <a:latin typeface="+mn-lt"/>
                <a:ea typeface="+mn-ea"/>
                <a:cs typeface="+mn-cs"/>
              </a:defRPr>
            </a:lvl7pPr>
            <a:lvl8pPr marL="542785" indent="-144029" algn="l" defTabSz="685622" rtl="0" eaLnBrk="1" latinLnBrk="0" hangingPunct="1">
              <a:lnSpc>
                <a:spcPct val="90000"/>
              </a:lnSpc>
              <a:spcBef>
                <a:spcPts val="525"/>
              </a:spcBef>
              <a:spcAft>
                <a:spcPts val="525"/>
              </a:spcAft>
              <a:buFont typeface="Arial" panose="020B0604020202020204" pitchFamily="34" charset="0"/>
              <a:buChar char="−"/>
              <a:defRPr sz="1350" kern="1200" spc="15" baseline="0">
                <a:solidFill>
                  <a:schemeClr val="tx2"/>
                </a:solidFill>
                <a:latin typeface="+mn-lt"/>
                <a:ea typeface="+mn-ea"/>
                <a:cs typeface="+mn-cs"/>
              </a:defRPr>
            </a:lvl8pPr>
            <a:lvl9pPr marL="0" indent="0" algn="l" defTabSz="685622" rtl="0" eaLnBrk="1" latinLnBrk="0" hangingPunct="1">
              <a:lnSpc>
                <a:spcPct val="90000"/>
              </a:lnSpc>
              <a:spcBef>
                <a:spcPts val="525"/>
              </a:spcBef>
              <a:spcAft>
                <a:spcPts val="525"/>
              </a:spcAft>
              <a:buFont typeface="Arial" panose="020B0604020202020204" pitchFamily="34" charset="0"/>
              <a:buNone/>
              <a:defRPr sz="1200" i="1" kern="1200" spc="15" baseline="0">
                <a:solidFill>
                  <a:schemeClr val="tx2"/>
                </a:solidFill>
                <a:latin typeface="+mn-lt"/>
                <a:ea typeface="+mn-ea"/>
                <a:cs typeface="+mn-cs"/>
              </a:defRPr>
            </a:lvl9pPr>
          </a:lstStyle>
          <a:p>
            <a:pPr marL="16933" indent="-16933" algn="r" defTabSz="1219170">
              <a:lnSpc>
                <a:spcPct val="100000"/>
              </a:lnSpc>
              <a:spcBef>
                <a:spcPts val="0"/>
              </a:spcBef>
              <a:spcAft>
                <a:spcPts val="0"/>
              </a:spcAft>
            </a:pPr>
            <a:r>
              <a:rPr lang="en-US" sz="1067" dirty="0">
                <a:solidFill>
                  <a:schemeClr val="tx2"/>
                </a:solidFill>
                <a:latin typeface="+mn-lt"/>
              </a:rPr>
              <a:t>Global Competitive Index 2017-2018, World Economic Forum. </a:t>
            </a:r>
          </a:p>
        </p:txBody>
      </p:sp>
      <p:grpSp>
        <p:nvGrpSpPr>
          <p:cNvPr id="21" name="Groep 10">
            <a:extLst>
              <a:ext uri="{FF2B5EF4-FFF2-40B4-BE49-F238E27FC236}">
                <a16:creationId xmlns:a16="http://schemas.microsoft.com/office/drawing/2014/main" id="{C50F1439-01AA-4F7D-BBF5-5A45BCB06897}"/>
              </a:ext>
            </a:extLst>
          </p:cNvPr>
          <p:cNvGrpSpPr>
            <a:grpSpLocks noChangeAspect="1"/>
          </p:cNvGrpSpPr>
          <p:nvPr/>
        </p:nvGrpSpPr>
        <p:grpSpPr>
          <a:xfrm rot="485106">
            <a:off x="5634908" y="4481945"/>
            <a:ext cx="1344349" cy="1344000"/>
            <a:chOff x="2762446" y="3351910"/>
            <a:chExt cx="1571819" cy="1571819"/>
          </a:xfrm>
          <a:effectLst>
            <a:outerShdw blurRad="50800" dist="38100" dir="5400000" algn="t" rotWithShape="0">
              <a:prstClr val="black">
                <a:alpha val="40000"/>
              </a:prstClr>
            </a:outerShdw>
          </a:effectLst>
        </p:grpSpPr>
        <p:sp>
          <p:nvSpPr>
            <p:cNvPr id="22" name="Afgeronde rechthoek 11">
              <a:extLst>
                <a:ext uri="{FF2B5EF4-FFF2-40B4-BE49-F238E27FC236}">
                  <a16:creationId xmlns:a16="http://schemas.microsoft.com/office/drawing/2014/main" id="{96A2097B-DA97-4D74-B16C-3EEE8D52329A}"/>
                </a:ext>
              </a:extLst>
            </p:cNvPr>
            <p:cNvSpPr/>
            <p:nvPr/>
          </p:nvSpPr>
          <p:spPr>
            <a:xfrm>
              <a:off x="2762446" y="3351910"/>
              <a:ext cx="1571819" cy="1571819"/>
            </a:xfrm>
            <a:prstGeom prst="roundRect">
              <a:avLst/>
            </a:prstGeom>
            <a:gradFill flip="none" rotWithShape="1">
              <a:gsLst>
                <a:gs pos="0">
                  <a:srgbClr val="B7B1A9">
                    <a:lumMod val="40000"/>
                    <a:lumOff val="60000"/>
                  </a:srgbClr>
                </a:gs>
                <a:gs pos="100000">
                  <a:srgbClr val="FFFFFF">
                    <a:shade val="100000"/>
                    <a:satMod val="115000"/>
                  </a:srgbClr>
                </a:gs>
              </a:gsLst>
              <a:lin ang="5400000" scaled="0"/>
              <a:tileRect/>
            </a:gradFill>
            <a:ln w="25400" cap="flat" cmpd="sng" algn="ctr">
              <a:solidFill>
                <a:srgbClr val="FFFFFF"/>
              </a:solidFill>
              <a:prstDash val="solid"/>
            </a:ln>
            <a:effectLst/>
          </p:spPr>
          <p:txBody>
            <a:bodyPr lIns="96000" rIns="96000" anchor="ctr"/>
            <a:lstStyle/>
            <a:p>
              <a:pPr algn="ctr" defTabSz="1625090" fontAlgn="base">
                <a:spcBef>
                  <a:spcPct val="0"/>
                </a:spcBef>
                <a:spcAft>
                  <a:spcPct val="0"/>
                </a:spcAft>
                <a:defRPr/>
              </a:pPr>
              <a:endParaRPr lang="nl-NL" sz="3065" kern="0">
                <a:solidFill>
                  <a:prstClr val="white"/>
                </a:solidFill>
                <a:latin typeface="Arial"/>
              </a:endParaRPr>
            </a:p>
          </p:txBody>
        </p:sp>
        <p:pic>
          <p:nvPicPr>
            <p:cNvPr id="23" name="Picture 3">
              <a:extLst>
                <a:ext uri="{FF2B5EF4-FFF2-40B4-BE49-F238E27FC236}">
                  <a16:creationId xmlns:a16="http://schemas.microsoft.com/office/drawing/2014/main" id="{466D366E-0678-49B4-91D0-ED71196C4AF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895600" y="3571539"/>
              <a:ext cx="1305510" cy="12659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Tijdelijke aanduiding voor datum 1">
            <a:extLst>
              <a:ext uri="{FF2B5EF4-FFF2-40B4-BE49-F238E27FC236}">
                <a16:creationId xmlns:a16="http://schemas.microsoft.com/office/drawing/2014/main" id="{1CAFCBC7-0F94-4356-BBB4-A311DEE1EFC0}"/>
              </a:ext>
            </a:extLst>
          </p:cNvPr>
          <p:cNvSpPr>
            <a:spLocks noGrp="1"/>
          </p:cNvSpPr>
          <p:nvPr>
            <p:ph type="dt" sz="half" idx="10"/>
          </p:nvPr>
        </p:nvSpPr>
        <p:spPr/>
        <p:txBody>
          <a:bodyPr/>
          <a:lstStyle/>
          <a:p>
            <a:fld id="{BE3F33D3-B5DE-4ED0-ABB8-138FA2088023}" type="datetime4">
              <a:rPr lang="en-GB" smtClean="0"/>
              <a:t>29 May 2020</a:t>
            </a:fld>
            <a:endParaRPr lang="en-GB" dirty="0"/>
          </a:p>
        </p:txBody>
      </p:sp>
      <p:sp>
        <p:nvSpPr>
          <p:cNvPr id="3" name="Tijdelijke aanduiding voor voettekst 2">
            <a:extLst>
              <a:ext uri="{FF2B5EF4-FFF2-40B4-BE49-F238E27FC236}">
                <a16:creationId xmlns:a16="http://schemas.microsoft.com/office/drawing/2014/main" id="{0DC7B5A8-C4D3-4F59-ADDA-B715A0973D67}"/>
              </a:ext>
            </a:extLst>
          </p:cNvPr>
          <p:cNvSpPr>
            <a:spLocks noGrp="1"/>
          </p:cNvSpPr>
          <p:nvPr>
            <p:ph type="ftr" sz="quarter" idx="11"/>
          </p:nvPr>
        </p:nvSpPr>
        <p:spPr/>
        <p:txBody>
          <a:bodyPr/>
          <a:lstStyle/>
          <a:p>
            <a:r>
              <a:rPr lang="en-GB"/>
              <a:t>|</a:t>
            </a:r>
            <a:endParaRPr lang="en-GB" dirty="0"/>
          </a:p>
        </p:txBody>
      </p:sp>
      <p:sp>
        <p:nvSpPr>
          <p:cNvPr id="4" name="Tijdelijke aanduiding voor dianummer 3">
            <a:extLst>
              <a:ext uri="{FF2B5EF4-FFF2-40B4-BE49-F238E27FC236}">
                <a16:creationId xmlns:a16="http://schemas.microsoft.com/office/drawing/2014/main" id="{728170B9-D25E-42E1-B668-10D79FE30A86}"/>
              </a:ext>
            </a:extLst>
          </p:cNvPr>
          <p:cNvSpPr>
            <a:spLocks noGrp="1"/>
          </p:cNvSpPr>
          <p:nvPr>
            <p:ph type="sldNum" sz="quarter" idx="12"/>
          </p:nvPr>
        </p:nvSpPr>
        <p:spPr/>
        <p:txBody>
          <a:bodyPr/>
          <a:lstStyle/>
          <a:p>
            <a:fld id="{534B5F9C-CFE5-4EC6-9BBB-664E2F56B033}" type="slidenum">
              <a:rPr lang="en-GB" smtClean="0"/>
              <a:t>39</a:t>
            </a:fld>
            <a:endParaRPr lang="en-GB" dirty="0"/>
          </a:p>
        </p:txBody>
      </p:sp>
    </p:spTree>
    <p:custDataLst>
      <p:tags r:id="rId1"/>
    </p:custDataLst>
    <p:extLst>
      <p:ext uri="{BB962C8B-B14F-4D97-AF65-F5344CB8AC3E}">
        <p14:creationId xmlns:p14="http://schemas.microsoft.com/office/powerpoint/2010/main" val="2736680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SmartArt 12">
            <a:extLst>
              <a:ext uri="{FF2B5EF4-FFF2-40B4-BE49-F238E27FC236}">
                <a16:creationId xmlns:a16="http://schemas.microsoft.com/office/drawing/2014/main" id="{5E6371EB-7570-401A-B69C-118E2EFFE82B}"/>
              </a:ext>
            </a:extLst>
          </p:cNvPr>
          <p:cNvSpPr>
            <a:spLocks noGrp="1"/>
          </p:cNvSpPr>
          <p:nvPr>
            <p:ph type="dgm" sz="quarter" idx="14"/>
          </p:nvPr>
        </p:nvSpPr>
        <p:spPr/>
      </p:sp>
      <p:sp>
        <p:nvSpPr>
          <p:cNvPr id="10" name="Tijdelijke aanduiding voor voettekst 4">
            <a:extLst>
              <a:ext uri="{FF2B5EF4-FFF2-40B4-BE49-F238E27FC236}">
                <a16:creationId xmlns:a16="http://schemas.microsoft.com/office/drawing/2014/main" id="{5F001C3E-0569-4126-81D7-BD3962DED739}"/>
              </a:ext>
            </a:extLst>
          </p:cNvPr>
          <p:cNvSpPr>
            <a:spLocks noGrp="1"/>
          </p:cNvSpPr>
          <p:nvPr>
            <p:ph type="ftr" sz="quarter" idx="11"/>
          </p:nvPr>
        </p:nvSpPr>
        <p:spPr>
          <a:xfrm>
            <a:off x="769629" y="6208247"/>
            <a:ext cx="814092" cy="365125"/>
          </a:xfrm>
        </p:spPr>
        <p:txBody>
          <a:bodyPr/>
          <a:lstStyle/>
          <a:p>
            <a:r>
              <a:rPr lang="en-GB"/>
              <a:t>|</a:t>
            </a:r>
            <a:endParaRPr lang="en-GB" dirty="0"/>
          </a:p>
        </p:txBody>
      </p:sp>
      <p:sp>
        <p:nvSpPr>
          <p:cNvPr id="12" name="Tijdelijke aanduiding voor dianummer 5">
            <a:extLst>
              <a:ext uri="{FF2B5EF4-FFF2-40B4-BE49-F238E27FC236}">
                <a16:creationId xmlns:a16="http://schemas.microsoft.com/office/drawing/2014/main" id="{E20D595E-C58D-40A5-B3DD-24CEE4E53319}"/>
              </a:ext>
            </a:extLst>
          </p:cNvPr>
          <p:cNvSpPr>
            <a:spLocks noGrp="1"/>
          </p:cNvSpPr>
          <p:nvPr>
            <p:ph type="sldNum" sz="quarter" idx="12"/>
          </p:nvPr>
        </p:nvSpPr>
        <p:spPr>
          <a:xfrm>
            <a:off x="288762" y="6244343"/>
            <a:ext cx="540585" cy="365125"/>
          </a:xfrm>
        </p:spPr>
        <p:txBody>
          <a:bodyPr/>
          <a:lstStyle/>
          <a:p>
            <a:fld id="{534B5F9C-CFE5-4EC6-9BBB-664E2F56B033}" type="slidenum">
              <a:rPr lang="en-GB" smtClean="0"/>
              <a:t>4</a:t>
            </a:fld>
            <a:endParaRPr lang="en-GB" dirty="0"/>
          </a:p>
        </p:txBody>
      </p:sp>
      <p:sp>
        <p:nvSpPr>
          <p:cNvPr id="14" name="Tijdelijke aanduiding voor datum 3">
            <a:extLst>
              <a:ext uri="{FF2B5EF4-FFF2-40B4-BE49-F238E27FC236}">
                <a16:creationId xmlns:a16="http://schemas.microsoft.com/office/drawing/2014/main" id="{C73DDF8B-ECC3-4A84-98A4-496203907A7A}"/>
              </a:ext>
            </a:extLst>
          </p:cNvPr>
          <p:cNvSpPr>
            <a:spLocks noGrp="1"/>
          </p:cNvSpPr>
          <p:nvPr>
            <p:ph type="dt" sz="half" idx="10"/>
          </p:nvPr>
        </p:nvSpPr>
        <p:spPr>
          <a:xfrm>
            <a:off x="1524003" y="6244343"/>
            <a:ext cx="2744788" cy="365125"/>
          </a:xfrm>
        </p:spPr>
        <p:txBody>
          <a:bodyPr/>
          <a:lstStyle/>
          <a:p>
            <a:fld id="{190EBF2C-ACCD-4AD3-906D-8A6C27E9BEF1}" type="datetime4">
              <a:rPr lang="en-GB" smtClean="0"/>
              <a:t>29 May 2020</a:t>
            </a:fld>
            <a:endParaRPr lang="en-GB" dirty="0"/>
          </a:p>
        </p:txBody>
      </p:sp>
      <p:pic>
        <p:nvPicPr>
          <p:cNvPr id="9" name="Tijdelijke aanduiding voor afbeelding 8">
            <a:extLst>
              <a:ext uri="{FF2B5EF4-FFF2-40B4-BE49-F238E27FC236}">
                <a16:creationId xmlns:a16="http://schemas.microsoft.com/office/drawing/2014/main" id="{993E1354-3A6B-4303-AD95-F733A6A328A8}"/>
              </a:ext>
            </a:extLst>
          </p:cNvPr>
          <p:cNvPicPr>
            <a:picLocks noGrp="1" noChangeAspect="1"/>
          </p:cNvPicPr>
          <p:nvPr>
            <p:ph type="pic" idx="13"/>
          </p:nvPr>
        </p:nvPicPr>
        <p:blipFill>
          <a:blip r:embed="rId4">
            <a:extLst>
              <a:ext uri="{28A0092B-C50C-407E-A947-70E740481C1C}">
                <a14:useLocalDpi xmlns:a14="http://schemas.microsoft.com/office/drawing/2010/main" val="0"/>
              </a:ext>
            </a:extLst>
          </a:blip>
          <a:srcRect t="42" b="42"/>
          <a:stretch>
            <a:fillRect/>
          </a:stretch>
        </p:blipFill>
        <p:spPr>
          <a:xfrm>
            <a:off x="-2498" y="0"/>
            <a:ext cx="12197673" cy="6858224"/>
          </a:xfrm>
        </p:spPr>
      </p:pic>
      <p:sp>
        <p:nvSpPr>
          <p:cNvPr id="19" name="Titel 10">
            <a:extLst>
              <a:ext uri="{FF2B5EF4-FFF2-40B4-BE49-F238E27FC236}">
                <a16:creationId xmlns:a16="http://schemas.microsoft.com/office/drawing/2014/main" id="{0980BDAF-FB8C-4865-9B6B-5DB7396A361D}"/>
              </a:ext>
            </a:extLst>
          </p:cNvPr>
          <p:cNvSpPr txBox="1">
            <a:spLocks/>
          </p:cNvSpPr>
          <p:nvPr/>
        </p:nvSpPr>
        <p:spPr>
          <a:xfrm>
            <a:off x="470154" y="228048"/>
            <a:ext cx="11250000" cy="648000"/>
          </a:xfrm>
          <a:prstGeom prst="rect">
            <a:avLst/>
          </a:prstGeom>
        </p:spPr>
        <p:txBody>
          <a:bodyPr vert="horz" lIns="72000" tIns="144000" rIns="72000" bIns="144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NLRTM ExtraBold" panose="00000900000000000000" pitchFamily="2" charset="0"/>
                <a:ea typeface="+mj-ea"/>
                <a:cs typeface="+mj-cs"/>
              </a:defRPr>
            </a:lvl1pPr>
          </a:lstStyle>
          <a:p>
            <a:r>
              <a:rPr lang="nl-NL" dirty="0"/>
              <a:t>GATEWAY TO EUROPE &amp; GLOBAL CARGO HUB</a:t>
            </a:r>
          </a:p>
        </p:txBody>
      </p:sp>
      <p:sp>
        <p:nvSpPr>
          <p:cNvPr id="20" name="Rechthoek 8">
            <a:extLst>
              <a:ext uri="{FF2B5EF4-FFF2-40B4-BE49-F238E27FC236}">
                <a16:creationId xmlns:a16="http://schemas.microsoft.com/office/drawing/2014/main" id="{BA093CB6-BB4C-4E2C-BBEA-9F2AF70973C1}"/>
              </a:ext>
            </a:extLst>
          </p:cNvPr>
          <p:cNvSpPr/>
          <p:nvPr/>
        </p:nvSpPr>
        <p:spPr>
          <a:xfrm>
            <a:off x="8376347" y="3609640"/>
            <a:ext cx="2839449" cy="180377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3" tIns="60952" rIns="121903" bIns="60952" rtlCol="0" anchor="ctr"/>
          <a:lstStyle/>
          <a:p>
            <a:pPr algn="ctr"/>
            <a:r>
              <a:rPr lang="nl-NL" sz="2000" b="1" dirty="0">
                <a:solidFill>
                  <a:schemeClr val="tx2"/>
                </a:solidFill>
                <a:latin typeface="+mj-lt"/>
              </a:rPr>
              <a:t>30 MILLION</a:t>
            </a:r>
          </a:p>
          <a:p>
            <a:pPr algn="ctr"/>
            <a:r>
              <a:rPr lang="nl-NL" sz="1200" dirty="0">
                <a:solidFill>
                  <a:schemeClr val="tx2"/>
                </a:solidFill>
              </a:rPr>
              <a:t>CONSUMER WITHIN TWO HOURS </a:t>
            </a:r>
          </a:p>
          <a:p>
            <a:pPr algn="ctr"/>
            <a:r>
              <a:rPr lang="nl-NL" sz="2000" b="1" dirty="0">
                <a:solidFill>
                  <a:schemeClr val="tx2"/>
                </a:solidFill>
                <a:latin typeface="+mj-lt"/>
              </a:rPr>
              <a:t>160 MILLION</a:t>
            </a:r>
          </a:p>
          <a:p>
            <a:pPr algn="ctr"/>
            <a:r>
              <a:rPr lang="nl-NL" sz="1200" dirty="0">
                <a:solidFill>
                  <a:schemeClr val="tx2"/>
                </a:solidFill>
              </a:rPr>
              <a:t>CONSUMERS WITHIN EIGHT HOURS</a:t>
            </a:r>
          </a:p>
          <a:p>
            <a:pPr algn="ctr"/>
            <a:r>
              <a:rPr lang="nl-NL" sz="2000" b="1" dirty="0">
                <a:solidFill>
                  <a:schemeClr val="tx2"/>
                </a:solidFill>
                <a:latin typeface="+mj-lt"/>
              </a:rPr>
              <a:t>500 MILLION</a:t>
            </a:r>
          </a:p>
          <a:p>
            <a:pPr algn="ctr"/>
            <a:r>
              <a:rPr lang="nl-NL" sz="1200" dirty="0">
                <a:solidFill>
                  <a:schemeClr val="tx2"/>
                </a:solidFill>
              </a:rPr>
              <a:t>CONSUMERS WITHIN 24 HOURS</a:t>
            </a:r>
          </a:p>
        </p:txBody>
      </p:sp>
    </p:spTree>
    <p:custDataLst>
      <p:tags r:id="rId1"/>
    </p:custDataLst>
    <p:extLst>
      <p:ext uri="{BB962C8B-B14F-4D97-AF65-F5344CB8AC3E}">
        <p14:creationId xmlns:p14="http://schemas.microsoft.com/office/powerpoint/2010/main" val="2288704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hoek 1">
            <a:extLst>
              <a:ext uri="{FF2B5EF4-FFF2-40B4-BE49-F238E27FC236}">
                <a16:creationId xmlns:a16="http://schemas.microsoft.com/office/drawing/2014/main" id="{EBC06106-9302-4EA2-A0ED-BCA38F16C7E9}"/>
              </a:ext>
            </a:extLst>
          </p:cNvPr>
          <p:cNvSpPr/>
          <p:nvPr/>
        </p:nvSpPr>
        <p:spPr>
          <a:xfrm>
            <a:off x="5936004" y="3182779"/>
            <a:ext cx="287258" cy="584775"/>
          </a:xfrm>
          <a:prstGeom prst="rect">
            <a:avLst/>
          </a:prstGeom>
        </p:spPr>
        <p:txBody>
          <a:bodyPr wrap="none">
            <a:spAutoFit/>
          </a:bodyPr>
          <a:lstStyle/>
          <a:p>
            <a:r>
              <a:rPr lang="nl-NL" sz="3200" dirty="0">
                <a:solidFill>
                  <a:srgbClr val="000000"/>
                </a:solidFill>
                <a:latin typeface="Times New Roman" panose="02020603050405020304" pitchFamily="18" charset="0"/>
              </a:rPr>
              <a:t> </a:t>
            </a:r>
            <a:endParaRPr lang="nl-NL" sz="3200" dirty="0"/>
          </a:p>
        </p:txBody>
      </p:sp>
      <p:sp>
        <p:nvSpPr>
          <p:cNvPr id="3" name="Rechthoek 2">
            <a:extLst>
              <a:ext uri="{FF2B5EF4-FFF2-40B4-BE49-F238E27FC236}">
                <a16:creationId xmlns:a16="http://schemas.microsoft.com/office/drawing/2014/main" id="{688D88BC-D4F2-4DC1-9CD0-4877B71EC499}"/>
              </a:ext>
            </a:extLst>
          </p:cNvPr>
          <p:cNvSpPr/>
          <p:nvPr/>
        </p:nvSpPr>
        <p:spPr>
          <a:xfrm>
            <a:off x="5936004" y="3182779"/>
            <a:ext cx="287258" cy="584775"/>
          </a:xfrm>
          <a:prstGeom prst="rect">
            <a:avLst/>
          </a:prstGeom>
        </p:spPr>
        <p:txBody>
          <a:bodyPr wrap="none">
            <a:spAutoFit/>
          </a:bodyPr>
          <a:lstStyle/>
          <a:p>
            <a:r>
              <a:rPr lang="nl-NL" sz="3200" dirty="0">
                <a:solidFill>
                  <a:srgbClr val="000000"/>
                </a:solidFill>
                <a:latin typeface="Times New Roman" panose="02020603050405020304" pitchFamily="18" charset="0"/>
              </a:rPr>
              <a:t> </a:t>
            </a:r>
            <a:endParaRPr lang="nl-NL" sz="3200" dirty="0"/>
          </a:p>
        </p:txBody>
      </p:sp>
      <p:pic>
        <p:nvPicPr>
          <p:cNvPr id="8" name="Afbeelding 7">
            <a:extLst>
              <a:ext uri="{FF2B5EF4-FFF2-40B4-BE49-F238E27FC236}">
                <a16:creationId xmlns:a16="http://schemas.microsoft.com/office/drawing/2014/main" id="{30DEA3A8-373C-4C42-900E-B1BDEC3D4CF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94"/>
          <a:stretch/>
        </p:blipFill>
        <p:spPr>
          <a:xfrm>
            <a:off x="1" y="55379"/>
            <a:ext cx="12177220" cy="6840073"/>
          </a:xfrm>
          <a:prstGeom prst="rect">
            <a:avLst/>
          </a:prstGeom>
        </p:spPr>
      </p:pic>
      <p:sp>
        <p:nvSpPr>
          <p:cNvPr id="15" name="Tijdelijke aanduiding voor SmartArt 4">
            <a:extLst>
              <a:ext uri="{FF2B5EF4-FFF2-40B4-BE49-F238E27FC236}">
                <a16:creationId xmlns:a16="http://schemas.microsoft.com/office/drawing/2014/main" id="{EF856B57-3427-43A1-BF9B-3FFEF9308926}"/>
              </a:ext>
            </a:extLst>
          </p:cNvPr>
          <p:cNvSpPr>
            <a:spLocks noGrp="1"/>
          </p:cNvSpPr>
          <p:nvPr>
            <p:ph type="dgm" sz="quarter" idx="14"/>
          </p:nvPr>
        </p:nvSpPr>
        <p:spPr>
          <a:xfrm>
            <a:off x="9936848" y="6147174"/>
            <a:ext cx="1778902" cy="580580"/>
          </a:xfrm>
        </p:spPr>
      </p:sp>
      <p:sp>
        <p:nvSpPr>
          <p:cNvPr id="4" name="Tijdelijke aanduiding voor datum 3">
            <a:extLst>
              <a:ext uri="{FF2B5EF4-FFF2-40B4-BE49-F238E27FC236}">
                <a16:creationId xmlns:a16="http://schemas.microsoft.com/office/drawing/2014/main" id="{FC03DB91-35EA-4007-8664-F307F8690076}"/>
              </a:ext>
            </a:extLst>
          </p:cNvPr>
          <p:cNvSpPr>
            <a:spLocks noGrp="1"/>
          </p:cNvSpPr>
          <p:nvPr>
            <p:ph type="dt" sz="half" idx="10"/>
          </p:nvPr>
        </p:nvSpPr>
        <p:spPr/>
        <p:txBody>
          <a:bodyPr/>
          <a:lstStyle/>
          <a:p>
            <a:fld id="{30A041FD-945B-494F-A089-F80E36560E82}" type="datetime4">
              <a:rPr lang="en-GB" smtClean="0"/>
              <a:t>29 May 2020</a:t>
            </a:fld>
            <a:endParaRPr lang="en-GB" dirty="0"/>
          </a:p>
        </p:txBody>
      </p:sp>
      <p:sp>
        <p:nvSpPr>
          <p:cNvPr id="5" name="Tijdelijke aanduiding voor voettekst 4">
            <a:extLst>
              <a:ext uri="{FF2B5EF4-FFF2-40B4-BE49-F238E27FC236}">
                <a16:creationId xmlns:a16="http://schemas.microsoft.com/office/drawing/2014/main" id="{42538C6B-9718-41E3-8647-73885D398BC2}"/>
              </a:ext>
            </a:extLst>
          </p:cNvPr>
          <p:cNvSpPr>
            <a:spLocks noGrp="1"/>
          </p:cNvSpPr>
          <p:nvPr>
            <p:ph type="ftr" sz="quarter" idx="11"/>
          </p:nvPr>
        </p:nvSpPr>
        <p:spPr/>
        <p:txBody>
          <a:bodyPr/>
          <a:lstStyle/>
          <a:p>
            <a:r>
              <a:rPr lang="en-GB"/>
              <a:t>|</a:t>
            </a:r>
          </a:p>
        </p:txBody>
      </p:sp>
      <p:sp>
        <p:nvSpPr>
          <p:cNvPr id="6" name="Tijdelijke aanduiding voor dianummer 5">
            <a:extLst>
              <a:ext uri="{FF2B5EF4-FFF2-40B4-BE49-F238E27FC236}">
                <a16:creationId xmlns:a16="http://schemas.microsoft.com/office/drawing/2014/main" id="{98365526-829E-4553-9EA4-CA727137958B}"/>
              </a:ext>
            </a:extLst>
          </p:cNvPr>
          <p:cNvSpPr>
            <a:spLocks noGrp="1"/>
          </p:cNvSpPr>
          <p:nvPr>
            <p:ph type="sldNum" sz="quarter" idx="12"/>
          </p:nvPr>
        </p:nvSpPr>
        <p:spPr/>
        <p:txBody>
          <a:bodyPr/>
          <a:lstStyle/>
          <a:p>
            <a:fld id="{534B5F9C-CFE5-4EC6-9BBB-664E2F56B033}" type="slidenum">
              <a:rPr lang="en-GB" smtClean="0"/>
              <a:t>40</a:t>
            </a:fld>
            <a:endParaRPr lang="en-GB"/>
          </a:p>
        </p:txBody>
      </p:sp>
    </p:spTree>
    <p:custDataLst>
      <p:tags r:id="rId1"/>
    </p:custDataLst>
    <p:extLst>
      <p:ext uri="{BB962C8B-B14F-4D97-AF65-F5344CB8AC3E}">
        <p14:creationId xmlns:p14="http://schemas.microsoft.com/office/powerpoint/2010/main" val="2990454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Afbeelding 7">
            <a:extLst>
              <a:ext uri="{FF2B5EF4-FFF2-40B4-BE49-F238E27FC236}">
                <a16:creationId xmlns:a16="http://schemas.microsoft.com/office/drawing/2014/main" id="{D7E793F9-9745-4E48-8E35-090852A757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83" y="0"/>
            <a:ext cx="12193092" cy="6858000"/>
          </a:xfrm>
          <a:prstGeom prst="rect">
            <a:avLst/>
          </a:prstGeom>
        </p:spPr>
      </p:pic>
      <p:sp>
        <p:nvSpPr>
          <p:cNvPr id="11" name="Tijdelijke aanduiding voor SmartArt 2">
            <a:extLst>
              <a:ext uri="{FF2B5EF4-FFF2-40B4-BE49-F238E27FC236}">
                <a16:creationId xmlns:a16="http://schemas.microsoft.com/office/drawing/2014/main" id="{9BC4BB68-5114-4140-B72B-2F9A8906DAEA}"/>
              </a:ext>
            </a:extLst>
          </p:cNvPr>
          <p:cNvSpPr>
            <a:spLocks noGrp="1"/>
          </p:cNvSpPr>
          <p:nvPr>
            <p:ph type="dgm" sz="quarter" idx="14"/>
          </p:nvPr>
        </p:nvSpPr>
        <p:spPr>
          <a:xfrm>
            <a:off x="9936848" y="6147174"/>
            <a:ext cx="1778902" cy="580580"/>
          </a:xfrm>
        </p:spPr>
      </p:sp>
      <p:sp>
        <p:nvSpPr>
          <p:cNvPr id="12" name="Rechthoek 8">
            <a:extLst>
              <a:ext uri="{FF2B5EF4-FFF2-40B4-BE49-F238E27FC236}">
                <a16:creationId xmlns:a16="http://schemas.microsoft.com/office/drawing/2014/main" id="{E7A2DE74-95C4-4B9C-934E-97638BEF5A79}"/>
              </a:ext>
            </a:extLst>
          </p:cNvPr>
          <p:cNvSpPr/>
          <p:nvPr/>
        </p:nvSpPr>
        <p:spPr>
          <a:xfrm>
            <a:off x="432958" y="3125368"/>
            <a:ext cx="2963386" cy="16719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3" tIns="60952" rIns="121903" bIns="60952" rtlCol="0" anchor="ctr"/>
          <a:lstStyle/>
          <a:p>
            <a:r>
              <a:rPr lang="en-US" sz="2000" b="1" dirty="0">
                <a:solidFill>
                  <a:schemeClr val="tx2"/>
                </a:solidFill>
              </a:rPr>
              <a:t>More than 400 weekly rail cargo services </a:t>
            </a:r>
            <a:r>
              <a:rPr lang="en-US" sz="2000" dirty="0">
                <a:solidFill>
                  <a:schemeClr val="tx2"/>
                </a:solidFill>
              </a:rPr>
              <a:t>connect the port of Rotterdam with the rest of Europe</a:t>
            </a:r>
          </a:p>
        </p:txBody>
      </p:sp>
      <p:sp>
        <p:nvSpPr>
          <p:cNvPr id="14" name="Title 1">
            <a:extLst>
              <a:ext uri="{FF2B5EF4-FFF2-40B4-BE49-F238E27FC236}">
                <a16:creationId xmlns:a16="http://schemas.microsoft.com/office/drawing/2014/main" id="{27A58CAC-3CF6-4B6F-9AE3-F43B8E15327C}"/>
              </a:ext>
            </a:extLst>
          </p:cNvPr>
          <p:cNvSpPr>
            <a:spLocks noGrp="1"/>
          </p:cNvSpPr>
          <p:nvPr>
            <p:ph type="title"/>
          </p:nvPr>
        </p:nvSpPr>
        <p:spPr>
          <a:xfrm>
            <a:off x="471488" y="190500"/>
            <a:ext cx="11250612" cy="647700"/>
          </a:xfrm>
        </p:spPr>
        <p:txBody>
          <a:bodyPr/>
          <a:lstStyle/>
          <a:p>
            <a:r>
              <a:rPr lang="nl-NL" dirty="0"/>
              <a:t>EXCELLENT RAIL CONNECTIONS</a:t>
            </a:r>
          </a:p>
        </p:txBody>
      </p:sp>
      <p:sp>
        <p:nvSpPr>
          <p:cNvPr id="15" name="Tijdelijke aanduiding voor voettekst 3">
            <a:extLst>
              <a:ext uri="{FF2B5EF4-FFF2-40B4-BE49-F238E27FC236}">
                <a16:creationId xmlns:a16="http://schemas.microsoft.com/office/drawing/2014/main" id="{744FD90D-9C0A-4C97-B0DF-D44E5E433D02}"/>
              </a:ext>
            </a:extLst>
          </p:cNvPr>
          <p:cNvSpPr>
            <a:spLocks noGrp="1"/>
          </p:cNvSpPr>
          <p:nvPr>
            <p:ph type="ftr" sz="quarter" idx="11"/>
          </p:nvPr>
        </p:nvSpPr>
        <p:spPr>
          <a:xfrm>
            <a:off x="769629" y="6208247"/>
            <a:ext cx="814092" cy="365125"/>
          </a:xfrm>
        </p:spPr>
        <p:txBody>
          <a:bodyPr/>
          <a:lstStyle/>
          <a:p>
            <a:r>
              <a:rPr lang="en-GB" dirty="0"/>
              <a:t>|</a:t>
            </a:r>
          </a:p>
        </p:txBody>
      </p:sp>
      <p:sp>
        <p:nvSpPr>
          <p:cNvPr id="16" name="Tijdelijke aanduiding voor datum 1">
            <a:extLst>
              <a:ext uri="{FF2B5EF4-FFF2-40B4-BE49-F238E27FC236}">
                <a16:creationId xmlns:a16="http://schemas.microsoft.com/office/drawing/2014/main" id="{9B470F48-9697-4A79-A0BF-0E5E4DF4DEC0}"/>
              </a:ext>
            </a:extLst>
          </p:cNvPr>
          <p:cNvSpPr>
            <a:spLocks noGrp="1"/>
          </p:cNvSpPr>
          <p:nvPr>
            <p:ph type="dt" sz="half" idx="10"/>
          </p:nvPr>
        </p:nvSpPr>
        <p:spPr>
          <a:xfrm>
            <a:off x="1524003" y="6244343"/>
            <a:ext cx="2744788" cy="365125"/>
          </a:xfrm>
        </p:spPr>
        <p:txBody>
          <a:bodyPr/>
          <a:lstStyle/>
          <a:p>
            <a:fld id="{79A61955-38AE-4FB8-A22D-DDC959D09AAF}" type="datetime4">
              <a:rPr lang="en-GB" smtClean="0"/>
              <a:t>29 May 2020</a:t>
            </a:fld>
            <a:endParaRPr lang="en-GB"/>
          </a:p>
        </p:txBody>
      </p:sp>
      <p:sp>
        <p:nvSpPr>
          <p:cNvPr id="18" name="Tijdelijke aanduiding voor dianummer 5">
            <a:extLst>
              <a:ext uri="{FF2B5EF4-FFF2-40B4-BE49-F238E27FC236}">
                <a16:creationId xmlns:a16="http://schemas.microsoft.com/office/drawing/2014/main" id="{94BA6981-4096-4DE7-84E8-F6576EF5A660}"/>
              </a:ext>
            </a:extLst>
          </p:cNvPr>
          <p:cNvSpPr>
            <a:spLocks noGrp="1"/>
          </p:cNvSpPr>
          <p:nvPr>
            <p:ph type="sldNum" sz="quarter" idx="12"/>
          </p:nvPr>
        </p:nvSpPr>
        <p:spPr>
          <a:xfrm>
            <a:off x="288762" y="6244343"/>
            <a:ext cx="540585" cy="365125"/>
          </a:xfrm>
        </p:spPr>
        <p:txBody>
          <a:bodyPr/>
          <a:lstStyle/>
          <a:p>
            <a:fld id="{534B5F9C-CFE5-4EC6-9BBB-664E2F56B033}" type="slidenum">
              <a:rPr lang="en-GB" smtClean="0"/>
              <a:t>41</a:t>
            </a:fld>
            <a:endParaRPr lang="en-GB"/>
          </a:p>
        </p:txBody>
      </p:sp>
    </p:spTree>
    <p:custDataLst>
      <p:tags r:id="rId1"/>
    </p:custDataLst>
    <p:extLst>
      <p:ext uri="{BB962C8B-B14F-4D97-AF65-F5344CB8AC3E}">
        <p14:creationId xmlns:p14="http://schemas.microsoft.com/office/powerpoint/2010/main" val="2413703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Tijdelijke aanduiding voor afbeelding 8">
            <a:extLst>
              <a:ext uri="{FF2B5EF4-FFF2-40B4-BE49-F238E27FC236}">
                <a16:creationId xmlns:a16="http://schemas.microsoft.com/office/drawing/2014/main" id="{4EEAAACC-6A11-4181-8E00-4AD776772901}"/>
              </a:ext>
            </a:extLst>
          </p:cNvPr>
          <p:cNvPicPr>
            <a:picLocks noGrp="1" noChangeAspect="1"/>
          </p:cNvPicPr>
          <p:nvPr>
            <p:ph type="pic" idx="13"/>
          </p:nvPr>
        </p:nvPicPr>
        <p:blipFill>
          <a:blip r:embed="rId2" cstate="print">
            <a:extLst>
              <a:ext uri="{28A0092B-C50C-407E-A947-70E740481C1C}">
                <a14:useLocalDpi xmlns:a14="http://schemas.microsoft.com/office/drawing/2010/main" val="0"/>
              </a:ext>
            </a:extLst>
          </a:blip>
          <a:srcRect t="34" b="34"/>
          <a:stretch>
            <a:fillRect/>
          </a:stretch>
        </p:blipFill>
        <p:spPr>
          <a:xfrm>
            <a:off x="-2498" y="-224"/>
            <a:ext cx="12197673" cy="6858224"/>
          </a:xfrm>
        </p:spPr>
      </p:pic>
      <p:sp>
        <p:nvSpPr>
          <p:cNvPr id="3" name="Titel 2">
            <a:extLst>
              <a:ext uri="{FF2B5EF4-FFF2-40B4-BE49-F238E27FC236}">
                <a16:creationId xmlns:a16="http://schemas.microsoft.com/office/drawing/2014/main" id="{D626FAEE-A927-4DD3-B074-5B25FFD8FA55}"/>
              </a:ext>
            </a:extLst>
          </p:cNvPr>
          <p:cNvSpPr>
            <a:spLocks noGrp="1"/>
          </p:cNvSpPr>
          <p:nvPr>
            <p:ph type="title"/>
          </p:nvPr>
        </p:nvSpPr>
        <p:spPr>
          <a:xfrm>
            <a:off x="471600" y="190800"/>
            <a:ext cx="11250000" cy="648000"/>
          </a:xfrm>
        </p:spPr>
        <p:txBody>
          <a:bodyPr/>
          <a:lstStyle/>
          <a:p>
            <a:r>
              <a:rPr lang="nl-NL" dirty="0"/>
              <a:t>THE NEW SILK ROAD – OPPORTUNITIES FOR THE PORT OF ROTTERDAM</a:t>
            </a:r>
            <a:br>
              <a:rPr lang="nl-NL" dirty="0">
                <a:solidFill>
                  <a:prstClr val="white"/>
                </a:solidFill>
                <a:latin typeface="Futura Std Medium"/>
                <a:cs typeface="Helvetica" panose="020B0604020202020204" pitchFamily="34" charset="0"/>
              </a:rPr>
            </a:br>
            <a:br>
              <a:rPr lang="nl-NL" dirty="0"/>
            </a:br>
            <a:endParaRPr lang="nl-NL" dirty="0"/>
          </a:p>
        </p:txBody>
      </p:sp>
      <p:sp>
        <p:nvSpPr>
          <p:cNvPr id="4" name="Tijdelijke aanduiding voor datum 3">
            <a:extLst>
              <a:ext uri="{FF2B5EF4-FFF2-40B4-BE49-F238E27FC236}">
                <a16:creationId xmlns:a16="http://schemas.microsoft.com/office/drawing/2014/main" id="{72840829-ECA1-4FF7-B84E-1150A1B46D80}"/>
              </a:ext>
            </a:extLst>
          </p:cNvPr>
          <p:cNvSpPr>
            <a:spLocks noGrp="1"/>
          </p:cNvSpPr>
          <p:nvPr>
            <p:ph type="dt" sz="half" idx="10"/>
          </p:nvPr>
        </p:nvSpPr>
        <p:spPr/>
        <p:txBody>
          <a:bodyPr/>
          <a:lstStyle/>
          <a:p>
            <a:fld id="{901F4B16-67AF-4B4A-88AC-E77B5B4E34C3}" type="datetime4">
              <a:rPr lang="en-GB" smtClean="0"/>
              <a:t>29 May 2020</a:t>
            </a:fld>
            <a:endParaRPr lang="en-GB"/>
          </a:p>
        </p:txBody>
      </p:sp>
      <p:sp>
        <p:nvSpPr>
          <p:cNvPr id="5" name="Tijdelijke aanduiding voor voettekst 4">
            <a:extLst>
              <a:ext uri="{FF2B5EF4-FFF2-40B4-BE49-F238E27FC236}">
                <a16:creationId xmlns:a16="http://schemas.microsoft.com/office/drawing/2014/main" id="{0A415A7F-CB8B-4ED3-ABF3-4D43C442E216}"/>
              </a:ext>
            </a:extLst>
          </p:cNvPr>
          <p:cNvSpPr>
            <a:spLocks noGrp="1"/>
          </p:cNvSpPr>
          <p:nvPr>
            <p:ph type="ftr" sz="quarter" idx="11"/>
          </p:nvPr>
        </p:nvSpPr>
        <p:spPr/>
        <p:txBody>
          <a:bodyPr/>
          <a:lstStyle/>
          <a:p>
            <a:r>
              <a:rPr lang="en-GB"/>
              <a:t>|</a:t>
            </a:r>
          </a:p>
        </p:txBody>
      </p:sp>
      <p:sp>
        <p:nvSpPr>
          <p:cNvPr id="6" name="Tijdelijke aanduiding voor dianummer 5">
            <a:extLst>
              <a:ext uri="{FF2B5EF4-FFF2-40B4-BE49-F238E27FC236}">
                <a16:creationId xmlns:a16="http://schemas.microsoft.com/office/drawing/2014/main" id="{38F372CC-5AF6-408E-862C-98D7603C8A83}"/>
              </a:ext>
            </a:extLst>
          </p:cNvPr>
          <p:cNvSpPr>
            <a:spLocks noGrp="1"/>
          </p:cNvSpPr>
          <p:nvPr>
            <p:ph type="sldNum" sz="quarter" idx="12"/>
          </p:nvPr>
        </p:nvSpPr>
        <p:spPr/>
        <p:txBody>
          <a:bodyPr/>
          <a:lstStyle/>
          <a:p>
            <a:fld id="{534B5F9C-CFE5-4EC6-9BBB-664E2F56B033}" type="slidenum">
              <a:rPr lang="en-GB" smtClean="0"/>
              <a:t>42</a:t>
            </a:fld>
            <a:endParaRPr lang="en-GB"/>
          </a:p>
        </p:txBody>
      </p:sp>
      <p:sp>
        <p:nvSpPr>
          <p:cNvPr id="7" name="Tijdelijke aanduiding voor SmartArt 6">
            <a:extLst>
              <a:ext uri="{FF2B5EF4-FFF2-40B4-BE49-F238E27FC236}">
                <a16:creationId xmlns:a16="http://schemas.microsoft.com/office/drawing/2014/main" id="{AE65D401-FA6A-4F4A-9449-C5A2D931A0FA}"/>
              </a:ext>
            </a:extLst>
          </p:cNvPr>
          <p:cNvSpPr>
            <a:spLocks noGrp="1"/>
          </p:cNvSpPr>
          <p:nvPr>
            <p:ph type="dgm" sz="quarter" idx="14"/>
          </p:nvPr>
        </p:nvSpPr>
        <p:spPr/>
      </p:sp>
      <p:sp>
        <p:nvSpPr>
          <p:cNvPr id="10" name="Rechthoek 8">
            <a:extLst>
              <a:ext uri="{FF2B5EF4-FFF2-40B4-BE49-F238E27FC236}">
                <a16:creationId xmlns:a16="http://schemas.microsoft.com/office/drawing/2014/main" id="{28EEC64A-0A78-48E2-AD40-4BDFAA52E3BE}"/>
              </a:ext>
            </a:extLst>
          </p:cNvPr>
          <p:cNvSpPr/>
          <p:nvPr/>
        </p:nvSpPr>
        <p:spPr>
          <a:xfrm>
            <a:off x="432956" y="3143416"/>
            <a:ext cx="3370639" cy="16719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3" tIns="60952" rIns="121903" bIns="60952" rtlCol="0" anchor="ctr"/>
          <a:lstStyle/>
          <a:p>
            <a:pPr algn="ctr"/>
            <a:r>
              <a:rPr lang="en-US" sz="2000" dirty="0">
                <a:solidFill>
                  <a:schemeClr val="tx2"/>
                </a:solidFill>
              </a:rPr>
              <a:t>Already well connected </a:t>
            </a:r>
          </a:p>
          <a:p>
            <a:pPr algn="ctr"/>
            <a:r>
              <a:rPr lang="en-US" sz="2000" dirty="0">
                <a:solidFill>
                  <a:schemeClr val="tx2"/>
                </a:solidFill>
              </a:rPr>
              <a:t>by rail via </a:t>
            </a:r>
            <a:r>
              <a:rPr lang="en-US" sz="2000" b="1" dirty="0">
                <a:solidFill>
                  <a:schemeClr val="tx2"/>
                </a:solidFill>
              </a:rPr>
              <a:t>Duisburg, Tilburg </a:t>
            </a:r>
            <a:r>
              <a:rPr lang="en-US" sz="2000" dirty="0">
                <a:solidFill>
                  <a:schemeClr val="tx2"/>
                </a:solidFill>
              </a:rPr>
              <a:t>&amp;</a:t>
            </a:r>
            <a:r>
              <a:rPr lang="en-US" sz="2000" b="1" dirty="0">
                <a:solidFill>
                  <a:schemeClr val="tx2"/>
                </a:solidFill>
              </a:rPr>
              <a:t> Venlo</a:t>
            </a:r>
            <a:r>
              <a:rPr lang="en-US" sz="2000" dirty="0">
                <a:solidFill>
                  <a:schemeClr val="tx2"/>
                </a:solidFill>
              </a:rPr>
              <a:t>.</a:t>
            </a:r>
          </a:p>
        </p:txBody>
      </p:sp>
    </p:spTree>
    <p:extLst>
      <p:ext uri="{BB962C8B-B14F-4D97-AF65-F5344CB8AC3E}">
        <p14:creationId xmlns:p14="http://schemas.microsoft.com/office/powerpoint/2010/main" val="1953881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Autofit/>
          </a:bodyPr>
          <a:lstStyle/>
          <a:p>
            <a:r>
              <a:rPr lang="en-US" dirty="0"/>
              <a:t>LOCATED AT THE MOUTH</a:t>
            </a:r>
            <a:br>
              <a:rPr lang="en-US" dirty="0"/>
            </a:br>
            <a:r>
              <a:rPr lang="en-US" dirty="0"/>
              <a:t>OF THE RHINE AND THE MEUSE</a:t>
            </a:r>
          </a:p>
        </p:txBody>
      </p:sp>
      <p:sp>
        <p:nvSpPr>
          <p:cNvPr id="4" name="Tijdelijke aanduiding voor verticale tekst 3">
            <a:extLst>
              <a:ext uri="{FF2B5EF4-FFF2-40B4-BE49-F238E27FC236}">
                <a16:creationId xmlns:a16="http://schemas.microsoft.com/office/drawing/2014/main" id="{42B212DD-E165-4412-8A03-970DA42EEF5F}"/>
              </a:ext>
            </a:extLst>
          </p:cNvPr>
          <p:cNvSpPr>
            <a:spLocks noGrp="1"/>
          </p:cNvSpPr>
          <p:nvPr>
            <p:ph type="body" orient="vert" idx="1"/>
          </p:nvPr>
        </p:nvSpPr>
        <p:spPr/>
        <p:txBody>
          <a:bodyPr/>
          <a:lstStyle/>
          <a:p>
            <a:endParaRPr lang="nl-NL" dirty="0"/>
          </a:p>
        </p:txBody>
      </p:sp>
      <p:pic>
        <p:nvPicPr>
          <p:cNvPr id="3" name="Picture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1324" y="2493716"/>
            <a:ext cx="2216215" cy="2400529"/>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031500" y="2513902"/>
            <a:ext cx="2531364" cy="2451269"/>
          </a:xfrm>
          <a:prstGeom prst="rect">
            <a:avLst/>
          </a:prstGeom>
        </p:spPr>
      </p:pic>
      <p:pic>
        <p:nvPicPr>
          <p:cNvPr id="9" name="Picture 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067654" y="2719574"/>
            <a:ext cx="2823803" cy="1994916"/>
          </a:xfrm>
          <a:prstGeom prst="rect">
            <a:avLst/>
          </a:prstGeom>
        </p:spPr>
      </p:pic>
      <p:pic>
        <p:nvPicPr>
          <p:cNvPr id="10" name="Picture 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111977" y="3203868"/>
            <a:ext cx="2406565" cy="1026329"/>
          </a:xfrm>
          <a:prstGeom prst="rect">
            <a:avLst/>
          </a:prstGeom>
        </p:spPr>
      </p:pic>
      <p:sp>
        <p:nvSpPr>
          <p:cNvPr id="11" name="TextBox 10"/>
          <p:cNvSpPr txBox="1"/>
          <p:nvPr/>
        </p:nvSpPr>
        <p:spPr>
          <a:xfrm>
            <a:off x="442" y="5074233"/>
            <a:ext cx="3213877" cy="400110"/>
          </a:xfrm>
          <a:prstGeom prst="rect">
            <a:avLst/>
          </a:prstGeom>
          <a:noFill/>
        </p:spPr>
        <p:txBody>
          <a:bodyPr wrap="square" rtlCol="0">
            <a:spAutoFit/>
          </a:bodyPr>
          <a:lstStyle/>
          <a:p>
            <a:pPr algn="ctr"/>
            <a:r>
              <a:rPr lang="nl-NL" sz="2000" dirty="0" err="1">
                <a:solidFill>
                  <a:schemeClr val="tx2"/>
                </a:solidFill>
                <a:ea typeface="Futura Std Book" charset="0"/>
                <a:cs typeface="Futura Std Book" charset="0"/>
              </a:rPr>
              <a:t>Nautical</a:t>
            </a:r>
            <a:r>
              <a:rPr lang="nl-NL" sz="2000" dirty="0">
                <a:solidFill>
                  <a:schemeClr val="tx2"/>
                </a:solidFill>
                <a:ea typeface="Futura Std Book" charset="0"/>
                <a:cs typeface="Futura Std Book" charset="0"/>
              </a:rPr>
              <a:t> Links</a:t>
            </a:r>
          </a:p>
        </p:txBody>
      </p:sp>
      <p:sp>
        <p:nvSpPr>
          <p:cNvPr id="12" name="TextBox 11"/>
          <p:cNvSpPr txBox="1"/>
          <p:nvPr/>
        </p:nvSpPr>
        <p:spPr>
          <a:xfrm>
            <a:off x="2917642" y="5063500"/>
            <a:ext cx="2759076" cy="400110"/>
          </a:xfrm>
          <a:prstGeom prst="rect">
            <a:avLst/>
          </a:prstGeom>
          <a:noFill/>
        </p:spPr>
        <p:txBody>
          <a:bodyPr wrap="square" rtlCol="0">
            <a:spAutoFit/>
          </a:bodyPr>
          <a:lstStyle/>
          <a:p>
            <a:pPr algn="ctr"/>
            <a:r>
              <a:rPr lang="nl-NL" sz="2000" dirty="0" err="1">
                <a:solidFill>
                  <a:schemeClr val="tx2"/>
                </a:solidFill>
                <a:ea typeface="Futura Std Book" charset="0"/>
                <a:cs typeface="Futura Std Book" charset="0"/>
              </a:rPr>
              <a:t>Sustainable</a:t>
            </a:r>
            <a:r>
              <a:rPr lang="nl-NL" sz="2000" dirty="0">
                <a:solidFill>
                  <a:schemeClr val="tx2"/>
                </a:solidFill>
                <a:ea typeface="Futura Std Book" charset="0"/>
                <a:cs typeface="Futura Std Book" charset="0"/>
              </a:rPr>
              <a:t> Transport</a:t>
            </a:r>
          </a:p>
        </p:txBody>
      </p:sp>
      <p:sp>
        <p:nvSpPr>
          <p:cNvPr id="13" name="TextBox 12"/>
          <p:cNvSpPr txBox="1"/>
          <p:nvPr/>
        </p:nvSpPr>
        <p:spPr>
          <a:xfrm>
            <a:off x="5756665" y="5074233"/>
            <a:ext cx="3188045" cy="400110"/>
          </a:xfrm>
          <a:prstGeom prst="rect">
            <a:avLst/>
          </a:prstGeom>
          <a:noFill/>
        </p:spPr>
        <p:txBody>
          <a:bodyPr wrap="square" rtlCol="0">
            <a:spAutoFit/>
          </a:bodyPr>
          <a:lstStyle/>
          <a:p>
            <a:pPr algn="ctr"/>
            <a:r>
              <a:rPr lang="nl-NL" sz="2000" dirty="0" err="1">
                <a:solidFill>
                  <a:schemeClr val="tx2"/>
                </a:solidFill>
                <a:ea typeface="Futura Std Book" charset="0"/>
                <a:cs typeface="Futura Std Book" charset="0"/>
              </a:rPr>
              <a:t>Flexible</a:t>
            </a:r>
            <a:r>
              <a:rPr lang="nl-NL" sz="2000" dirty="0">
                <a:solidFill>
                  <a:schemeClr val="tx2"/>
                </a:solidFill>
                <a:ea typeface="Futura Std Book" charset="0"/>
                <a:cs typeface="Futura Std Book" charset="0"/>
              </a:rPr>
              <a:t> </a:t>
            </a:r>
            <a:r>
              <a:rPr lang="nl-NL" sz="2000" dirty="0" err="1">
                <a:solidFill>
                  <a:schemeClr val="tx2"/>
                </a:solidFill>
                <a:ea typeface="Futura Std Book" charset="0"/>
                <a:cs typeface="Futura Std Book" charset="0"/>
              </a:rPr>
              <a:t>Inland</a:t>
            </a:r>
            <a:r>
              <a:rPr lang="nl-NL" sz="2000" dirty="0">
                <a:solidFill>
                  <a:schemeClr val="tx2"/>
                </a:solidFill>
                <a:ea typeface="Futura Std Book" charset="0"/>
                <a:cs typeface="Futura Std Book" charset="0"/>
              </a:rPr>
              <a:t> </a:t>
            </a:r>
            <a:r>
              <a:rPr lang="nl-NL" sz="2000" dirty="0" err="1">
                <a:solidFill>
                  <a:schemeClr val="tx2"/>
                </a:solidFill>
                <a:ea typeface="Futura Std Book" charset="0"/>
                <a:cs typeface="Futura Std Book" charset="0"/>
              </a:rPr>
              <a:t>Shipping</a:t>
            </a:r>
            <a:endParaRPr lang="nl-NL" sz="2000" dirty="0">
              <a:solidFill>
                <a:schemeClr val="tx2"/>
              </a:solidFill>
              <a:ea typeface="Futura Std Book" charset="0"/>
              <a:cs typeface="Futura Std Book" charset="0"/>
            </a:endParaRPr>
          </a:p>
        </p:txBody>
      </p:sp>
      <p:sp>
        <p:nvSpPr>
          <p:cNvPr id="14" name="TextBox 13"/>
          <p:cNvSpPr txBox="1"/>
          <p:nvPr/>
        </p:nvSpPr>
        <p:spPr>
          <a:xfrm>
            <a:off x="9169928" y="4932875"/>
            <a:ext cx="2759076" cy="707886"/>
          </a:xfrm>
          <a:prstGeom prst="rect">
            <a:avLst/>
          </a:prstGeom>
          <a:noFill/>
        </p:spPr>
        <p:txBody>
          <a:bodyPr wrap="square" rtlCol="0">
            <a:spAutoFit/>
          </a:bodyPr>
          <a:lstStyle/>
          <a:p>
            <a:pPr algn="ctr"/>
            <a:r>
              <a:rPr lang="nl-NL" sz="2000" dirty="0" err="1">
                <a:solidFill>
                  <a:schemeClr val="tx2"/>
                </a:solidFill>
                <a:ea typeface="Futura Std Book" charset="0"/>
                <a:cs typeface="Futura Std Book" charset="0"/>
              </a:rPr>
              <a:t>Optimised</a:t>
            </a:r>
            <a:r>
              <a:rPr lang="nl-NL" sz="2000" dirty="0">
                <a:solidFill>
                  <a:schemeClr val="tx2"/>
                </a:solidFill>
                <a:ea typeface="Futura Std Book" charset="0"/>
                <a:cs typeface="Futura Std Book" charset="0"/>
              </a:rPr>
              <a:t>                     </a:t>
            </a:r>
            <a:r>
              <a:rPr lang="nl-NL" sz="2000" dirty="0" err="1">
                <a:solidFill>
                  <a:schemeClr val="tx2"/>
                </a:solidFill>
                <a:ea typeface="Futura Std Book" charset="0"/>
                <a:cs typeface="Futura Std Book" charset="0"/>
              </a:rPr>
              <a:t>Inland</a:t>
            </a:r>
            <a:r>
              <a:rPr lang="nl-NL" sz="2000" dirty="0">
                <a:solidFill>
                  <a:schemeClr val="tx2"/>
                </a:solidFill>
                <a:ea typeface="Futura Std Book" charset="0"/>
                <a:cs typeface="Futura Std Book" charset="0"/>
              </a:rPr>
              <a:t>  </a:t>
            </a:r>
            <a:r>
              <a:rPr lang="nl-NL" sz="2000" dirty="0" err="1">
                <a:solidFill>
                  <a:schemeClr val="tx2"/>
                </a:solidFill>
                <a:ea typeface="Futura Std Book" charset="0"/>
                <a:cs typeface="Futura Std Book" charset="0"/>
              </a:rPr>
              <a:t>Shipping</a:t>
            </a:r>
            <a:endParaRPr lang="nl-NL" sz="2000" dirty="0">
              <a:solidFill>
                <a:schemeClr val="tx2"/>
              </a:solidFill>
              <a:ea typeface="Futura Std Book" charset="0"/>
              <a:cs typeface="Futura Std Book" charset="0"/>
            </a:endParaRPr>
          </a:p>
        </p:txBody>
      </p:sp>
      <p:sp>
        <p:nvSpPr>
          <p:cNvPr id="6" name="Tijdelijke aanduiding voor datum 5">
            <a:extLst>
              <a:ext uri="{FF2B5EF4-FFF2-40B4-BE49-F238E27FC236}">
                <a16:creationId xmlns:a16="http://schemas.microsoft.com/office/drawing/2014/main" id="{5E6445D1-2BDB-4F31-A695-1F4E08F99079}"/>
              </a:ext>
            </a:extLst>
          </p:cNvPr>
          <p:cNvSpPr>
            <a:spLocks noGrp="1"/>
          </p:cNvSpPr>
          <p:nvPr>
            <p:ph type="dt" sz="half" idx="10"/>
          </p:nvPr>
        </p:nvSpPr>
        <p:spPr/>
        <p:txBody>
          <a:bodyPr/>
          <a:lstStyle/>
          <a:p>
            <a:fld id="{0DEB4FD3-3162-48E7-9153-ACD708674A3C}" type="datetime4">
              <a:rPr lang="en-GB" smtClean="0"/>
              <a:t>29 May 2020</a:t>
            </a:fld>
            <a:endParaRPr lang="en-GB" dirty="0"/>
          </a:p>
        </p:txBody>
      </p:sp>
      <p:sp>
        <p:nvSpPr>
          <p:cNvPr id="7" name="Tijdelijke aanduiding voor voettekst 6">
            <a:extLst>
              <a:ext uri="{FF2B5EF4-FFF2-40B4-BE49-F238E27FC236}">
                <a16:creationId xmlns:a16="http://schemas.microsoft.com/office/drawing/2014/main" id="{414FE5D0-13A9-46C6-9BBD-1881838AF899}"/>
              </a:ext>
            </a:extLst>
          </p:cNvPr>
          <p:cNvSpPr>
            <a:spLocks noGrp="1"/>
          </p:cNvSpPr>
          <p:nvPr>
            <p:ph type="ftr" sz="quarter" idx="11"/>
          </p:nvPr>
        </p:nvSpPr>
        <p:spPr/>
        <p:txBody>
          <a:bodyPr/>
          <a:lstStyle/>
          <a:p>
            <a:r>
              <a:rPr lang="en-GB"/>
              <a:t>|</a:t>
            </a:r>
            <a:endParaRPr lang="en-GB" dirty="0"/>
          </a:p>
        </p:txBody>
      </p:sp>
      <p:sp>
        <p:nvSpPr>
          <p:cNvPr id="8" name="Tijdelijke aanduiding voor dianummer 7">
            <a:extLst>
              <a:ext uri="{FF2B5EF4-FFF2-40B4-BE49-F238E27FC236}">
                <a16:creationId xmlns:a16="http://schemas.microsoft.com/office/drawing/2014/main" id="{162D3B3A-8B4F-4958-BC43-B1DF3CFEF795}"/>
              </a:ext>
            </a:extLst>
          </p:cNvPr>
          <p:cNvSpPr>
            <a:spLocks noGrp="1"/>
          </p:cNvSpPr>
          <p:nvPr>
            <p:ph type="sldNum" sz="quarter" idx="12"/>
          </p:nvPr>
        </p:nvSpPr>
        <p:spPr/>
        <p:txBody>
          <a:bodyPr/>
          <a:lstStyle/>
          <a:p>
            <a:fld id="{534B5F9C-CFE5-4EC6-9BBB-664E2F56B033}" type="slidenum">
              <a:rPr lang="en-GB" smtClean="0"/>
              <a:t>43</a:t>
            </a:fld>
            <a:endParaRPr lang="en-GB" dirty="0"/>
          </a:p>
        </p:txBody>
      </p:sp>
    </p:spTree>
    <p:custDataLst>
      <p:tags r:id="rId1"/>
    </p:custDataLst>
    <p:extLst>
      <p:ext uri="{BB962C8B-B14F-4D97-AF65-F5344CB8AC3E}">
        <p14:creationId xmlns:p14="http://schemas.microsoft.com/office/powerpoint/2010/main" val="739939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Tijdelijke aanduiding voor afbeelding 14">
            <a:extLst>
              <a:ext uri="{FF2B5EF4-FFF2-40B4-BE49-F238E27FC236}">
                <a16:creationId xmlns:a16="http://schemas.microsoft.com/office/drawing/2014/main" id="{B7CB60A0-75C9-4AB8-BAFA-E6DC1EEF8DC8}"/>
              </a:ext>
            </a:extLst>
          </p:cNvPr>
          <p:cNvPicPr>
            <a:picLocks noGrp="1" noChangeAspect="1"/>
          </p:cNvPicPr>
          <p:nvPr>
            <p:ph type="pic" idx="13"/>
          </p:nvPr>
        </p:nvPicPr>
        <p:blipFill>
          <a:blip r:embed="rId4">
            <a:extLst>
              <a:ext uri="{28A0092B-C50C-407E-A947-70E740481C1C}">
                <a14:useLocalDpi xmlns:a14="http://schemas.microsoft.com/office/drawing/2010/main" val="0"/>
              </a:ext>
            </a:extLst>
          </a:blip>
          <a:srcRect t="22" b="22"/>
          <a:stretch>
            <a:fillRect/>
          </a:stretch>
        </p:blipFill>
        <p:spPr>
          <a:xfrm>
            <a:off x="-2498" y="-224"/>
            <a:ext cx="12197673" cy="6858224"/>
          </a:xfrm>
        </p:spPr>
      </p:pic>
      <p:sp>
        <p:nvSpPr>
          <p:cNvPr id="17" name="Title 1">
            <a:extLst>
              <a:ext uri="{FF2B5EF4-FFF2-40B4-BE49-F238E27FC236}">
                <a16:creationId xmlns:a16="http://schemas.microsoft.com/office/drawing/2014/main" id="{B3133D6F-37BA-419D-AF2F-DD0C0A6D1826}"/>
              </a:ext>
            </a:extLst>
          </p:cNvPr>
          <p:cNvSpPr txBox="1">
            <a:spLocks/>
          </p:cNvSpPr>
          <p:nvPr/>
        </p:nvSpPr>
        <p:spPr>
          <a:xfrm>
            <a:off x="554550" y="204300"/>
            <a:ext cx="11250000" cy="648000"/>
          </a:xfrm>
          <a:prstGeom prst="rect">
            <a:avLst/>
          </a:prstGeom>
        </p:spPr>
        <p:txBody>
          <a:bodyPr vert="horz" lIns="72000" tIns="144000" rIns="72000" bIns="144000" rtlCol="0" anchor="t" anchorCtr="0">
            <a:noAutofit/>
          </a:bodyPr>
          <a:lstStyle>
            <a:lvl1pPr algn="l" defTabSz="914400" rtl="0" eaLnBrk="1" latinLnBrk="0" hangingPunct="1">
              <a:lnSpc>
                <a:spcPct val="90000"/>
              </a:lnSpc>
              <a:spcBef>
                <a:spcPct val="0"/>
              </a:spcBef>
              <a:buNone/>
              <a:defRPr sz="3200" kern="1200" cap="all" baseline="0">
                <a:solidFill>
                  <a:schemeClr val="tx2"/>
                </a:solidFill>
                <a:latin typeface="NLRTM ExtraBold" panose="00000900000000000000" pitchFamily="2" charset="0"/>
                <a:ea typeface="+mj-ea"/>
                <a:cs typeface="+mj-cs"/>
              </a:defRPr>
            </a:lvl1pPr>
          </a:lstStyle>
          <a:p>
            <a:r>
              <a:rPr lang="nl-NL" dirty="0"/>
              <a:t>EXCELLENT BARGE</a:t>
            </a:r>
            <a:br>
              <a:rPr lang="nl-NL" dirty="0"/>
            </a:br>
            <a:r>
              <a:rPr lang="nl-NL" dirty="0"/>
              <a:t>CONNECTIONS</a:t>
            </a:r>
          </a:p>
        </p:txBody>
      </p:sp>
      <p:sp>
        <p:nvSpPr>
          <p:cNvPr id="18" name="Tijdelijke aanduiding voor datum 1">
            <a:extLst>
              <a:ext uri="{FF2B5EF4-FFF2-40B4-BE49-F238E27FC236}">
                <a16:creationId xmlns:a16="http://schemas.microsoft.com/office/drawing/2014/main" id="{094B5CC8-F73E-42BF-A73D-9E42AFA3EBB8}"/>
              </a:ext>
            </a:extLst>
          </p:cNvPr>
          <p:cNvSpPr>
            <a:spLocks noGrp="1"/>
          </p:cNvSpPr>
          <p:nvPr>
            <p:ph type="dt" sz="half" idx="10"/>
          </p:nvPr>
        </p:nvSpPr>
        <p:spPr>
          <a:xfrm>
            <a:off x="1524003" y="6244343"/>
            <a:ext cx="2744788" cy="365125"/>
          </a:xfrm>
        </p:spPr>
        <p:txBody>
          <a:bodyPr/>
          <a:lstStyle/>
          <a:p>
            <a:fld id="{10945E15-B1E1-47A9-820B-B0BACD2A0BE8}" type="datetime4">
              <a:rPr lang="en-GB" smtClean="0"/>
              <a:t>29 May 2020</a:t>
            </a:fld>
            <a:endParaRPr lang="en-GB" dirty="0"/>
          </a:p>
        </p:txBody>
      </p:sp>
      <p:sp>
        <p:nvSpPr>
          <p:cNvPr id="19" name="Tijdelijke aanduiding voor voettekst 3">
            <a:extLst>
              <a:ext uri="{FF2B5EF4-FFF2-40B4-BE49-F238E27FC236}">
                <a16:creationId xmlns:a16="http://schemas.microsoft.com/office/drawing/2014/main" id="{30F94339-0169-42AB-9180-EBEDA582171B}"/>
              </a:ext>
            </a:extLst>
          </p:cNvPr>
          <p:cNvSpPr>
            <a:spLocks noGrp="1"/>
          </p:cNvSpPr>
          <p:nvPr>
            <p:ph type="ftr" sz="quarter" idx="11"/>
          </p:nvPr>
        </p:nvSpPr>
        <p:spPr>
          <a:xfrm>
            <a:off x="769629" y="6208247"/>
            <a:ext cx="814092" cy="365125"/>
          </a:xfrm>
        </p:spPr>
        <p:txBody>
          <a:bodyPr/>
          <a:lstStyle/>
          <a:p>
            <a:r>
              <a:rPr lang="en-GB"/>
              <a:t>|</a:t>
            </a:r>
          </a:p>
        </p:txBody>
      </p:sp>
      <p:sp>
        <p:nvSpPr>
          <p:cNvPr id="20" name="Tijdelijke aanduiding voor dianummer 5">
            <a:extLst>
              <a:ext uri="{FF2B5EF4-FFF2-40B4-BE49-F238E27FC236}">
                <a16:creationId xmlns:a16="http://schemas.microsoft.com/office/drawing/2014/main" id="{2C43E2C8-9494-40EE-8A6B-E6F4949118EF}"/>
              </a:ext>
            </a:extLst>
          </p:cNvPr>
          <p:cNvSpPr>
            <a:spLocks noGrp="1"/>
          </p:cNvSpPr>
          <p:nvPr>
            <p:ph type="sldNum" sz="quarter" idx="12"/>
          </p:nvPr>
        </p:nvSpPr>
        <p:spPr>
          <a:xfrm>
            <a:off x="288762" y="6244343"/>
            <a:ext cx="540585" cy="365125"/>
          </a:xfrm>
        </p:spPr>
        <p:txBody>
          <a:bodyPr/>
          <a:lstStyle/>
          <a:p>
            <a:fld id="{534B5F9C-CFE5-4EC6-9BBB-664E2F56B033}" type="slidenum">
              <a:rPr lang="en-GB" smtClean="0"/>
              <a:t>44</a:t>
            </a:fld>
            <a:endParaRPr lang="en-GB"/>
          </a:p>
        </p:txBody>
      </p:sp>
      <p:sp>
        <p:nvSpPr>
          <p:cNvPr id="21" name="Tijdelijke aanduiding voor SmartArt 2">
            <a:extLst>
              <a:ext uri="{FF2B5EF4-FFF2-40B4-BE49-F238E27FC236}">
                <a16:creationId xmlns:a16="http://schemas.microsoft.com/office/drawing/2014/main" id="{DE5C62ED-9573-43EB-8803-4B734F4FE90D}"/>
              </a:ext>
            </a:extLst>
          </p:cNvPr>
          <p:cNvSpPr>
            <a:spLocks noGrp="1"/>
          </p:cNvSpPr>
          <p:nvPr>
            <p:ph type="dgm" sz="quarter" idx="14"/>
          </p:nvPr>
        </p:nvSpPr>
        <p:spPr>
          <a:xfrm>
            <a:off x="9936848" y="6147174"/>
            <a:ext cx="1778902" cy="580580"/>
          </a:xfrm>
        </p:spPr>
      </p:sp>
      <p:sp>
        <p:nvSpPr>
          <p:cNvPr id="22" name="Rechthoek 21">
            <a:extLst>
              <a:ext uri="{FF2B5EF4-FFF2-40B4-BE49-F238E27FC236}">
                <a16:creationId xmlns:a16="http://schemas.microsoft.com/office/drawing/2014/main" id="{8895680C-5E90-494C-BF38-379AA4E1D603}"/>
              </a:ext>
            </a:extLst>
          </p:cNvPr>
          <p:cNvSpPr/>
          <p:nvPr/>
        </p:nvSpPr>
        <p:spPr>
          <a:xfrm>
            <a:off x="288762" y="3657600"/>
            <a:ext cx="2953900" cy="16751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3" tIns="60952" rIns="121903" bIns="60952" rtlCol="0" anchor="ctr"/>
          <a:lstStyle/>
          <a:p>
            <a:pPr>
              <a:spcBef>
                <a:spcPts val="600"/>
              </a:spcBef>
              <a:spcAft>
                <a:spcPts val="600"/>
              </a:spcAft>
            </a:pPr>
            <a:endParaRPr lang="nl-NL" sz="2000" b="1" dirty="0">
              <a:solidFill>
                <a:srgbClr val="001F4B"/>
              </a:solidFill>
              <a:ea typeface="Futura Std Book" charset="0"/>
              <a:cs typeface="Futura Std Book" charset="0"/>
            </a:endParaRPr>
          </a:p>
          <a:p>
            <a:pPr>
              <a:spcBef>
                <a:spcPts val="600"/>
              </a:spcBef>
              <a:spcAft>
                <a:spcPts val="600"/>
              </a:spcAft>
            </a:pPr>
            <a:r>
              <a:rPr lang="en-US" sz="2000" b="1" dirty="0">
                <a:solidFill>
                  <a:srgbClr val="001F4B"/>
                </a:solidFill>
                <a:ea typeface="Futura Std Medium" charset="0"/>
                <a:cs typeface="Futura Std Medium" charset="0"/>
              </a:rPr>
              <a:t>More than 250 weekly barge services </a:t>
            </a:r>
            <a:r>
              <a:rPr lang="en-US" sz="2000" dirty="0">
                <a:solidFill>
                  <a:srgbClr val="001F4B"/>
                </a:solidFill>
                <a:ea typeface="Futura Std Medium" charset="0"/>
                <a:cs typeface="Futura Std Medium" charset="0"/>
              </a:rPr>
              <a:t>connect the port of Rotterdam with the rest of Europe</a:t>
            </a:r>
          </a:p>
          <a:p>
            <a:pPr>
              <a:spcBef>
                <a:spcPts val="600"/>
              </a:spcBef>
              <a:spcAft>
                <a:spcPts val="600"/>
              </a:spcAft>
            </a:pPr>
            <a:endParaRPr lang="en" sz="2000" dirty="0">
              <a:solidFill>
                <a:srgbClr val="001F4B"/>
              </a:solidFill>
              <a:ea typeface="Futura Std Medium" charset="0"/>
              <a:cs typeface="Futura Std Medium" charset="0"/>
            </a:endParaRPr>
          </a:p>
        </p:txBody>
      </p:sp>
    </p:spTree>
    <p:custDataLst>
      <p:tags r:id="rId1"/>
    </p:custDataLst>
    <p:extLst>
      <p:ext uri="{BB962C8B-B14F-4D97-AF65-F5344CB8AC3E}">
        <p14:creationId xmlns:p14="http://schemas.microsoft.com/office/powerpoint/2010/main" val="1256583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Tijdelijke aanduiding voor afbeelding 7">
            <a:extLst>
              <a:ext uri="{FF2B5EF4-FFF2-40B4-BE49-F238E27FC236}">
                <a16:creationId xmlns:a16="http://schemas.microsoft.com/office/drawing/2014/main" id="{11509031-385F-4176-83C1-CB643DA408E7}"/>
              </a:ext>
            </a:extLst>
          </p:cNvPr>
          <p:cNvPicPr>
            <a:picLocks noGrp="1" noChangeAspect="1"/>
          </p:cNvPicPr>
          <p:nvPr>
            <p:ph type="pic" idx="13"/>
          </p:nvPr>
        </p:nvPicPr>
        <p:blipFill rotWithShape="1">
          <a:blip r:embed="rId3" cstate="screen">
            <a:extLst>
              <a:ext uri="{28A0092B-C50C-407E-A947-70E740481C1C}">
                <a14:useLocalDpi xmlns:a14="http://schemas.microsoft.com/office/drawing/2010/main" val="0"/>
              </a:ext>
            </a:extLst>
          </a:blip>
          <a:srcRect/>
          <a:stretch/>
        </p:blipFill>
        <p:spPr>
          <a:xfrm>
            <a:off x="1608" y="10"/>
            <a:ext cx="12191980" cy="6857991"/>
          </a:xfrm>
          <a:prstGeom prst="rect">
            <a:avLst/>
          </a:prstGeom>
        </p:spPr>
      </p:pic>
      <p:sp>
        <p:nvSpPr>
          <p:cNvPr id="2" name="Tijdelijke aanduiding voor datum 1">
            <a:extLst>
              <a:ext uri="{FF2B5EF4-FFF2-40B4-BE49-F238E27FC236}">
                <a16:creationId xmlns:a16="http://schemas.microsoft.com/office/drawing/2014/main" id="{2D28C433-C495-4901-948C-002DB5FEC047}"/>
              </a:ext>
            </a:extLst>
          </p:cNvPr>
          <p:cNvSpPr>
            <a:spLocks noGrp="1"/>
          </p:cNvSpPr>
          <p:nvPr>
            <p:ph type="dt" sz="half" idx="10"/>
          </p:nvPr>
        </p:nvSpPr>
        <p:spPr/>
        <p:txBody>
          <a:bodyPr/>
          <a:lstStyle/>
          <a:p>
            <a:fld id="{EDBA2DCF-9C68-4157-88A8-E94B8293B564}" type="datetime4">
              <a:rPr lang="en-GB" smtClean="0"/>
              <a:t>29 May 2020</a:t>
            </a:fld>
            <a:endParaRPr lang="en-GB"/>
          </a:p>
        </p:txBody>
      </p:sp>
      <p:sp>
        <p:nvSpPr>
          <p:cNvPr id="3" name="Tijdelijke aanduiding voor voettekst 2">
            <a:extLst>
              <a:ext uri="{FF2B5EF4-FFF2-40B4-BE49-F238E27FC236}">
                <a16:creationId xmlns:a16="http://schemas.microsoft.com/office/drawing/2014/main" id="{AA5C1703-04F3-42A1-B146-4F6B45121094}"/>
              </a:ext>
            </a:extLst>
          </p:cNvPr>
          <p:cNvSpPr>
            <a:spLocks noGrp="1"/>
          </p:cNvSpPr>
          <p:nvPr>
            <p:ph type="ftr" sz="quarter" idx="11"/>
          </p:nvPr>
        </p:nvSpPr>
        <p:spPr/>
        <p:txBody>
          <a:bodyPr/>
          <a:lstStyle/>
          <a:p>
            <a:r>
              <a:rPr lang="en-GB"/>
              <a:t>|</a:t>
            </a:r>
          </a:p>
        </p:txBody>
      </p:sp>
      <p:sp>
        <p:nvSpPr>
          <p:cNvPr id="4" name="Tijdelijke aanduiding voor dianummer 3">
            <a:extLst>
              <a:ext uri="{FF2B5EF4-FFF2-40B4-BE49-F238E27FC236}">
                <a16:creationId xmlns:a16="http://schemas.microsoft.com/office/drawing/2014/main" id="{30D888A9-38C0-4510-9EA0-FBCB2D8D4B94}"/>
              </a:ext>
            </a:extLst>
          </p:cNvPr>
          <p:cNvSpPr>
            <a:spLocks noGrp="1"/>
          </p:cNvSpPr>
          <p:nvPr>
            <p:ph type="sldNum" sz="quarter" idx="12"/>
          </p:nvPr>
        </p:nvSpPr>
        <p:spPr/>
        <p:txBody>
          <a:bodyPr/>
          <a:lstStyle/>
          <a:p>
            <a:fld id="{534B5F9C-CFE5-4EC6-9BBB-664E2F56B033}" type="slidenum">
              <a:rPr lang="en-GB" smtClean="0"/>
              <a:t>45</a:t>
            </a:fld>
            <a:endParaRPr lang="en-GB"/>
          </a:p>
        </p:txBody>
      </p:sp>
    </p:spTree>
    <p:custDataLst>
      <p:tags r:id="rId1"/>
    </p:custDataLst>
    <p:extLst>
      <p:ext uri="{BB962C8B-B14F-4D97-AF65-F5344CB8AC3E}">
        <p14:creationId xmlns:p14="http://schemas.microsoft.com/office/powerpoint/2010/main" val="889363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481327E-184F-4ED1-B3A0-E9CB448CC694}"/>
              </a:ext>
            </a:extLst>
          </p:cNvPr>
          <p:cNvSpPr>
            <a:spLocks noGrp="1"/>
          </p:cNvSpPr>
          <p:nvPr>
            <p:ph type="title"/>
          </p:nvPr>
        </p:nvSpPr>
        <p:spPr/>
        <p:txBody>
          <a:bodyPr/>
          <a:lstStyle/>
          <a:p>
            <a:r>
              <a:rPr lang="nl-NL" dirty="0"/>
              <a:t>TRANSPORT BY TRUCK: FAST &amp; </a:t>
            </a:r>
            <a:r>
              <a:rPr lang="nl-NL" dirty="0" err="1"/>
              <a:t>FLEXIBLe</a:t>
            </a:r>
            <a:br>
              <a:rPr lang="nl-NL" dirty="0"/>
            </a:br>
            <a:r>
              <a:rPr lang="nl-NL" b="0" dirty="0"/>
              <a:t>TOMTOM TRAFFIC INDEX 2018</a:t>
            </a:r>
            <a:br>
              <a:rPr lang="nl-NL" dirty="0">
                <a:latin typeface="Futura Std Medium" charset="0"/>
                <a:ea typeface="Futura Std Medium" charset="0"/>
                <a:cs typeface="Futura Std Medium" charset="0"/>
              </a:rPr>
            </a:br>
            <a:r>
              <a:rPr lang="nl-NL" b="0" dirty="0">
                <a:latin typeface="Futura Std Medium" charset="0"/>
                <a:ea typeface="Futura Std Medium" charset="0"/>
                <a:cs typeface="Futura Std Medium" charset="0"/>
              </a:rPr>
              <a:t> </a:t>
            </a:r>
            <a:br>
              <a:rPr lang="nl-NL" dirty="0">
                <a:latin typeface="Futura Std Medium" charset="0"/>
                <a:ea typeface="Futura Std Medium" charset="0"/>
                <a:cs typeface="Futura Std Medium" charset="0"/>
              </a:rPr>
            </a:br>
            <a:endParaRPr lang="nl-NL" sz="2400" dirty="0">
              <a:solidFill>
                <a:srgbClr val="001F4B"/>
              </a:solidFill>
            </a:endParaRPr>
          </a:p>
        </p:txBody>
      </p:sp>
      <p:pic>
        <p:nvPicPr>
          <p:cNvPr id="10" name="Afbeelding 9">
            <a:extLst>
              <a:ext uri="{FF2B5EF4-FFF2-40B4-BE49-F238E27FC236}">
                <a16:creationId xmlns:a16="http://schemas.microsoft.com/office/drawing/2014/main" id="{71179E6F-C102-4A50-B770-999128E7D17F}"/>
              </a:ext>
            </a:extLst>
          </p:cNvPr>
          <p:cNvPicPr>
            <a:picLocks noChangeAspect="1"/>
          </p:cNvPicPr>
          <p:nvPr/>
        </p:nvPicPr>
        <p:blipFill>
          <a:blip r:embed="rId4"/>
          <a:stretch>
            <a:fillRect/>
          </a:stretch>
        </p:blipFill>
        <p:spPr>
          <a:xfrm>
            <a:off x="559054" y="2265869"/>
            <a:ext cx="4103851" cy="2928053"/>
          </a:xfrm>
          <a:prstGeom prst="rect">
            <a:avLst/>
          </a:prstGeom>
        </p:spPr>
      </p:pic>
      <p:sp>
        <p:nvSpPr>
          <p:cNvPr id="11" name="Rechthoek 10">
            <a:extLst>
              <a:ext uri="{FF2B5EF4-FFF2-40B4-BE49-F238E27FC236}">
                <a16:creationId xmlns:a16="http://schemas.microsoft.com/office/drawing/2014/main" id="{52E15AF6-CBFD-41AC-B2BB-805374887690}"/>
              </a:ext>
            </a:extLst>
          </p:cNvPr>
          <p:cNvSpPr/>
          <p:nvPr/>
        </p:nvSpPr>
        <p:spPr>
          <a:xfrm>
            <a:off x="472587" y="1538933"/>
            <a:ext cx="5952661" cy="707886"/>
          </a:xfrm>
          <a:prstGeom prst="rect">
            <a:avLst/>
          </a:prstGeom>
        </p:spPr>
        <p:txBody>
          <a:bodyPr wrap="square">
            <a:spAutoFit/>
          </a:bodyPr>
          <a:lstStyle/>
          <a:p>
            <a:r>
              <a:rPr lang="en-US" sz="2000" dirty="0">
                <a:solidFill>
                  <a:schemeClr val="tx2"/>
                </a:solidFill>
                <a:latin typeface="+mj-lt"/>
              </a:rPr>
              <a:t>Top 10 of most congested cities in </a:t>
            </a:r>
          </a:p>
          <a:p>
            <a:r>
              <a:rPr lang="en-US" sz="2000" dirty="0">
                <a:solidFill>
                  <a:schemeClr val="tx2"/>
                </a:solidFill>
                <a:latin typeface="+mj-lt"/>
              </a:rPr>
              <a:t>the Hamburg – Le Havre range</a:t>
            </a:r>
          </a:p>
        </p:txBody>
      </p:sp>
      <p:pic>
        <p:nvPicPr>
          <p:cNvPr id="14" name="Afbeelding 13">
            <a:extLst>
              <a:ext uri="{FF2B5EF4-FFF2-40B4-BE49-F238E27FC236}">
                <a16:creationId xmlns:a16="http://schemas.microsoft.com/office/drawing/2014/main" id="{3DC5A99A-D2FC-479D-BA03-DF8EA9331BF8}"/>
              </a:ext>
            </a:extLst>
          </p:cNvPr>
          <p:cNvPicPr>
            <a:picLocks noChangeAspect="1"/>
          </p:cNvPicPr>
          <p:nvPr/>
        </p:nvPicPr>
        <p:blipFill>
          <a:blip r:embed="rId5"/>
          <a:stretch>
            <a:fillRect/>
          </a:stretch>
        </p:blipFill>
        <p:spPr>
          <a:xfrm>
            <a:off x="5400302" y="2011188"/>
            <a:ext cx="5687759" cy="403118"/>
          </a:xfrm>
          <a:prstGeom prst="rect">
            <a:avLst/>
          </a:prstGeom>
        </p:spPr>
      </p:pic>
      <p:sp>
        <p:nvSpPr>
          <p:cNvPr id="3" name="Rechthoek 2">
            <a:extLst>
              <a:ext uri="{FF2B5EF4-FFF2-40B4-BE49-F238E27FC236}">
                <a16:creationId xmlns:a16="http://schemas.microsoft.com/office/drawing/2014/main" id="{FAD0BED2-C551-458C-99C7-2FC7537B4483}"/>
              </a:ext>
            </a:extLst>
          </p:cNvPr>
          <p:cNvSpPr/>
          <p:nvPr/>
        </p:nvSpPr>
        <p:spPr>
          <a:xfrm>
            <a:off x="5920254" y="5747163"/>
            <a:ext cx="6096000" cy="256545"/>
          </a:xfrm>
          <a:prstGeom prst="rect">
            <a:avLst/>
          </a:prstGeom>
        </p:spPr>
        <p:txBody>
          <a:bodyPr>
            <a:spAutoFit/>
          </a:bodyPr>
          <a:lstStyle/>
          <a:p>
            <a:pPr algn="r"/>
            <a:r>
              <a:rPr lang="en-US" sz="1067" dirty="0">
                <a:solidFill>
                  <a:schemeClr val="tx2"/>
                </a:solidFill>
              </a:rPr>
              <a:t>Source: </a:t>
            </a:r>
            <a:r>
              <a:rPr lang="nl-NL" sz="1067" dirty="0">
                <a:solidFill>
                  <a:schemeClr val="tx2"/>
                </a:solidFill>
              </a:rPr>
              <a:t>TomTom International BV </a:t>
            </a:r>
            <a:r>
              <a:rPr lang="en-US" sz="1067" dirty="0">
                <a:solidFill>
                  <a:schemeClr val="tx2"/>
                </a:solidFill>
              </a:rPr>
              <a:t> </a:t>
            </a:r>
          </a:p>
        </p:txBody>
      </p:sp>
      <p:sp>
        <p:nvSpPr>
          <p:cNvPr id="16" name="Rechthoek 15">
            <a:extLst>
              <a:ext uri="{FF2B5EF4-FFF2-40B4-BE49-F238E27FC236}">
                <a16:creationId xmlns:a16="http://schemas.microsoft.com/office/drawing/2014/main" id="{838583AB-B504-4F6D-98C7-FF709A8A1203}"/>
              </a:ext>
            </a:extLst>
          </p:cNvPr>
          <p:cNvSpPr/>
          <p:nvPr/>
        </p:nvSpPr>
        <p:spPr>
          <a:xfrm>
            <a:off x="5310461" y="1532238"/>
            <a:ext cx="5952661" cy="400110"/>
          </a:xfrm>
          <a:prstGeom prst="rect">
            <a:avLst/>
          </a:prstGeom>
        </p:spPr>
        <p:txBody>
          <a:bodyPr wrap="square">
            <a:spAutoFit/>
          </a:bodyPr>
          <a:lstStyle/>
          <a:p>
            <a:r>
              <a:rPr lang="en-US" sz="2000" dirty="0">
                <a:solidFill>
                  <a:schemeClr val="tx2"/>
                </a:solidFill>
                <a:latin typeface="+mj-lt"/>
              </a:rPr>
              <a:t>Rotterdam ranked at nr. 33</a:t>
            </a:r>
          </a:p>
        </p:txBody>
      </p:sp>
      <p:sp>
        <p:nvSpPr>
          <p:cNvPr id="2" name="Tijdelijke aanduiding voor datum 1">
            <a:extLst>
              <a:ext uri="{FF2B5EF4-FFF2-40B4-BE49-F238E27FC236}">
                <a16:creationId xmlns:a16="http://schemas.microsoft.com/office/drawing/2014/main" id="{92B95DBA-A103-4A1E-85B7-8F92D107E2AB}"/>
              </a:ext>
            </a:extLst>
          </p:cNvPr>
          <p:cNvSpPr>
            <a:spLocks noGrp="1"/>
          </p:cNvSpPr>
          <p:nvPr>
            <p:ph type="dt" sz="half" idx="10"/>
          </p:nvPr>
        </p:nvSpPr>
        <p:spPr/>
        <p:txBody>
          <a:bodyPr/>
          <a:lstStyle/>
          <a:p>
            <a:fld id="{3EB090F4-0694-4EA7-9B1E-BB1D27218E6D}" type="datetime4">
              <a:rPr lang="en-GB" smtClean="0"/>
              <a:t>29 May 2020</a:t>
            </a:fld>
            <a:endParaRPr lang="en-GB" dirty="0"/>
          </a:p>
        </p:txBody>
      </p:sp>
      <p:sp>
        <p:nvSpPr>
          <p:cNvPr id="4" name="Tijdelijke aanduiding voor voettekst 3">
            <a:extLst>
              <a:ext uri="{FF2B5EF4-FFF2-40B4-BE49-F238E27FC236}">
                <a16:creationId xmlns:a16="http://schemas.microsoft.com/office/drawing/2014/main" id="{DE84D6CB-51EB-4C02-8B84-FCB965F03FF0}"/>
              </a:ext>
            </a:extLst>
          </p:cNvPr>
          <p:cNvSpPr>
            <a:spLocks noGrp="1"/>
          </p:cNvSpPr>
          <p:nvPr>
            <p:ph type="ftr" sz="quarter" idx="11"/>
          </p:nvPr>
        </p:nvSpPr>
        <p:spPr/>
        <p:txBody>
          <a:bodyPr/>
          <a:lstStyle/>
          <a:p>
            <a:r>
              <a:rPr lang="en-GB"/>
              <a:t>|</a:t>
            </a:r>
            <a:endParaRPr lang="en-GB" dirty="0"/>
          </a:p>
        </p:txBody>
      </p:sp>
      <p:sp>
        <p:nvSpPr>
          <p:cNvPr id="6" name="Tijdelijke aanduiding voor dianummer 5">
            <a:extLst>
              <a:ext uri="{FF2B5EF4-FFF2-40B4-BE49-F238E27FC236}">
                <a16:creationId xmlns:a16="http://schemas.microsoft.com/office/drawing/2014/main" id="{66B3A5AF-8402-40AC-A2BA-D88D9D6EB1E8}"/>
              </a:ext>
            </a:extLst>
          </p:cNvPr>
          <p:cNvSpPr>
            <a:spLocks noGrp="1"/>
          </p:cNvSpPr>
          <p:nvPr>
            <p:ph type="sldNum" sz="quarter" idx="12"/>
          </p:nvPr>
        </p:nvSpPr>
        <p:spPr/>
        <p:txBody>
          <a:bodyPr/>
          <a:lstStyle/>
          <a:p>
            <a:fld id="{534B5F9C-CFE5-4EC6-9BBB-664E2F56B033}" type="slidenum">
              <a:rPr lang="en-GB" smtClean="0"/>
              <a:t>46</a:t>
            </a:fld>
            <a:endParaRPr lang="en-GB" dirty="0"/>
          </a:p>
        </p:txBody>
      </p:sp>
      <p:sp>
        <p:nvSpPr>
          <p:cNvPr id="8" name="Tekstvak 7">
            <a:extLst>
              <a:ext uri="{FF2B5EF4-FFF2-40B4-BE49-F238E27FC236}">
                <a16:creationId xmlns:a16="http://schemas.microsoft.com/office/drawing/2014/main" id="{09AF6650-031D-4460-87CE-46FEE6B8BEBA}"/>
              </a:ext>
            </a:extLst>
          </p:cNvPr>
          <p:cNvSpPr txBox="1"/>
          <p:nvPr/>
        </p:nvSpPr>
        <p:spPr>
          <a:xfrm>
            <a:off x="5400302" y="2945751"/>
            <a:ext cx="6454588" cy="2246769"/>
          </a:xfrm>
          <a:prstGeom prst="rect">
            <a:avLst/>
          </a:prstGeom>
          <a:noFill/>
        </p:spPr>
        <p:txBody>
          <a:bodyPr wrap="square" rtlCol="0">
            <a:spAutoFit/>
          </a:bodyPr>
          <a:lstStyle/>
          <a:p>
            <a:r>
              <a:rPr lang="nl-NL" sz="2000" dirty="0" err="1">
                <a:solidFill>
                  <a:schemeClr val="tx2"/>
                </a:solidFill>
              </a:rPr>
              <a:t>About</a:t>
            </a:r>
            <a:r>
              <a:rPr lang="nl-NL" sz="2000" dirty="0">
                <a:solidFill>
                  <a:schemeClr val="tx2"/>
                </a:solidFill>
              </a:rPr>
              <a:t> 40% of containers </a:t>
            </a:r>
            <a:r>
              <a:rPr lang="nl-NL" sz="2000" dirty="0" err="1">
                <a:solidFill>
                  <a:schemeClr val="tx2"/>
                </a:solidFill>
              </a:rPr>
              <a:t>transported</a:t>
            </a:r>
            <a:r>
              <a:rPr lang="nl-NL" sz="2000" dirty="0">
                <a:solidFill>
                  <a:schemeClr val="tx2"/>
                </a:solidFill>
              </a:rPr>
              <a:t> </a:t>
            </a:r>
            <a:r>
              <a:rPr lang="nl-NL" sz="2000" dirty="0" err="1">
                <a:solidFill>
                  <a:schemeClr val="tx2"/>
                </a:solidFill>
              </a:rPr>
              <a:t>from</a:t>
            </a:r>
            <a:r>
              <a:rPr lang="nl-NL" sz="2000" dirty="0">
                <a:solidFill>
                  <a:schemeClr val="tx2"/>
                </a:solidFill>
              </a:rPr>
              <a:t> </a:t>
            </a:r>
            <a:r>
              <a:rPr lang="nl-NL" sz="2000" dirty="0" err="1">
                <a:solidFill>
                  <a:schemeClr val="tx2"/>
                </a:solidFill>
              </a:rPr>
              <a:t>the</a:t>
            </a:r>
            <a:r>
              <a:rPr lang="nl-NL" sz="2000" dirty="0">
                <a:solidFill>
                  <a:schemeClr val="tx2"/>
                </a:solidFill>
              </a:rPr>
              <a:t> port </a:t>
            </a:r>
            <a:r>
              <a:rPr lang="nl-NL" sz="2000" dirty="0" err="1">
                <a:solidFill>
                  <a:schemeClr val="tx2"/>
                </a:solidFill>
              </a:rPr>
              <a:t>by</a:t>
            </a:r>
            <a:r>
              <a:rPr lang="nl-NL" sz="2000" dirty="0">
                <a:solidFill>
                  <a:schemeClr val="tx2"/>
                </a:solidFill>
              </a:rPr>
              <a:t> </a:t>
            </a:r>
            <a:r>
              <a:rPr lang="nl-NL" sz="2000" dirty="0" err="1">
                <a:solidFill>
                  <a:schemeClr val="tx2"/>
                </a:solidFill>
              </a:rPr>
              <a:t>road</a:t>
            </a:r>
            <a:r>
              <a:rPr lang="nl-NL" sz="2000" dirty="0">
                <a:solidFill>
                  <a:schemeClr val="tx2"/>
                </a:solidFill>
              </a:rPr>
              <a:t> </a:t>
            </a:r>
            <a:r>
              <a:rPr lang="nl-NL" sz="2000" dirty="0" err="1">
                <a:solidFill>
                  <a:schemeClr val="tx2"/>
                </a:solidFill>
              </a:rPr>
              <a:t>remains</a:t>
            </a:r>
            <a:r>
              <a:rPr lang="nl-NL" sz="2000" dirty="0">
                <a:solidFill>
                  <a:schemeClr val="tx2"/>
                </a:solidFill>
              </a:rPr>
              <a:t> in </a:t>
            </a:r>
            <a:r>
              <a:rPr lang="nl-NL" sz="2000" dirty="0" err="1">
                <a:solidFill>
                  <a:schemeClr val="tx2"/>
                </a:solidFill>
              </a:rPr>
              <a:t>the</a:t>
            </a:r>
            <a:r>
              <a:rPr lang="nl-NL" sz="2000" dirty="0">
                <a:solidFill>
                  <a:schemeClr val="tx2"/>
                </a:solidFill>
              </a:rPr>
              <a:t> Rotterdam </a:t>
            </a:r>
            <a:r>
              <a:rPr lang="nl-NL" sz="2000" dirty="0" err="1">
                <a:solidFill>
                  <a:schemeClr val="tx2"/>
                </a:solidFill>
              </a:rPr>
              <a:t>region</a:t>
            </a:r>
            <a:r>
              <a:rPr lang="nl-NL" sz="2000" dirty="0">
                <a:solidFill>
                  <a:schemeClr val="tx2"/>
                </a:solidFill>
              </a:rPr>
              <a:t>. </a:t>
            </a:r>
          </a:p>
          <a:p>
            <a:endParaRPr lang="nl-NL" sz="2000" dirty="0">
              <a:solidFill>
                <a:schemeClr val="tx2"/>
              </a:solidFill>
            </a:endParaRPr>
          </a:p>
          <a:p>
            <a:r>
              <a:rPr lang="nl-NL" sz="2000" dirty="0">
                <a:solidFill>
                  <a:schemeClr val="tx2"/>
                </a:solidFill>
              </a:rPr>
              <a:t>Half of </a:t>
            </a:r>
            <a:r>
              <a:rPr lang="nl-NL" sz="2000" dirty="0" err="1">
                <a:solidFill>
                  <a:schemeClr val="tx2"/>
                </a:solidFill>
              </a:rPr>
              <a:t>the</a:t>
            </a:r>
            <a:r>
              <a:rPr lang="nl-NL" sz="2000" dirty="0">
                <a:solidFill>
                  <a:schemeClr val="tx2"/>
                </a:solidFill>
              </a:rPr>
              <a:t> </a:t>
            </a:r>
            <a:r>
              <a:rPr lang="nl-NL" sz="2000" dirty="0" err="1">
                <a:solidFill>
                  <a:schemeClr val="tx2"/>
                </a:solidFill>
              </a:rPr>
              <a:t>freight</a:t>
            </a:r>
            <a:r>
              <a:rPr lang="nl-NL" sz="2000" dirty="0">
                <a:solidFill>
                  <a:schemeClr val="tx2"/>
                </a:solidFill>
              </a:rPr>
              <a:t> is </a:t>
            </a:r>
            <a:r>
              <a:rPr lang="nl-NL" sz="2000" dirty="0" err="1">
                <a:solidFill>
                  <a:schemeClr val="tx2"/>
                </a:solidFill>
              </a:rPr>
              <a:t>intended</a:t>
            </a:r>
            <a:r>
              <a:rPr lang="nl-NL" sz="2000" dirty="0">
                <a:solidFill>
                  <a:schemeClr val="tx2"/>
                </a:solidFill>
              </a:rPr>
              <a:t> </a:t>
            </a:r>
            <a:r>
              <a:rPr lang="nl-NL" sz="2000" dirty="0" err="1">
                <a:solidFill>
                  <a:schemeClr val="tx2"/>
                </a:solidFill>
              </a:rPr>
              <a:t>for</a:t>
            </a:r>
            <a:r>
              <a:rPr lang="nl-NL" sz="2000" dirty="0">
                <a:solidFill>
                  <a:schemeClr val="tx2"/>
                </a:solidFill>
              </a:rPr>
              <a:t> </a:t>
            </a:r>
            <a:r>
              <a:rPr lang="nl-NL" sz="2000" dirty="0" err="1">
                <a:solidFill>
                  <a:schemeClr val="tx2"/>
                </a:solidFill>
              </a:rPr>
              <a:t>the</a:t>
            </a:r>
            <a:r>
              <a:rPr lang="nl-NL" sz="2000" dirty="0">
                <a:solidFill>
                  <a:schemeClr val="tx2"/>
                </a:solidFill>
              </a:rPr>
              <a:t> Dutch market, </a:t>
            </a:r>
            <a:r>
              <a:rPr lang="nl-NL" sz="2000" dirty="0" err="1">
                <a:solidFill>
                  <a:schemeClr val="tx2"/>
                </a:solidFill>
              </a:rPr>
              <a:t>and</a:t>
            </a:r>
            <a:r>
              <a:rPr lang="nl-NL" sz="2000" dirty="0">
                <a:solidFill>
                  <a:schemeClr val="tx2"/>
                </a:solidFill>
              </a:rPr>
              <a:t> </a:t>
            </a:r>
            <a:r>
              <a:rPr lang="nl-NL" sz="2000" dirty="0" err="1">
                <a:solidFill>
                  <a:schemeClr val="tx2"/>
                </a:solidFill>
              </a:rPr>
              <a:t>only</a:t>
            </a:r>
            <a:r>
              <a:rPr lang="nl-NL" sz="2000" dirty="0">
                <a:solidFill>
                  <a:schemeClr val="tx2"/>
                </a:solidFill>
              </a:rPr>
              <a:t> </a:t>
            </a:r>
            <a:r>
              <a:rPr lang="nl-NL" sz="2000" dirty="0" err="1">
                <a:solidFill>
                  <a:schemeClr val="tx2"/>
                </a:solidFill>
              </a:rPr>
              <a:t>around</a:t>
            </a:r>
            <a:r>
              <a:rPr lang="nl-NL" sz="2000" dirty="0">
                <a:solidFill>
                  <a:schemeClr val="tx2"/>
                </a:solidFill>
              </a:rPr>
              <a:t> 10% of </a:t>
            </a:r>
            <a:r>
              <a:rPr lang="nl-NL" sz="2000" dirty="0" err="1">
                <a:solidFill>
                  <a:schemeClr val="tx2"/>
                </a:solidFill>
              </a:rPr>
              <a:t>freight</a:t>
            </a:r>
            <a:r>
              <a:rPr lang="nl-NL" sz="2000" dirty="0">
                <a:solidFill>
                  <a:schemeClr val="tx2"/>
                </a:solidFill>
              </a:rPr>
              <a:t> traffic </a:t>
            </a:r>
            <a:r>
              <a:rPr lang="nl-NL" sz="2000" dirty="0" err="1">
                <a:solidFill>
                  <a:schemeClr val="tx2"/>
                </a:solidFill>
              </a:rPr>
              <a:t>to</a:t>
            </a:r>
            <a:r>
              <a:rPr lang="nl-NL" sz="2000" dirty="0">
                <a:solidFill>
                  <a:schemeClr val="tx2"/>
                </a:solidFill>
              </a:rPr>
              <a:t> </a:t>
            </a:r>
            <a:r>
              <a:rPr lang="nl-NL" sz="2000" dirty="0" err="1">
                <a:solidFill>
                  <a:schemeClr val="tx2"/>
                </a:solidFill>
              </a:rPr>
              <a:t>and</a:t>
            </a:r>
            <a:r>
              <a:rPr lang="nl-NL" sz="2000" dirty="0">
                <a:solidFill>
                  <a:schemeClr val="tx2"/>
                </a:solidFill>
              </a:rPr>
              <a:t> </a:t>
            </a:r>
            <a:r>
              <a:rPr lang="nl-NL" sz="2000" dirty="0" err="1">
                <a:solidFill>
                  <a:schemeClr val="tx2"/>
                </a:solidFill>
              </a:rPr>
              <a:t>from</a:t>
            </a:r>
            <a:r>
              <a:rPr lang="nl-NL" sz="2000" dirty="0">
                <a:solidFill>
                  <a:schemeClr val="tx2"/>
                </a:solidFill>
              </a:rPr>
              <a:t> </a:t>
            </a:r>
            <a:r>
              <a:rPr lang="nl-NL" sz="2000" dirty="0" err="1">
                <a:solidFill>
                  <a:schemeClr val="tx2"/>
                </a:solidFill>
              </a:rPr>
              <a:t>the</a:t>
            </a:r>
            <a:r>
              <a:rPr lang="nl-NL" sz="2000" dirty="0">
                <a:solidFill>
                  <a:schemeClr val="tx2"/>
                </a:solidFill>
              </a:rPr>
              <a:t> port of Rotterdam crosses </a:t>
            </a:r>
            <a:r>
              <a:rPr lang="nl-NL" sz="2000" dirty="0" err="1">
                <a:solidFill>
                  <a:schemeClr val="tx2"/>
                </a:solidFill>
              </a:rPr>
              <a:t>the</a:t>
            </a:r>
            <a:r>
              <a:rPr lang="nl-NL" sz="2000" dirty="0">
                <a:solidFill>
                  <a:schemeClr val="tx2"/>
                </a:solidFill>
              </a:rPr>
              <a:t> border.</a:t>
            </a:r>
          </a:p>
          <a:p>
            <a:endParaRPr lang="nl-NL" sz="2000" dirty="0">
              <a:solidFill>
                <a:schemeClr val="tx2"/>
              </a:solidFill>
            </a:endParaRPr>
          </a:p>
        </p:txBody>
      </p:sp>
    </p:spTree>
    <p:custDataLst>
      <p:tags r:id="rId1"/>
    </p:custDataLst>
    <p:extLst>
      <p:ext uri="{BB962C8B-B14F-4D97-AF65-F5344CB8AC3E}">
        <p14:creationId xmlns:p14="http://schemas.microsoft.com/office/powerpoint/2010/main" val="1392412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481327E-184F-4ED1-B3A0-E9CB448CC694}"/>
              </a:ext>
            </a:extLst>
          </p:cNvPr>
          <p:cNvSpPr>
            <a:spLocks noGrp="1"/>
          </p:cNvSpPr>
          <p:nvPr>
            <p:ph type="title"/>
          </p:nvPr>
        </p:nvSpPr>
        <p:spPr/>
        <p:txBody>
          <a:bodyPr/>
          <a:lstStyle/>
          <a:p>
            <a:r>
              <a:rPr lang="nl-NL" dirty="0"/>
              <a:t>TRANSPORT BY TRUCK: FAST &amp; </a:t>
            </a:r>
            <a:r>
              <a:rPr lang="nl-NL" dirty="0" err="1"/>
              <a:t>FLEXIBLe</a:t>
            </a:r>
            <a:br>
              <a:rPr lang="nl-NL" dirty="0"/>
            </a:br>
            <a:r>
              <a:rPr lang="nl-NL" b="0" dirty="0"/>
              <a:t>TOMTOM TRAFFIC INDEX 2018</a:t>
            </a:r>
            <a:br>
              <a:rPr lang="nl-NL" dirty="0">
                <a:latin typeface="Futura Std Medium" charset="0"/>
                <a:ea typeface="Futura Std Medium" charset="0"/>
                <a:cs typeface="Futura Std Medium" charset="0"/>
              </a:rPr>
            </a:br>
            <a:r>
              <a:rPr lang="nl-NL" b="0" dirty="0">
                <a:latin typeface="Futura Std Medium" charset="0"/>
                <a:ea typeface="Futura Std Medium" charset="0"/>
                <a:cs typeface="Futura Std Medium" charset="0"/>
              </a:rPr>
              <a:t> </a:t>
            </a:r>
            <a:br>
              <a:rPr lang="nl-NL" dirty="0">
                <a:latin typeface="Futura Std Medium" charset="0"/>
                <a:ea typeface="Futura Std Medium" charset="0"/>
                <a:cs typeface="Futura Std Medium" charset="0"/>
              </a:rPr>
            </a:br>
            <a:endParaRPr lang="nl-NL" sz="2400" dirty="0">
              <a:solidFill>
                <a:srgbClr val="001F4B"/>
              </a:solidFill>
            </a:endParaRPr>
          </a:p>
        </p:txBody>
      </p:sp>
      <p:pic>
        <p:nvPicPr>
          <p:cNvPr id="12" name="Afbeelding 11">
            <a:extLst>
              <a:ext uri="{FF2B5EF4-FFF2-40B4-BE49-F238E27FC236}">
                <a16:creationId xmlns:a16="http://schemas.microsoft.com/office/drawing/2014/main" id="{3EE2D3F1-31E0-492C-9DAF-84F14751FAB9}"/>
              </a:ext>
            </a:extLst>
          </p:cNvPr>
          <p:cNvPicPr>
            <a:picLocks noChangeAspect="1"/>
          </p:cNvPicPr>
          <p:nvPr/>
        </p:nvPicPr>
        <p:blipFill rotWithShape="1">
          <a:blip r:embed="rId4"/>
          <a:srcRect l="-1" t="2652" r="1393" b="2707"/>
          <a:stretch/>
        </p:blipFill>
        <p:spPr>
          <a:xfrm>
            <a:off x="7441781" y="1892876"/>
            <a:ext cx="3626875" cy="3717107"/>
          </a:xfrm>
          <a:prstGeom prst="rect">
            <a:avLst/>
          </a:prstGeom>
        </p:spPr>
      </p:pic>
      <p:sp>
        <p:nvSpPr>
          <p:cNvPr id="13" name="Rechthoek 12">
            <a:extLst>
              <a:ext uri="{FF2B5EF4-FFF2-40B4-BE49-F238E27FC236}">
                <a16:creationId xmlns:a16="http://schemas.microsoft.com/office/drawing/2014/main" id="{1B144603-D445-47BE-A227-69A3A705282E}"/>
              </a:ext>
            </a:extLst>
          </p:cNvPr>
          <p:cNvSpPr/>
          <p:nvPr/>
        </p:nvSpPr>
        <p:spPr>
          <a:xfrm>
            <a:off x="7334515" y="1492766"/>
            <a:ext cx="5952661" cy="400110"/>
          </a:xfrm>
          <a:prstGeom prst="rect">
            <a:avLst/>
          </a:prstGeom>
        </p:spPr>
        <p:txBody>
          <a:bodyPr wrap="square">
            <a:spAutoFit/>
          </a:bodyPr>
          <a:lstStyle/>
          <a:p>
            <a:r>
              <a:rPr lang="en-US" sz="2000" b="1" dirty="0">
                <a:solidFill>
                  <a:schemeClr val="tx2"/>
                </a:solidFill>
              </a:rPr>
              <a:t>Rotterdam scorecard</a:t>
            </a:r>
          </a:p>
        </p:txBody>
      </p:sp>
      <p:sp>
        <p:nvSpPr>
          <p:cNvPr id="3" name="Rechthoek 2">
            <a:extLst>
              <a:ext uri="{FF2B5EF4-FFF2-40B4-BE49-F238E27FC236}">
                <a16:creationId xmlns:a16="http://schemas.microsoft.com/office/drawing/2014/main" id="{FAD0BED2-C551-458C-99C7-2FC7537B4483}"/>
              </a:ext>
            </a:extLst>
          </p:cNvPr>
          <p:cNvSpPr/>
          <p:nvPr/>
        </p:nvSpPr>
        <p:spPr>
          <a:xfrm>
            <a:off x="5920254" y="5747163"/>
            <a:ext cx="6096000" cy="256545"/>
          </a:xfrm>
          <a:prstGeom prst="rect">
            <a:avLst/>
          </a:prstGeom>
        </p:spPr>
        <p:txBody>
          <a:bodyPr>
            <a:spAutoFit/>
          </a:bodyPr>
          <a:lstStyle/>
          <a:p>
            <a:pPr algn="r"/>
            <a:r>
              <a:rPr lang="en-US" sz="1067" dirty="0">
                <a:solidFill>
                  <a:schemeClr val="tx2"/>
                </a:solidFill>
              </a:rPr>
              <a:t>Source: </a:t>
            </a:r>
            <a:r>
              <a:rPr lang="nl-NL" sz="1067" dirty="0">
                <a:solidFill>
                  <a:schemeClr val="tx2"/>
                </a:solidFill>
              </a:rPr>
              <a:t>TomTom International BV </a:t>
            </a:r>
            <a:r>
              <a:rPr lang="en-US" sz="1067" dirty="0">
                <a:solidFill>
                  <a:schemeClr val="tx2"/>
                </a:solidFill>
              </a:rPr>
              <a:t> </a:t>
            </a:r>
          </a:p>
        </p:txBody>
      </p:sp>
      <p:sp>
        <p:nvSpPr>
          <p:cNvPr id="2" name="Tijdelijke aanduiding voor datum 1">
            <a:extLst>
              <a:ext uri="{FF2B5EF4-FFF2-40B4-BE49-F238E27FC236}">
                <a16:creationId xmlns:a16="http://schemas.microsoft.com/office/drawing/2014/main" id="{92B95DBA-A103-4A1E-85B7-8F92D107E2AB}"/>
              </a:ext>
            </a:extLst>
          </p:cNvPr>
          <p:cNvSpPr>
            <a:spLocks noGrp="1"/>
          </p:cNvSpPr>
          <p:nvPr>
            <p:ph type="dt" sz="half" idx="10"/>
          </p:nvPr>
        </p:nvSpPr>
        <p:spPr/>
        <p:txBody>
          <a:bodyPr/>
          <a:lstStyle/>
          <a:p>
            <a:fld id="{3EB090F4-0694-4EA7-9B1E-BB1D27218E6D}" type="datetime4">
              <a:rPr lang="en-GB" smtClean="0"/>
              <a:t>29 May 2020</a:t>
            </a:fld>
            <a:endParaRPr lang="en-GB" dirty="0"/>
          </a:p>
        </p:txBody>
      </p:sp>
      <p:sp>
        <p:nvSpPr>
          <p:cNvPr id="4" name="Tijdelijke aanduiding voor voettekst 3">
            <a:extLst>
              <a:ext uri="{FF2B5EF4-FFF2-40B4-BE49-F238E27FC236}">
                <a16:creationId xmlns:a16="http://schemas.microsoft.com/office/drawing/2014/main" id="{DE84D6CB-51EB-4C02-8B84-FCB965F03FF0}"/>
              </a:ext>
            </a:extLst>
          </p:cNvPr>
          <p:cNvSpPr>
            <a:spLocks noGrp="1"/>
          </p:cNvSpPr>
          <p:nvPr>
            <p:ph type="ftr" sz="quarter" idx="11"/>
          </p:nvPr>
        </p:nvSpPr>
        <p:spPr/>
        <p:txBody>
          <a:bodyPr/>
          <a:lstStyle/>
          <a:p>
            <a:r>
              <a:rPr lang="en-GB"/>
              <a:t>|</a:t>
            </a:r>
            <a:endParaRPr lang="en-GB" dirty="0"/>
          </a:p>
        </p:txBody>
      </p:sp>
      <p:sp>
        <p:nvSpPr>
          <p:cNvPr id="6" name="Tijdelijke aanduiding voor dianummer 5">
            <a:extLst>
              <a:ext uri="{FF2B5EF4-FFF2-40B4-BE49-F238E27FC236}">
                <a16:creationId xmlns:a16="http://schemas.microsoft.com/office/drawing/2014/main" id="{66B3A5AF-8402-40AC-A2BA-D88D9D6EB1E8}"/>
              </a:ext>
            </a:extLst>
          </p:cNvPr>
          <p:cNvSpPr>
            <a:spLocks noGrp="1"/>
          </p:cNvSpPr>
          <p:nvPr>
            <p:ph type="sldNum" sz="quarter" idx="12"/>
          </p:nvPr>
        </p:nvSpPr>
        <p:spPr/>
        <p:txBody>
          <a:bodyPr/>
          <a:lstStyle/>
          <a:p>
            <a:fld id="{534B5F9C-CFE5-4EC6-9BBB-664E2F56B033}" type="slidenum">
              <a:rPr lang="en-GB" smtClean="0"/>
              <a:t>47</a:t>
            </a:fld>
            <a:endParaRPr lang="en-GB" dirty="0"/>
          </a:p>
        </p:txBody>
      </p:sp>
      <p:sp>
        <p:nvSpPr>
          <p:cNvPr id="8" name="Tekstvak 7">
            <a:extLst>
              <a:ext uri="{FF2B5EF4-FFF2-40B4-BE49-F238E27FC236}">
                <a16:creationId xmlns:a16="http://schemas.microsoft.com/office/drawing/2014/main" id="{09AF6650-031D-4460-87CE-46FEE6B8BEBA}"/>
              </a:ext>
            </a:extLst>
          </p:cNvPr>
          <p:cNvSpPr txBox="1"/>
          <p:nvPr/>
        </p:nvSpPr>
        <p:spPr>
          <a:xfrm>
            <a:off x="513968" y="1655813"/>
            <a:ext cx="6224929" cy="2554545"/>
          </a:xfrm>
          <a:prstGeom prst="rect">
            <a:avLst/>
          </a:prstGeom>
          <a:noFill/>
        </p:spPr>
        <p:txBody>
          <a:bodyPr wrap="square" rtlCol="0">
            <a:spAutoFit/>
          </a:bodyPr>
          <a:lstStyle/>
          <a:p>
            <a:r>
              <a:rPr lang="nl-NL" sz="2000" dirty="0">
                <a:solidFill>
                  <a:schemeClr val="tx2"/>
                </a:solidFill>
                <a:latin typeface="+mj-lt"/>
              </a:rPr>
              <a:t>Road </a:t>
            </a:r>
            <a:r>
              <a:rPr lang="nl-NL" sz="2000" dirty="0" err="1">
                <a:solidFill>
                  <a:schemeClr val="tx2"/>
                </a:solidFill>
                <a:latin typeface="+mj-lt"/>
              </a:rPr>
              <a:t>congestion</a:t>
            </a:r>
            <a:r>
              <a:rPr lang="nl-NL" sz="2000" dirty="0">
                <a:solidFill>
                  <a:schemeClr val="tx2"/>
                </a:solidFill>
                <a:latin typeface="+mj-lt"/>
              </a:rPr>
              <a:t> in Rotterdam </a:t>
            </a:r>
            <a:r>
              <a:rPr lang="nl-NL" sz="2000" dirty="0" err="1">
                <a:solidFill>
                  <a:schemeClr val="tx2"/>
                </a:solidFill>
                <a:latin typeface="+mj-lt"/>
              </a:rPr>
              <a:t>decreases</a:t>
            </a:r>
            <a:endParaRPr lang="nl-NL" sz="2000" dirty="0">
              <a:solidFill>
                <a:schemeClr val="tx2"/>
              </a:solidFill>
              <a:latin typeface="+mj-lt"/>
            </a:endParaRPr>
          </a:p>
          <a:p>
            <a:r>
              <a:rPr lang="nl-NL" sz="2000" dirty="0">
                <a:solidFill>
                  <a:schemeClr val="tx2"/>
                </a:solidFill>
              </a:rPr>
              <a:t>The </a:t>
            </a:r>
            <a:r>
              <a:rPr lang="nl-NL" sz="2000" dirty="0" err="1">
                <a:solidFill>
                  <a:schemeClr val="tx2"/>
                </a:solidFill>
              </a:rPr>
              <a:t>degree</a:t>
            </a:r>
            <a:r>
              <a:rPr lang="nl-NL" sz="2000" dirty="0">
                <a:solidFill>
                  <a:schemeClr val="tx2"/>
                </a:solidFill>
              </a:rPr>
              <a:t> of </a:t>
            </a:r>
            <a:r>
              <a:rPr lang="nl-NL" sz="2000" dirty="0" err="1">
                <a:solidFill>
                  <a:schemeClr val="tx2"/>
                </a:solidFill>
              </a:rPr>
              <a:t>road</a:t>
            </a:r>
            <a:r>
              <a:rPr lang="nl-NL" sz="2000" dirty="0">
                <a:solidFill>
                  <a:schemeClr val="tx2"/>
                </a:solidFill>
              </a:rPr>
              <a:t> </a:t>
            </a:r>
            <a:r>
              <a:rPr lang="nl-NL" sz="2000" dirty="0" err="1">
                <a:solidFill>
                  <a:schemeClr val="tx2"/>
                </a:solidFill>
              </a:rPr>
              <a:t>congestion</a:t>
            </a:r>
            <a:r>
              <a:rPr lang="nl-NL" sz="2000" dirty="0">
                <a:solidFill>
                  <a:schemeClr val="tx2"/>
                </a:solidFill>
              </a:rPr>
              <a:t> in </a:t>
            </a:r>
            <a:r>
              <a:rPr lang="nl-NL" sz="2000" dirty="0" err="1">
                <a:solidFill>
                  <a:schemeClr val="tx2"/>
                </a:solidFill>
              </a:rPr>
              <a:t>the</a:t>
            </a:r>
            <a:r>
              <a:rPr lang="nl-NL" sz="2000" dirty="0">
                <a:solidFill>
                  <a:schemeClr val="tx2"/>
                </a:solidFill>
              </a:rPr>
              <a:t> port of Rotterdam has been </a:t>
            </a:r>
            <a:r>
              <a:rPr lang="nl-NL" sz="2000" dirty="0" err="1">
                <a:solidFill>
                  <a:schemeClr val="tx2"/>
                </a:solidFill>
              </a:rPr>
              <a:t>falling</a:t>
            </a:r>
            <a:r>
              <a:rPr lang="nl-NL" sz="2000" dirty="0">
                <a:solidFill>
                  <a:schemeClr val="tx2"/>
                </a:solidFill>
              </a:rPr>
              <a:t> </a:t>
            </a:r>
            <a:r>
              <a:rPr lang="nl-NL" sz="2000" dirty="0" err="1">
                <a:solidFill>
                  <a:schemeClr val="tx2"/>
                </a:solidFill>
              </a:rPr>
              <a:t>for</a:t>
            </a:r>
            <a:r>
              <a:rPr lang="nl-NL" sz="2000" dirty="0">
                <a:solidFill>
                  <a:schemeClr val="tx2"/>
                </a:solidFill>
              </a:rPr>
              <a:t> </a:t>
            </a:r>
            <a:r>
              <a:rPr lang="nl-NL" sz="2000" dirty="0" err="1">
                <a:solidFill>
                  <a:schemeClr val="tx2"/>
                </a:solidFill>
              </a:rPr>
              <a:t>years</a:t>
            </a:r>
            <a:r>
              <a:rPr lang="nl-NL" sz="2000" dirty="0">
                <a:solidFill>
                  <a:schemeClr val="tx2"/>
                </a:solidFill>
              </a:rPr>
              <a:t>, </a:t>
            </a:r>
            <a:r>
              <a:rPr lang="nl-NL" sz="2000" dirty="0" err="1">
                <a:solidFill>
                  <a:schemeClr val="tx2"/>
                </a:solidFill>
              </a:rPr>
              <a:t>partly</a:t>
            </a:r>
            <a:r>
              <a:rPr lang="nl-NL" sz="2000" dirty="0">
                <a:solidFill>
                  <a:schemeClr val="tx2"/>
                </a:solidFill>
              </a:rPr>
              <a:t> as a </a:t>
            </a:r>
            <a:r>
              <a:rPr lang="nl-NL" sz="2000" dirty="0" err="1">
                <a:solidFill>
                  <a:schemeClr val="tx2"/>
                </a:solidFill>
              </a:rPr>
              <a:t>result</a:t>
            </a:r>
            <a:r>
              <a:rPr lang="nl-NL" sz="2000" dirty="0">
                <a:solidFill>
                  <a:schemeClr val="tx2"/>
                </a:solidFill>
              </a:rPr>
              <a:t> of </a:t>
            </a:r>
            <a:r>
              <a:rPr lang="nl-NL" sz="2000" dirty="0" err="1">
                <a:solidFill>
                  <a:schemeClr val="tx2"/>
                </a:solidFill>
              </a:rPr>
              <a:t>the</a:t>
            </a:r>
            <a:r>
              <a:rPr lang="nl-NL" sz="2000" dirty="0">
                <a:solidFill>
                  <a:schemeClr val="tx2"/>
                </a:solidFill>
              </a:rPr>
              <a:t> </a:t>
            </a:r>
            <a:r>
              <a:rPr lang="nl-NL" sz="2000" dirty="0" err="1">
                <a:solidFill>
                  <a:schemeClr val="tx2"/>
                </a:solidFill>
              </a:rPr>
              <a:t>investments</a:t>
            </a:r>
            <a:r>
              <a:rPr lang="nl-NL" sz="2000" dirty="0">
                <a:solidFill>
                  <a:schemeClr val="tx2"/>
                </a:solidFill>
              </a:rPr>
              <a:t> in </a:t>
            </a:r>
            <a:r>
              <a:rPr lang="nl-NL" sz="2000" dirty="0" err="1">
                <a:solidFill>
                  <a:schemeClr val="tx2"/>
                </a:solidFill>
              </a:rPr>
              <a:t>infrastructure</a:t>
            </a:r>
            <a:r>
              <a:rPr lang="nl-NL" sz="2000" dirty="0">
                <a:solidFill>
                  <a:schemeClr val="tx2"/>
                </a:solidFill>
              </a:rPr>
              <a:t>. </a:t>
            </a:r>
          </a:p>
          <a:p>
            <a:endParaRPr lang="nl-NL" sz="2000" dirty="0">
              <a:solidFill>
                <a:schemeClr val="tx2"/>
              </a:solidFill>
            </a:endParaRPr>
          </a:p>
          <a:p>
            <a:r>
              <a:rPr lang="nl-NL" sz="2000" dirty="0">
                <a:solidFill>
                  <a:schemeClr val="tx2"/>
                </a:solidFill>
              </a:rPr>
              <a:t>At </a:t>
            </a:r>
            <a:r>
              <a:rPr lang="nl-NL" sz="2000" dirty="0" err="1">
                <a:solidFill>
                  <a:schemeClr val="tx2"/>
                </a:solidFill>
              </a:rPr>
              <a:t>the</a:t>
            </a:r>
            <a:r>
              <a:rPr lang="nl-NL" sz="2000" dirty="0">
                <a:solidFill>
                  <a:schemeClr val="tx2"/>
                </a:solidFill>
              </a:rPr>
              <a:t> </a:t>
            </a:r>
            <a:r>
              <a:rPr lang="nl-NL" sz="2000" dirty="0" err="1">
                <a:solidFill>
                  <a:schemeClr val="tx2"/>
                </a:solidFill>
              </a:rPr>
              <a:t>same</a:t>
            </a:r>
            <a:r>
              <a:rPr lang="nl-NL" sz="2000" dirty="0">
                <a:solidFill>
                  <a:schemeClr val="tx2"/>
                </a:solidFill>
              </a:rPr>
              <a:t> time, </a:t>
            </a:r>
            <a:r>
              <a:rPr lang="nl-NL" sz="2000" dirty="0" err="1">
                <a:solidFill>
                  <a:schemeClr val="tx2"/>
                </a:solidFill>
              </a:rPr>
              <a:t>the</a:t>
            </a:r>
            <a:r>
              <a:rPr lang="nl-NL" sz="2000" dirty="0">
                <a:solidFill>
                  <a:schemeClr val="tx2"/>
                </a:solidFill>
              </a:rPr>
              <a:t> </a:t>
            </a:r>
            <a:r>
              <a:rPr lang="nl-NL" sz="2000" dirty="0" err="1">
                <a:solidFill>
                  <a:schemeClr val="tx2"/>
                </a:solidFill>
              </a:rPr>
              <a:t>additional</a:t>
            </a:r>
            <a:r>
              <a:rPr lang="nl-NL" sz="2000" dirty="0">
                <a:solidFill>
                  <a:schemeClr val="tx2"/>
                </a:solidFill>
              </a:rPr>
              <a:t> transport time in </a:t>
            </a:r>
            <a:r>
              <a:rPr lang="nl-NL" sz="2000" dirty="0" err="1">
                <a:solidFill>
                  <a:schemeClr val="tx2"/>
                </a:solidFill>
              </a:rPr>
              <a:t>rival</a:t>
            </a:r>
            <a:r>
              <a:rPr lang="nl-NL" sz="2000" dirty="0">
                <a:solidFill>
                  <a:schemeClr val="tx2"/>
                </a:solidFill>
              </a:rPr>
              <a:t> </a:t>
            </a:r>
            <a:r>
              <a:rPr lang="nl-NL" sz="2000" dirty="0" err="1">
                <a:solidFill>
                  <a:schemeClr val="tx2"/>
                </a:solidFill>
              </a:rPr>
              <a:t>ports</a:t>
            </a:r>
            <a:r>
              <a:rPr lang="nl-NL" sz="2000" dirty="0">
                <a:solidFill>
                  <a:schemeClr val="tx2"/>
                </a:solidFill>
              </a:rPr>
              <a:t> </a:t>
            </a:r>
            <a:r>
              <a:rPr lang="nl-NL" sz="2000" dirty="0" err="1">
                <a:solidFill>
                  <a:schemeClr val="tx2"/>
                </a:solidFill>
              </a:rPr>
              <a:t>regions</a:t>
            </a:r>
            <a:r>
              <a:rPr lang="nl-NL" sz="2000" dirty="0">
                <a:solidFill>
                  <a:schemeClr val="tx2"/>
                </a:solidFill>
              </a:rPr>
              <a:t>  has been </a:t>
            </a:r>
            <a:r>
              <a:rPr lang="nl-NL" sz="2000" dirty="0" err="1">
                <a:solidFill>
                  <a:schemeClr val="tx2"/>
                </a:solidFill>
              </a:rPr>
              <a:t>fluctuating</a:t>
            </a:r>
            <a:r>
              <a:rPr lang="nl-NL" sz="2000" dirty="0">
                <a:solidFill>
                  <a:schemeClr val="tx2"/>
                </a:solidFill>
              </a:rPr>
              <a:t>, </a:t>
            </a:r>
            <a:r>
              <a:rPr lang="nl-NL" sz="2000" dirty="0" err="1">
                <a:solidFill>
                  <a:schemeClr val="tx2"/>
                </a:solidFill>
              </a:rPr>
              <a:t>with</a:t>
            </a:r>
            <a:r>
              <a:rPr lang="nl-NL" sz="2000" dirty="0">
                <a:solidFill>
                  <a:schemeClr val="tx2"/>
                </a:solidFill>
              </a:rPr>
              <a:t> no permanent </a:t>
            </a:r>
            <a:r>
              <a:rPr lang="nl-NL" sz="2000" dirty="0" err="1">
                <a:solidFill>
                  <a:schemeClr val="tx2"/>
                </a:solidFill>
              </a:rPr>
              <a:t>downward</a:t>
            </a:r>
            <a:r>
              <a:rPr lang="nl-NL" sz="2000" dirty="0">
                <a:solidFill>
                  <a:schemeClr val="tx2"/>
                </a:solidFill>
              </a:rPr>
              <a:t> trend.</a:t>
            </a:r>
          </a:p>
        </p:txBody>
      </p:sp>
    </p:spTree>
    <p:custDataLst>
      <p:tags r:id="rId1"/>
    </p:custDataLst>
    <p:extLst>
      <p:ext uri="{BB962C8B-B14F-4D97-AF65-F5344CB8AC3E}">
        <p14:creationId xmlns:p14="http://schemas.microsoft.com/office/powerpoint/2010/main" val="2846868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72E1653D-3E73-4113-A717-7DFD3636E712}"/>
              </a:ext>
            </a:extLst>
          </p:cNvPr>
          <p:cNvSpPr>
            <a:spLocks noGrp="1"/>
          </p:cNvSpPr>
          <p:nvPr>
            <p:ph type="title"/>
          </p:nvPr>
        </p:nvSpPr>
        <p:spPr/>
        <p:txBody>
          <a:bodyPr/>
          <a:lstStyle/>
          <a:p>
            <a:endParaRPr lang="nl-NL"/>
          </a:p>
        </p:txBody>
      </p:sp>
      <p:sp>
        <p:nvSpPr>
          <p:cNvPr id="4" name="Tijdelijke aanduiding voor datum 3">
            <a:extLst>
              <a:ext uri="{FF2B5EF4-FFF2-40B4-BE49-F238E27FC236}">
                <a16:creationId xmlns:a16="http://schemas.microsoft.com/office/drawing/2014/main" id="{D3EA7937-40C3-495A-9B87-64AB01A8FF64}"/>
              </a:ext>
            </a:extLst>
          </p:cNvPr>
          <p:cNvSpPr>
            <a:spLocks noGrp="1"/>
          </p:cNvSpPr>
          <p:nvPr>
            <p:ph type="dt" sz="half" idx="10"/>
          </p:nvPr>
        </p:nvSpPr>
        <p:spPr/>
        <p:txBody>
          <a:bodyPr/>
          <a:lstStyle/>
          <a:p>
            <a:fld id="{4204A1D8-3A57-4BFC-B6AF-3693C86DE930}" type="datetime4">
              <a:rPr lang="nl-NL" smtClean="0"/>
              <a:t>29 mei 2020</a:t>
            </a:fld>
            <a:endParaRPr lang="en-GB" dirty="0"/>
          </a:p>
        </p:txBody>
      </p:sp>
      <p:sp>
        <p:nvSpPr>
          <p:cNvPr id="5" name="Tijdelijke aanduiding voor voettekst 4">
            <a:extLst>
              <a:ext uri="{FF2B5EF4-FFF2-40B4-BE49-F238E27FC236}">
                <a16:creationId xmlns:a16="http://schemas.microsoft.com/office/drawing/2014/main" id="{5DE929A9-827A-40D0-A26D-2DB7A0B5BF91}"/>
              </a:ext>
            </a:extLst>
          </p:cNvPr>
          <p:cNvSpPr>
            <a:spLocks noGrp="1"/>
          </p:cNvSpPr>
          <p:nvPr>
            <p:ph type="ftr" sz="quarter" idx="11"/>
          </p:nvPr>
        </p:nvSpPr>
        <p:spPr/>
        <p:txBody>
          <a:bodyPr/>
          <a:lstStyle/>
          <a:p>
            <a:r>
              <a:rPr lang="en-GB"/>
              <a:t>|</a:t>
            </a:r>
            <a:endParaRPr lang="en-GB" dirty="0"/>
          </a:p>
        </p:txBody>
      </p:sp>
      <p:sp>
        <p:nvSpPr>
          <p:cNvPr id="6" name="Tijdelijke aanduiding voor dianummer 5">
            <a:extLst>
              <a:ext uri="{FF2B5EF4-FFF2-40B4-BE49-F238E27FC236}">
                <a16:creationId xmlns:a16="http://schemas.microsoft.com/office/drawing/2014/main" id="{2985E4C5-1904-46E7-8852-C5F75FE6A532}"/>
              </a:ext>
            </a:extLst>
          </p:cNvPr>
          <p:cNvSpPr>
            <a:spLocks noGrp="1"/>
          </p:cNvSpPr>
          <p:nvPr>
            <p:ph type="sldNum" sz="quarter" idx="12"/>
          </p:nvPr>
        </p:nvSpPr>
        <p:spPr/>
        <p:txBody>
          <a:bodyPr/>
          <a:lstStyle/>
          <a:p>
            <a:fld id="{534B5F9C-CFE5-4EC6-9BBB-664E2F56B033}" type="slidenum">
              <a:rPr lang="en-GB" smtClean="0"/>
              <a:t>5</a:t>
            </a:fld>
            <a:endParaRPr lang="en-GB" dirty="0"/>
          </a:p>
        </p:txBody>
      </p:sp>
      <p:pic>
        <p:nvPicPr>
          <p:cNvPr id="9" name="Tijdelijke aanduiding voor afbeelding 8">
            <a:extLst>
              <a:ext uri="{FF2B5EF4-FFF2-40B4-BE49-F238E27FC236}">
                <a16:creationId xmlns:a16="http://schemas.microsoft.com/office/drawing/2014/main" id="{81B6FA25-8D0B-449D-8FD3-9F20BCD0F22D}"/>
              </a:ext>
            </a:extLst>
          </p:cNvPr>
          <p:cNvPicPr>
            <a:picLocks noGrp="1" noChangeAspect="1"/>
          </p:cNvPicPr>
          <p:nvPr>
            <p:ph type="pic" idx="13"/>
          </p:nvPr>
        </p:nvPicPr>
        <p:blipFill>
          <a:blip r:embed="rId2"/>
          <a:srcRect l="75" r="75"/>
          <a:stretch>
            <a:fillRect/>
          </a:stretch>
        </p:blipFill>
        <p:spPr>
          <a:xfrm>
            <a:off x="1587" y="0"/>
            <a:ext cx="12192000" cy="5989638"/>
          </a:xfrm>
          <a:prstGeom prst="rect">
            <a:avLst/>
          </a:prstGeom>
        </p:spPr>
      </p:pic>
    </p:spTree>
    <p:extLst>
      <p:ext uri="{BB962C8B-B14F-4D97-AF65-F5344CB8AC3E}">
        <p14:creationId xmlns:p14="http://schemas.microsoft.com/office/powerpoint/2010/main" val="2090013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Tijdelijke aanduiding voor afbeelding 11">
            <a:extLst>
              <a:ext uri="{FF2B5EF4-FFF2-40B4-BE49-F238E27FC236}">
                <a16:creationId xmlns:a16="http://schemas.microsoft.com/office/drawing/2014/main" id="{ED9A401E-9E14-4FB0-B8B4-9187AA13316A}"/>
              </a:ext>
            </a:extLst>
          </p:cNvPr>
          <p:cNvPicPr>
            <a:picLocks noGrp="1" noChangeAspect="1"/>
          </p:cNvPicPr>
          <p:nvPr>
            <p:ph type="pic" idx="13"/>
          </p:nvPr>
        </p:nvPicPr>
        <p:blipFill>
          <a:blip r:embed="rId3" cstate="print">
            <a:extLst>
              <a:ext uri="{28A0092B-C50C-407E-A947-70E740481C1C}">
                <a14:useLocalDpi xmlns:a14="http://schemas.microsoft.com/office/drawing/2010/main" val="0"/>
              </a:ext>
            </a:extLst>
          </a:blip>
          <a:srcRect t="44" b="44"/>
          <a:stretch>
            <a:fillRect/>
          </a:stretch>
        </p:blipFill>
        <p:spPr/>
      </p:pic>
      <p:sp>
        <p:nvSpPr>
          <p:cNvPr id="8" name="Titel 7">
            <a:extLst>
              <a:ext uri="{FF2B5EF4-FFF2-40B4-BE49-F238E27FC236}">
                <a16:creationId xmlns:a16="http://schemas.microsoft.com/office/drawing/2014/main" id="{C5A71CBA-64DD-4E6F-8018-ED6137D3A83C}"/>
              </a:ext>
            </a:extLst>
          </p:cNvPr>
          <p:cNvSpPr>
            <a:spLocks noGrp="1"/>
          </p:cNvSpPr>
          <p:nvPr>
            <p:ph type="title"/>
          </p:nvPr>
        </p:nvSpPr>
        <p:spPr/>
        <p:txBody>
          <a:bodyPr/>
          <a:lstStyle/>
          <a:p>
            <a:r>
              <a:rPr lang="nl-NL" dirty="0"/>
              <a:t>GATEWAY TO EUROPE </a:t>
            </a:r>
            <a:br>
              <a:rPr lang="nl-NL" dirty="0"/>
            </a:br>
            <a:r>
              <a:rPr lang="nl-NL" dirty="0"/>
              <a:t>&amp; GLOBAL CARGO HUB</a:t>
            </a:r>
          </a:p>
        </p:txBody>
      </p:sp>
      <p:sp>
        <p:nvSpPr>
          <p:cNvPr id="10" name="Tijdelijke aanduiding voor SmartArt 9">
            <a:extLst>
              <a:ext uri="{FF2B5EF4-FFF2-40B4-BE49-F238E27FC236}">
                <a16:creationId xmlns:a16="http://schemas.microsoft.com/office/drawing/2014/main" id="{0EAF60F6-83B5-4592-95BB-545AD16436BD}"/>
              </a:ext>
            </a:extLst>
          </p:cNvPr>
          <p:cNvSpPr>
            <a:spLocks noGrp="1"/>
          </p:cNvSpPr>
          <p:nvPr>
            <p:ph type="dgm" sz="quarter" idx="14"/>
          </p:nvPr>
        </p:nvSpPr>
        <p:spPr/>
      </p:sp>
      <p:sp>
        <p:nvSpPr>
          <p:cNvPr id="2" name="Tijdelijke aanduiding voor datum 1">
            <a:extLst>
              <a:ext uri="{FF2B5EF4-FFF2-40B4-BE49-F238E27FC236}">
                <a16:creationId xmlns:a16="http://schemas.microsoft.com/office/drawing/2014/main" id="{DB7BE8E9-B729-48BB-9FC7-2602ADBA1941}"/>
              </a:ext>
            </a:extLst>
          </p:cNvPr>
          <p:cNvSpPr>
            <a:spLocks noGrp="1"/>
          </p:cNvSpPr>
          <p:nvPr>
            <p:ph type="dt" sz="half" idx="10"/>
          </p:nvPr>
        </p:nvSpPr>
        <p:spPr/>
        <p:txBody>
          <a:bodyPr/>
          <a:lstStyle/>
          <a:p>
            <a:fld id="{39A62961-6C79-43F2-AA78-78838C00A0ED}" type="datetime4">
              <a:rPr lang="en-GB" smtClean="0"/>
              <a:t>29 May 2020</a:t>
            </a:fld>
            <a:endParaRPr lang="en-GB"/>
          </a:p>
        </p:txBody>
      </p:sp>
      <p:sp>
        <p:nvSpPr>
          <p:cNvPr id="3" name="Tijdelijke aanduiding voor voettekst 2">
            <a:extLst>
              <a:ext uri="{FF2B5EF4-FFF2-40B4-BE49-F238E27FC236}">
                <a16:creationId xmlns:a16="http://schemas.microsoft.com/office/drawing/2014/main" id="{E27BFBCA-BB15-44A9-BF48-1BC9DC032744}"/>
              </a:ext>
            </a:extLst>
          </p:cNvPr>
          <p:cNvSpPr>
            <a:spLocks noGrp="1"/>
          </p:cNvSpPr>
          <p:nvPr>
            <p:ph type="ftr" sz="quarter" idx="11"/>
          </p:nvPr>
        </p:nvSpPr>
        <p:spPr/>
        <p:txBody>
          <a:bodyPr/>
          <a:lstStyle/>
          <a:p>
            <a:r>
              <a:rPr lang="en-GB"/>
              <a:t>|</a:t>
            </a:r>
          </a:p>
        </p:txBody>
      </p:sp>
      <p:sp>
        <p:nvSpPr>
          <p:cNvPr id="4" name="Tijdelijke aanduiding voor dianummer 3">
            <a:extLst>
              <a:ext uri="{FF2B5EF4-FFF2-40B4-BE49-F238E27FC236}">
                <a16:creationId xmlns:a16="http://schemas.microsoft.com/office/drawing/2014/main" id="{03B4B908-73D2-40E5-8907-AEA315BBCCDA}"/>
              </a:ext>
            </a:extLst>
          </p:cNvPr>
          <p:cNvSpPr>
            <a:spLocks noGrp="1"/>
          </p:cNvSpPr>
          <p:nvPr>
            <p:ph type="sldNum" sz="quarter" idx="12"/>
          </p:nvPr>
        </p:nvSpPr>
        <p:spPr/>
        <p:txBody>
          <a:bodyPr/>
          <a:lstStyle/>
          <a:p>
            <a:fld id="{534B5F9C-CFE5-4EC6-9BBB-664E2F56B033}" type="slidenum">
              <a:rPr lang="en-GB" smtClean="0"/>
              <a:pPr/>
              <a:t>6</a:t>
            </a:fld>
            <a:endParaRPr lang="en-GB" dirty="0"/>
          </a:p>
        </p:txBody>
      </p:sp>
    </p:spTree>
    <p:custDataLst>
      <p:tags r:id="rId1"/>
    </p:custDataLst>
    <p:extLst>
      <p:ext uri="{BB962C8B-B14F-4D97-AF65-F5344CB8AC3E}">
        <p14:creationId xmlns:p14="http://schemas.microsoft.com/office/powerpoint/2010/main" val="2401187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Tijdelijke aanduiding voor afbeelding 6">
            <a:extLst>
              <a:ext uri="{FF2B5EF4-FFF2-40B4-BE49-F238E27FC236}">
                <a16:creationId xmlns:a16="http://schemas.microsoft.com/office/drawing/2014/main" id="{944286E7-53AF-4320-AEF7-32AB4429D5E5}"/>
              </a:ext>
            </a:extLst>
          </p:cNvPr>
          <p:cNvPicPr>
            <a:picLocks noGrp="1" noChangeAspect="1"/>
          </p:cNvPicPr>
          <p:nvPr>
            <p:ph type="pic" idx="13"/>
          </p:nvPr>
        </p:nvPicPr>
        <p:blipFill>
          <a:blip r:embed="rId4">
            <a:extLst>
              <a:ext uri="{28A0092B-C50C-407E-A947-70E740481C1C}">
                <a14:useLocalDpi xmlns:a14="http://schemas.microsoft.com/office/drawing/2010/main" val="0"/>
              </a:ext>
            </a:extLst>
          </a:blip>
          <a:srcRect t="22" b="22"/>
          <a:stretch>
            <a:fillRect/>
          </a:stretch>
        </p:blipFill>
        <p:spPr>
          <a:xfrm>
            <a:off x="-2498" y="0"/>
            <a:ext cx="12197673" cy="6858224"/>
          </a:xfrm>
        </p:spPr>
      </p:pic>
      <p:sp>
        <p:nvSpPr>
          <p:cNvPr id="3" name="Titel 2">
            <a:extLst>
              <a:ext uri="{FF2B5EF4-FFF2-40B4-BE49-F238E27FC236}">
                <a16:creationId xmlns:a16="http://schemas.microsoft.com/office/drawing/2014/main" id="{F5D73F7E-0950-4397-A5E1-FA14B8DBF205}"/>
              </a:ext>
            </a:extLst>
          </p:cNvPr>
          <p:cNvSpPr>
            <a:spLocks noGrp="1"/>
          </p:cNvSpPr>
          <p:nvPr>
            <p:ph type="title"/>
          </p:nvPr>
        </p:nvSpPr>
        <p:spPr/>
        <p:txBody>
          <a:bodyPr/>
          <a:lstStyle/>
          <a:p>
            <a:r>
              <a:rPr lang="nl-NL" dirty="0"/>
              <a:t>EXTENSIVE WORLD WIDE </a:t>
            </a:r>
            <a:br>
              <a:rPr lang="nl-NL" dirty="0"/>
            </a:br>
            <a:r>
              <a:rPr lang="nl-NL" dirty="0"/>
              <a:t>DEEP SEA NETWORK – DIRECT SERVICES</a:t>
            </a:r>
            <a:br>
              <a:rPr lang="nl-NL" dirty="0"/>
            </a:br>
            <a:endParaRPr lang="nl-NL" dirty="0"/>
          </a:p>
        </p:txBody>
      </p:sp>
      <p:sp>
        <p:nvSpPr>
          <p:cNvPr id="5" name="Tijdelijke aanduiding voor SmartArt 4">
            <a:extLst>
              <a:ext uri="{FF2B5EF4-FFF2-40B4-BE49-F238E27FC236}">
                <a16:creationId xmlns:a16="http://schemas.microsoft.com/office/drawing/2014/main" id="{D6F643B1-7E4E-4E24-8CDD-3280AFEC4A91}"/>
              </a:ext>
            </a:extLst>
          </p:cNvPr>
          <p:cNvSpPr>
            <a:spLocks noGrp="1"/>
          </p:cNvSpPr>
          <p:nvPr>
            <p:ph type="dgm" sz="quarter" idx="14"/>
          </p:nvPr>
        </p:nvSpPr>
        <p:spPr/>
      </p:sp>
      <p:sp>
        <p:nvSpPr>
          <p:cNvPr id="2" name="Tijdelijke aanduiding voor datum 1">
            <a:extLst>
              <a:ext uri="{FF2B5EF4-FFF2-40B4-BE49-F238E27FC236}">
                <a16:creationId xmlns:a16="http://schemas.microsoft.com/office/drawing/2014/main" id="{1AE1E2B9-0E2F-4CA8-841A-3D75A6FB1200}"/>
              </a:ext>
            </a:extLst>
          </p:cNvPr>
          <p:cNvSpPr>
            <a:spLocks noGrp="1"/>
          </p:cNvSpPr>
          <p:nvPr>
            <p:ph type="dt" sz="half" idx="10"/>
          </p:nvPr>
        </p:nvSpPr>
        <p:spPr/>
        <p:txBody>
          <a:bodyPr/>
          <a:lstStyle/>
          <a:p>
            <a:fld id="{263D4865-6A72-4A87-97AF-860089761802}" type="datetime4">
              <a:rPr lang="en-GB" smtClean="0"/>
              <a:t>29 May 2020</a:t>
            </a:fld>
            <a:endParaRPr lang="en-GB"/>
          </a:p>
        </p:txBody>
      </p:sp>
      <p:sp>
        <p:nvSpPr>
          <p:cNvPr id="4" name="Tijdelijke aanduiding voor voettekst 3">
            <a:extLst>
              <a:ext uri="{FF2B5EF4-FFF2-40B4-BE49-F238E27FC236}">
                <a16:creationId xmlns:a16="http://schemas.microsoft.com/office/drawing/2014/main" id="{CE821CA5-9A02-4869-A050-EBAE4DDEE944}"/>
              </a:ext>
            </a:extLst>
          </p:cNvPr>
          <p:cNvSpPr>
            <a:spLocks noGrp="1"/>
          </p:cNvSpPr>
          <p:nvPr>
            <p:ph type="ftr" sz="quarter" idx="11"/>
          </p:nvPr>
        </p:nvSpPr>
        <p:spPr/>
        <p:txBody>
          <a:bodyPr/>
          <a:lstStyle/>
          <a:p>
            <a:r>
              <a:rPr lang="en-GB"/>
              <a:t>|</a:t>
            </a:r>
          </a:p>
        </p:txBody>
      </p:sp>
      <p:sp>
        <p:nvSpPr>
          <p:cNvPr id="6" name="Tijdelijke aanduiding voor dianummer 5">
            <a:extLst>
              <a:ext uri="{FF2B5EF4-FFF2-40B4-BE49-F238E27FC236}">
                <a16:creationId xmlns:a16="http://schemas.microsoft.com/office/drawing/2014/main" id="{57A405BA-D38D-4120-8B0C-D4DCB7A32C7C}"/>
              </a:ext>
            </a:extLst>
          </p:cNvPr>
          <p:cNvSpPr>
            <a:spLocks noGrp="1"/>
          </p:cNvSpPr>
          <p:nvPr>
            <p:ph type="sldNum" sz="quarter" idx="12"/>
          </p:nvPr>
        </p:nvSpPr>
        <p:spPr/>
        <p:txBody>
          <a:bodyPr/>
          <a:lstStyle/>
          <a:p>
            <a:fld id="{534B5F9C-CFE5-4EC6-9BBB-664E2F56B033}" type="slidenum">
              <a:rPr lang="en-GB" smtClean="0"/>
              <a:t>7</a:t>
            </a:fld>
            <a:endParaRPr lang="en-GB"/>
          </a:p>
        </p:txBody>
      </p:sp>
      <p:sp>
        <p:nvSpPr>
          <p:cNvPr id="8" name="Rechthoek 8">
            <a:extLst>
              <a:ext uri="{FF2B5EF4-FFF2-40B4-BE49-F238E27FC236}">
                <a16:creationId xmlns:a16="http://schemas.microsoft.com/office/drawing/2014/main" id="{946F19BE-4AB9-426B-8973-2AA081E5E3E2}"/>
              </a:ext>
            </a:extLst>
          </p:cNvPr>
          <p:cNvSpPr/>
          <p:nvPr/>
        </p:nvSpPr>
        <p:spPr>
          <a:xfrm>
            <a:off x="471600" y="3537950"/>
            <a:ext cx="2839449" cy="13348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3" tIns="60952" rIns="121903" bIns="60952" rtlCol="0" anchor="ctr"/>
          <a:lstStyle/>
          <a:p>
            <a:pPr algn="ctr"/>
            <a:r>
              <a:rPr lang="nl-NL" sz="2000" b="1" dirty="0">
                <a:solidFill>
                  <a:schemeClr val="tx2"/>
                </a:solidFill>
                <a:latin typeface="+mj-lt"/>
              </a:rPr>
              <a:t>100 DIRECT</a:t>
            </a:r>
          </a:p>
          <a:p>
            <a:pPr algn="ctr"/>
            <a:r>
              <a:rPr lang="nl-NL" sz="2000" b="1" dirty="0">
                <a:solidFill>
                  <a:schemeClr val="tx2"/>
                </a:solidFill>
                <a:latin typeface="+mj-lt"/>
              </a:rPr>
              <a:t>DEEPSEA SERVICES </a:t>
            </a:r>
          </a:p>
          <a:p>
            <a:pPr algn="ctr"/>
            <a:r>
              <a:rPr lang="nl-NL" sz="2000" b="1" dirty="0">
                <a:solidFill>
                  <a:schemeClr val="tx2"/>
                </a:solidFill>
                <a:latin typeface="+mj-lt"/>
              </a:rPr>
              <a:t>TO &gt; 200 PORTS</a:t>
            </a:r>
          </a:p>
        </p:txBody>
      </p:sp>
    </p:spTree>
    <p:custDataLst>
      <p:tags r:id="rId1"/>
    </p:custDataLst>
    <p:extLst>
      <p:ext uri="{BB962C8B-B14F-4D97-AF65-F5344CB8AC3E}">
        <p14:creationId xmlns:p14="http://schemas.microsoft.com/office/powerpoint/2010/main" val="816095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UROPE’S PREFERRED </a:t>
            </a:r>
            <a:br>
              <a:rPr lang="en-US" dirty="0"/>
            </a:br>
            <a:r>
              <a:rPr lang="en-US" dirty="0"/>
              <a:t>TRANSHIPMENT HUB</a:t>
            </a:r>
          </a:p>
        </p:txBody>
      </p:sp>
      <p:pic>
        <p:nvPicPr>
          <p:cNvPr id="9" name="Picture 8"/>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424894" y="1908356"/>
            <a:ext cx="5055440" cy="3263513"/>
          </a:xfrm>
          <a:prstGeom prst="rect">
            <a:avLst/>
          </a:prstGeom>
        </p:spPr>
      </p:pic>
      <p:sp>
        <p:nvSpPr>
          <p:cNvPr id="18" name="Tijdelijke aanduiding voor verticale tekst 3"/>
          <p:cNvSpPr txBox="1">
            <a:spLocks/>
          </p:cNvSpPr>
          <p:nvPr/>
        </p:nvSpPr>
        <p:spPr>
          <a:xfrm>
            <a:off x="528564" y="5804807"/>
            <a:ext cx="8764937" cy="395714"/>
          </a:xfrm>
          <a:prstGeom prst="rect">
            <a:avLst/>
          </a:prstGeom>
        </p:spPr>
        <p:txBody>
          <a:bodyPr>
            <a:normAutofit/>
          </a:bodyPr>
          <a:lstStyle>
            <a:lvl1pPr marL="0" indent="0" algn="l" defTabSz="685622" rtl="0" eaLnBrk="1" latinLnBrk="0" hangingPunct="1">
              <a:lnSpc>
                <a:spcPct val="90000"/>
              </a:lnSpc>
              <a:spcBef>
                <a:spcPts val="525"/>
              </a:spcBef>
              <a:spcAft>
                <a:spcPts val="525"/>
              </a:spcAft>
              <a:buFont typeface="Arial" panose="020B0604020202020204" pitchFamily="34" charset="0"/>
              <a:buNone/>
              <a:defRPr sz="1500" kern="1200" spc="15" baseline="0">
                <a:solidFill>
                  <a:schemeClr val="tx2"/>
                </a:solidFill>
                <a:latin typeface="+mn-lt"/>
                <a:ea typeface="+mn-ea"/>
                <a:cs typeface="+mn-cs"/>
              </a:defRPr>
            </a:lvl1pPr>
            <a:lvl2pPr marL="135696" indent="-135696" algn="l" defTabSz="685622" rtl="0" eaLnBrk="1" latinLnBrk="0" hangingPunct="1">
              <a:lnSpc>
                <a:spcPct val="90000"/>
              </a:lnSpc>
              <a:spcBef>
                <a:spcPts val="525"/>
              </a:spcBef>
              <a:spcAft>
                <a:spcPts val="525"/>
              </a:spcAft>
              <a:buSzPct val="110000"/>
              <a:buFont typeface="Arial" panose="020B0604020202020204" pitchFamily="34" charset="0"/>
              <a:buChar char="•"/>
              <a:defRPr sz="1500" kern="1200" spc="15" baseline="0">
                <a:solidFill>
                  <a:schemeClr val="tx2"/>
                </a:solidFill>
                <a:latin typeface="+mn-lt"/>
                <a:ea typeface="+mn-ea"/>
                <a:cs typeface="+mn-cs"/>
              </a:defRPr>
            </a:lvl2pPr>
            <a:lvl3pPr marL="266631" indent="-133315" algn="l" defTabSz="685622" rtl="0" eaLnBrk="1" latinLnBrk="0" hangingPunct="1">
              <a:lnSpc>
                <a:spcPct val="90000"/>
              </a:lnSpc>
              <a:spcBef>
                <a:spcPts val="525"/>
              </a:spcBef>
              <a:spcAft>
                <a:spcPts val="525"/>
              </a:spcAft>
              <a:buFont typeface="Arial" panose="020B0604020202020204" pitchFamily="34" charset="0"/>
              <a:buChar char="−"/>
              <a:defRPr sz="1350" kern="1200" spc="15" baseline="0">
                <a:solidFill>
                  <a:schemeClr val="tx2"/>
                </a:solidFill>
                <a:latin typeface="+mn-lt"/>
                <a:ea typeface="+mn-ea"/>
                <a:cs typeface="+mn-cs"/>
              </a:defRPr>
            </a:lvl3pPr>
            <a:lvl4pPr marL="0" indent="0" algn="l" defTabSz="685622" rtl="0" eaLnBrk="1" latinLnBrk="0" hangingPunct="1">
              <a:lnSpc>
                <a:spcPct val="90000"/>
              </a:lnSpc>
              <a:spcBef>
                <a:spcPts val="525"/>
              </a:spcBef>
              <a:spcAft>
                <a:spcPts val="525"/>
              </a:spcAft>
              <a:buFont typeface="Arial" panose="020B0604020202020204" pitchFamily="34" charset="0"/>
              <a:buNone/>
              <a:defRPr sz="1800" b="1" kern="1200" spc="15" baseline="0">
                <a:solidFill>
                  <a:schemeClr val="tx2"/>
                </a:solidFill>
                <a:latin typeface="+mn-lt"/>
                <a:ea typeface="+mn-ea"/>
                <a:cs typeface="+mn-cs"/>
              </a:defRPr>
            </a:lvl4pPr>
            <a:lvl5pPr marL="0" indent="0" algn="l" defTabSz="685622" rtl="0" eaLnBrk="1" latinLnBrk="0" hangingPunct="1">
              <a:lnSpc>
                <a:spcPct val="90000"/>
              </a:lnSpc>
              <a:spcBef>
                <a:spcPts val="525"/>
              </a:spcBef>
              <a:spcAft>
                <a:spcPts val="525"/>
              </a:spcAft>
              <a:buFont typeface="Arial" panose="020B0604020202020204" pitchFamily="34" charset="0"/>
              <a:buNone/>
              <a:defRPr sz="2399" kern="1200" spc="15" baseline="0">
                <a:solidFill>
                  <a:schemeClr val="tx2"/>
                </a:solidFill>
                <a:latin typeface="Arial Black" panose="020B0A04020102020204" pitchFamily="34" charset="0"/>
                <a:ea typeface="+mn-ea"/>
                <a:cs typeface="+mn-cs"/>
              </a:defRPr>
            </a:lvl5pPr>
            <a:lvl6pPr marL="257108" indent="-257108" algn="l" defTabSz="685622" rtl="0" eaLnBrk="1" latinLnBrk="0" hangingPunct="1">
              <a:lnSpc>
                <a:spcPct val="90000"/>
              </a:lnSpc>
              <a:spcBef>
                <a:spcPts val="525"/>
              </a:spcBef>
              <a:spcAft>
                <a:spcPts val="525"/>
              </a:spcAft>
              <a:buFont typeface="+mj-lt"/>
              <a:buAutoNum type="arabicPeriod"/>
              <a:defRPr sz="1500" kern="1200" spc="15" baseline="0">
                <a:solidFill>
                  <a:schemeClr val="tx2"/>
                </a:solidFill>
                <a:latin typeface="+mn-lt"/>
                <a:ea typeface="+mn-ea"/>
                <a:cs typeface="+mn-cs"/>
              </a:defRPr>
            </a:lvl6pPr>
            <a:lvl7pPr marL="398756" indent="-132126" algn="l" defTabSz="685622" rtl="0" eaLnBrk="1" latinLnBrk="0" hangingPunct="1">
              <a:lnSpc>
                <a:spcPct val="90000"/>
              </a:lnSpc>
              <a:spcBef>
                <a:spcPts val="525"/>
              </a:spcBef>
              <a:spcAft>
                <a:spcPts val="525"/>
              </a:spcAft>
              <a:buSzPct val="110000"/>
              <a:buFont typeface="Arial" panose="020B0604020202020204" pitchFamily="34" charset="0"/>
              <a:buChar char="•"/>
              <a:defRPr sz="1500" kern="1200" spc="15" baseline="0">
                <a:solidFill>
                  <a:schemeClr val="tx2"/>
                </a:solidFill>
                <a:latin typeface="+mn-lt"/>
                <a:ea typeface="+mn-ea"/>
                <a:cs typeface="+mn-cs"/>
              </a:defRPr>
            </a:lvl7pPr>
            <a:lvl8pPr marL="542785" indent="-144029" algn="l" defTabSz="685622" rtl="0" eaLnBrk="1" latinLnBrk="0" hangingPunct="1">
              <a:lnSpc>
                <a:spcPct val="90000"/>
              </a:lnSpc>
              <a:spcBef>
                <a:spcPts val="525"/>
              </a:spcBef>
              <a:spcAft>
                <a:spcPts val="525"/>
              </a:spcAft>
              <a:buFont typeface="Arial" panose="020B0604020202020204" pitchFamily="34" charset="0"/>
              <a:buChar char="−"/>
              <a:defRPr sz="1350" kern="1200" spc="15" baseline="0">
                <a:solidFill>
                  <a:schemeClr val="tx2"/>
                </a:solidFill>
                <a:latin typeface="+mn-lt"/>
                <a:ea typeface="+mn-ea"/>
                <a:cs typeface="+mn-cs"/>
              </a:defRPr>
            </a:lvl8pPr>
            <a:lvl9pPr marL="0" indent="0" algn="l" defTabSz="685622" rtl="0" eaLnBrk="1" latinLnBrk="0" hangingPunct="1">
              <a:lnSpc>
                <a:spcPct val="90000"/>
              </a:lnSpc>
              <a:spcBef>
                <a:spcPts val="525"/>
              </a:spcBef>
              <a:spcAft>
                <a:spcPts val="525"/>
              </a:spcAft>
              <a:buFont typeface="Arial" panose="020B0604020202020204" pitchFamily="34" charset="0"/>
              <a:buNone/>
              <a:defRPr sz="1200" i="1" kern="1200" spc="15" baseline="0">
                <a:solidFill>
                  <a:schemeClr val="tx2"/>
                </a:solidFill>
                <a:latin typeface="+mn-lt"/>
                <a:ea typeface="+mn-ea"/>
                <a:cs typeface="+mn-cs"/>
              </a:defRPr>
            </a:lvl9pPr>
          </a:lstStyle>
          <a:p>
            <a:pPr defTabSz="685416"/>
            <a:r>
              <a:rPr lang="nl-NL" sz="800" dirty="0">
                <a:solidFill>
                  <a:srgbClr val="001F4B"/>
                </a:solidFill>
                <a:latin typeface="NLRTM"/>
                <a:ea typeface="Futura Std Medium" charset="0"/>
                <a:cs typeface="Futura Std Medium" charset="0"/>
              </a:rPr>
              <a:t>Weekly full container services per port (Source </a:t>
            </a:r>
            <a:r>
              <a:rPr lang="nl-NL" sz="800" dirty="0" err="1">
                <a:solidFill>
                  <a:srgbClr val="001F4B"/>
                </a:solidFill>
                <a:latin typeface="NLRTM"/>
                <a:ea typeface="Futura Std Medium" charset="0"/>
                <a:cs typeface="Futura Std Medium" charset="0"/>
              </a:rPr>
              <a:t>eeSea</a:t>
            </a:r>
            <a:r>
              <a:rPr lang="nl-NL" sz="800" dirty="0">
                <a:solidFill>
                  <a:srgbClr val="001F4B"/>
                </a:solidFill>
                <a:latin typeface="NLRTM"/>
                <a:ea typeface="Futura Std Medium" charset="0"/>
                <a:cs typeface="Futura Std Medium" charset="0"/>
              </a:rPr>
              <a:t>; </a:t>
            </a:r>
            <a:r>
              <a:rPr lang="nl-NL" sz="800" dirty="0" err="1">
                <a:solidFill>
                  <a:srgbClr val="001F4B"/>
                </a:solidFill>
                <a:latin typeface="NLRTM"/>
                <a:ea typeface="Futura Std Medium" charset="0"/>
                <a:cs typeface="Futura Std Medium" charset="0"/>
              </a:rPr>
              <a:t>PoR</a:t>
            </a:r>
            <a:r>
              <a:rPr lang="nl-NL" sz="800" dirty="0">
                <a:solidFill>
                  <a:srgbClr val="001F4B"/>
                </a:solidFill>
                <a:latin typeface="NLRTM"/>
                <a:ea typeface="Futura Std Medium" charset="0"/>
                <a:cs typeface="Futura Std Medium" charset="0"/>
              </a:rPr>
              <a:t> analysis 2020)</a:t>
            </a:r>
          </a:p>
        </p:txBody>
      </p:sp>
      <p:graphicFrame>
        <p:nvGraphicFramePr>
          <p:cNvPr id="19" name="Object 4"/>
          <p:cNvGraphicFramePr>
            <a:graphicFrameLocks/>
          </p:cNvGraphicFramePr>
          <p:nvPr>
            <p:custDataLst>
              <p:tags r:id="rId1"/>
            </p:custDataLst>
            <p:extLst>
              <p:ext uri="{D42A27DB-BD31-4B8C-83A1-F6EECF244321}">
                <p14:modId xmlns:p14="http://schemas.microsoft.com/office/powerpoint/2010/main" val="3363890420"/>
              </p:ext>
            </p:extLst>
          </p:nvPr>
        </p:nvGraphicFramePr>
        <p:xfrm>
          <a:off x="238661" y="1005109"/>
          <a:ext cx="5611831" cy="4696492"/>
        </p:xfrm>
        <a:graphic>
          <a:graphicData uri="http://schemas.openxmlformats.org/drawingml/2006/chart">
            <c:chart xmlns:c="http://schemas.openxmlformats.org/drawingml/2006/chart" xmlns:r="http://schemas.openxmlformats.org/officeDocument/2006/relationships" r:id="rId9"/>
          </a:graphicData>
        </a:graphic>
      </p:graphicFrame>
      <p:sp>
        <p:nvSpPr>
          <p:cNvPr id="22" name="Tijdelijke aanduiding voor tekst 2"/>
          <p:cNvSpPr>
            <a:spLocks noGrp="1"/>
          </p:cNvSpPr>
          <p:nvPr>
            <p:custDataLst>
              <p:tags r:id="rId2"/>
            </p:custDataLst>
          </p:nvPr>
        </p:nvSpPr>
        <p:spPr bwMode="auto">
          <a:xfrm>
            <a:off x="599928" y="5527276"/>
            <a:ext cx="1040824" cy="21261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700"/>
              </a:spcBef>
              <a:spcAft>
                <a:spcPts val="700"/>
              </a:spcAft>
              <a:buFont typeface="Arial" panose="020B0604020202020204" pitchFamily="34" charset="0"/>
              <a:buNone/>
              <a:defRPr sz="2000" kern="1200" spc="20" baseline="0">
                <a:solidFill>
                  <a:schemeClr val="tx2"/>
                </a:solidFill>
                <a:latin typeface="+mn-lt"/>
                <a:ea typeface="+mn-ea"/>
                <a:cs typeface="+mn-cs"/>
              </a:defRPr>
            </a:lvl1pPr>
            <a:lvl2pPr marL="180975" indent="-180975" algn="l" defTabSz="914400" rtl="0" eaLnBrk="1" latinLnBrk="0" hangingPunct="1">
              <a:lnSpc>
                <a:spcPct val="90000"/>
              </a:lnSpc>
              <a:spcBef>
                <a:spcPts val="700"/>
              </a:spcBef>
              <a:spcAft>
                <a:spcPts val="700"/>
              </a:spcAft>
              <a:buSzPct val="110000"/>
              <a:buFont typeface="Arial" panose="020B0604020202020204" pitchFamily="34" charset="0"/>
              <a:buChar char="•"/>
              <a:defRPr sz="2000" kern="1200" spc="20" baseline="0">
                <a:solidFill>
                  <a:schemeClr val="tx2"/>
                </a:solidFill>
                <a:latin typeface="+mn-lt"/>
                <a:ea typeface="+mn-ea"/>
                <a:cs typeface="+mn-cs"/>
              </a:defRPr>
            </a:lvl2pPr>
            <a:lvl3pPr marL="355600" indent="-177800" algn="l" defTabSz="914400" rtl="0" eaLnBrk="1" latinLnBrk="0" hangingPunct="1">
              <a:lnSpc>
                <a:spcPct val="90000"/>
              </a:lnSpc>
              <a:spcBef>
                <a:spcPts val="700"/>
              </a:spcBef>
              <a:spcAft>
                <a:spcPts val="700"/>
              </a:spcAft>
              <a:buFont typeface="Arial" panose="020B0604020202020204" pitchFamily="34" charset="0"/>
              <a:buChar char="−"/>
              <a:defRPr sz="1800" kern="1200" spc="20" baseline="0">
                <a:solidFill>
                  <a:schemeClr val="tx2"/>
                </a:solidFill>
                <a:latin typeface="+mn-lt"/>
                <a:ea typeface="+mn-ea"/>
                <a:cs typeface="+mn-cs"/>
              </a:defRPr>
            </a:lvl3pPr>
            <a:lvl4pPr marL="0" indent="0" algn="l" defTabSz="914400" rtl="0" eaLnBrk="1" latinLnBrk="0" hangingPunct="1">
              <a:lnSpc>
                <a:spcPct val="90000"/>
              </a:lnSpc>
              <a:spcBef>
                <a:spcPts val="700"/>
              </a:spcBef>
              <a:spcAft>
                <a:spcPts val="700"/>
              </a:spcAft>
              <a:buFont typeface="Arial" panose="020B0604020202020204" pitchFamily="34" charset="0"/>
              <a:buNone/>
              <a:defRPr sz="2400" b="1" kern="1200" spc="20" baseline="0">
                <a:solidFill>
                  <a:schemeClr val="tx2"/>
                </a:solidFill>
                <a:latin typeface="+mn-lt"/>
                <a:ea typeface="+mn-ea"/>
                <a:cs typeface="+mn-cs"/>
              </a:defRPr>
            </a:lvl4pPr>
            <a:lvl5pPr marL="0" indent="0" algn="l" defTabSz="914400" rtl="0" eaLnBrk="1" latinLnBrk="0" hangingPunct="1">
              <a:lnSpc>
                <a:spcPct val="90000"/>
              </a:lnSpc>
              <a:spcBef>
                <a:spcPts val="700"/>
              </a:spcBef>
              <a:spcAft>
                <a:spcPts val="700"/>
              </a:spcAft>
              <a:buFont typeface="Arial" panose="020B0604020202020204" pitchFamily="34" charset="0"/>
              <a:buNone/>
              <a:defRPr sz="3200" kern="1200" spc="20" baseline="0">
                <a:solidFill>
                  <a:schemeClr val="tx2"/>
                </a:solidFill>
                <a:latin typeface="Arial Black" panose="020B0A04020102020204" pitchFamily="34" charset="0"/>
                <a:ea typeface="+mn-ea"/>
                <a:cs typeface="+mn-cs"/>
              </a:defRPr>
            </a:lvl5pPr>
            <a:lvl6pPr marL="342900" indent="-342900" algn="l" defTabSz="914400" rtl="0" eaLnBrk="1" latinLnBrk="0" hangingPunct="1">
              <a:lnSpc>
                <a:spcPct val="90000"/>
              </a:lnSpc>
              <a:spcBef>
                <a:spcPts val="700"/>
              </a:spcBef>
              <a:spcAft>
                <a:spcPts val="700"/>
              </a:spcAft>
              <a:buFont typeface="+mj-lt"/>
              <a:buAutoNum type="arabicPeriod"/>
              <a:defRPr sz="2000" kern="1200" spc="20" baseline="0">
                <a:solidFill>
                  <a:schemeClr val="tx2"/>
                </a:solidFill>
                <a:latin typeface="+mn-lt"/>
                <a:ea typeface="+mn-ea"/>
                <a:cs typeface="+mn-cs"/>
              </a:defRPr>
            </a:lvl6pPr>
            <a:lvl7pPr marL="531813" indent="-176213" algn="l" defTabSz="914400" rtl="0" eaLnBrk="1" latinLnBrk="0" hangingPunct="1">
              <a:lnSpc>
                <a:spcPct val="90000"/>
              </a:lnSpc>
              <a:spcBef>
                <a:spcPts val="700"/>
              </a:spcBef>
              <a:spcAft>
                <a:spcPts val="700"/>
              </a:spcAft>
              <a:buSzPct val="110000"/>
              <a:buFont typeface="Arial" panose="020B0604020202020204" pitchFamily="34" charset="0"/>
              <a:buChar char="•"/>
              <a:defRPr sz="2000" kern="1200" spc="20" baseline="0">
                <a:solidFill>
                  <a:schemeClr val="tx2"/>
                </a:solidFill>
                <a:latin typeface="+mn-lt"/>
                <a:ea typeface="+mn-ea"/>
                <a:cs typeface="+mn-cs"/>
              </a:defRPr>
            </a:lvl7pPr>
            <a:lvl8pPr marL="723900" indent="-192088" algn="l" defTabSz="914400" rtl="0" eaLnBrk="1" latinLnBrk="0" hangingPunct="1">
              <a:lnSpc>
                <a:spcPct val="90000"/>
              </a:lnSpc>
              <a:spcBef>
                <a:spcPts val="700"/>
              </a:spcBef>
              <a:spcAft>
                <a:spcPts val="700"/>
              </a:spcAft>
              <a:buFont typeface="Arial" panose="020B0604020202020204" pitchFamily="34" charset="0"/>
              <a:buChar char="−"/>
              <a:defRPr sz="1800" kern="1200" spc="20" baseline="0">
                <a:solidFill>
                  <a:schemeClr val="tx2"/>
                </a:solidFill>
                <a:latin typeface="+mn-lt"/>
                <a:ea typeface="+mn-ea"/>
                <a:cs typeface="+mn-cs"/>
              </a:defRPr>
            </a:lvl8pPr>
            <a:lvl9pPr marL="0" indent="0" algn="l" defTabSz="914400" rtl="0" eaLnBrk="1" latinLnBrk="0" hangingPunct="1">
              <a:lnSpc>
                <a:spcPct val="90000"/>
              </a:lnSpc>
              <a:spcBef>
                <a:spcPts val="700"/>
              </a:spcBef>
              <a:spcAft>
                <a:spcPts val="700"/>
              </a:spcAft>
              <a:buFont typeface="Arial" panose="020B0604020202020204" pitchFamily="34" charset="0"/>
              <a:buNone/>
              <a:defRPr sz="1600" i="1" kern="1200" spc="20" baseline="0">
                <a:solidFill>
                  <a:schemeClr val="tx2"/>
                </a:solidFill>
                <a:latin typeface="+mn-lt"/>
                <a:ea typeface="+mn-ea"/>
                <a:cs typeface="+mn-cs"/>
              </a:defRPr>
            </a:lvl9pPr>
          </a:lstStyle>
          <a:p>
            <a:pPr algn="ctr" defTabSz="914126">
              <a:lnSpc>
                <a:spcPct val="100000"/>
              </a:lnSpc>
              <a:spcBef>
                <a:spcPct val="0"/>
              </a:spcBef>
              <a:spcAft>
                <a:spcPct val="0"/>
              </a:spcAft>
            </a:pPr>
            <a:r>
              <a:rPr lang="nl-NL" altLang="en-US" sz="1333" b="1" dirty="0">
                <a:solidFill>
                  <a:srgbClr val="001F4B"/>
                </a:solidFill>
                <a:latin typeface="NLRTM" panose="00000500000000000000" pitchFamily="50" charset="0"/>
                <a:ea typeface="Futura Std Medium" charset="0"/>
                <a:cs typeface="Futura Std Medium" charset="0"/>
              </a:rPr>
              <a:t>Rotterdam</a:t>
            </a:r>
            <a:endParaRPr lang="nl-NL" sz="1467" b="1" dirty="0">
              <a:solidFill>
                <a:srgbClr val="001F4B"/>
              </a:solidFill>
              <a:latin typeface="NLRTM" panose="00000500000000000000" pitchFamily="50" charset="0"/>
              <a:ea typeface="Futura Std Medium" charset="0"/>
              <a:cs typeface="Futura Std Medium" charset="0"/>
              <a:sym typeface="+mn-lt"/>
            </a:endParaRPr>
          </a:p>
        </p:txBody>
      </p:sp>
      <p:sp>
        <p:nvSpPr>
          <p:cNvPr id="23" name="Tijdelijke aanduiding voor tekst 2"/>
          <p:cNvSpPr>
            <a:spLocks noGrp="1"/>
          </p:cNvSpPr>
          <p:nvPr>
            <p:custDataLst>
              <p:tags r:id="rId3"/>
            </p:custDataLst>
          </p:nvPr>
        </p:nvSpPr>
        <p:spPr bwMode="auto">
          <a:xfrm>
            <a:off x="3169255" y="5556298"/>
            <a:ext cx="1209838" cy="226096"/>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700"/>
              </a:spcBef>
              <a:spcAft>
                <a:spcPts val="700"/>
              </a:spcAft>
              <a:buFont typeface="Arial" panose="020B0604020202020204" pitchFamily="34" charset="0"/>
              <a:buNone/>
              <a:defRPr sz="2000" kern="1200" spc="20" baseline="0">
                <a:solidFill>
                  <a:schemeClr val="tx2"/>
                </a:solidFill>
                <a:latin typeface="+mn-lt"/>
                <a:ea typeface="+mn-ea"/>
                <a:cs typeface="+mn-cs"/>
              </a:defRPr>
            </a:lvl1pPr>
            <a:lvl2pPr marL="180975" indent="-180975" algn="l" defTabSz="914400" rtl="0" eaLnBrk="1" latinLnBrk="0" hangingPunct="1">
              <a:lnSpc>
                <a:spcPct val="90000"/>
              </a:lnSpc>
              <a:spcBef>
                <a:spcPts val="700"/>
              </a:spcBef>
              <a:spcAft>
                <a:spcPts val="700"/>
              </a:spcAft>
              <a:buSzPct val="110000"/>
              <a:buFont typeface="Arial" panose="020B0604020202020204" pitchFamily="34" charset="0"/>
              <a:buChar char="•"/>
              <a:defRPr sz="2000" kern="1200" spc="20" baseline="0">
                <a:solidFill>
                  <a:schemeClr val="tx2"/>
                </a:solidFill>
                <a:latin typeface="+mn-lt"/>
                <a:ea typeface="+mn-ea"/>
                <a:cs typeface="+mn-cs"/>
              </a:defRPr>
            </a:lvl2pPr>
            <a:lvl3pPr marL="355600" indent="-177800" algn="l" defTabSz="914400" rtl="0" eaLnBrk="1" latinLnBrk="0" hangingPunct="1">
              <a:lnSpc>
                <a:spcPct val="90000"/>
              </a:lnSpc>
              <a:spcBef>
                <a:spcPts val="700"/>
              </a:spcBef>
              <a:spcAft>
                <a:spcPts val="700"/>
              </a:spcAft>
              <a:buFont typeface="Arial" panose="020B0604020202020204" pitchFamily="34" charset="0"/>
              <a:buChar char="−"/>
              <a:defRPr sz="1800" kern="1200" spc="20" baseline="0">
                <a:solidFill>
                  <a:schemeClr val="tx2"/>
                </a:solidFill>
                <a:latin typeface="+mn-lt"/>
                <a:ea typeface="+mn-ea"/>
                <a:cs typeface="+mn-cs"/>
              </a:defRPr>
            </a:lvl3pPr>
            <a:lvl4pPr marL="0" indent="0" algn="l" defTabSz="914400" rtl="0" eaLnBrk="1" latinLnBrk="0" hangingPunct="1">
              <a:lnSpc>
                <a:spcPct val="90000"/>
              </a:lnSpc>
              <a:spcBef>
                <a:spcPts val="700"/>
              </a:spcBef>
              <a:spcAft>
                <a:spcPts val="700"/>
              </a:spcAft>
              <a:buFont typeface="Arial" panose="020B0604020202020204" pitchFamily="34" charset="0"/>
              <a:buNone/>
              <a:defRPr sz="2400" b="1" kern="1200" spc="20" baseline="0">
                <a:solidFill>
                  <a:schemeClr val="tx2"/>
                </a:solidFill>
                <a:latin typeface="+mn-lt"/>
                <a:ea typeface="+mn-ea"/>
                <a:cs typeface="+mn-cs"/>
              </a:defRPr>
            </a:lvl4pPr>
            <a:lvl5pPr marL="0" indent="0" algn="l" defTabSz="914400" rtl="0" eaLnBrk="1" latinLnBrk="0" hangingPunct="1">
              <a:lnSpc>
                <a:spcPct val="90000"/>
              </a:lnSpc>
              <a:spcBef>
                <a:spcPts val="700"/>
              </a:spcBef>
              <a:spcAft>
                <a:spcPts val="700"/>
              </a:spcAft>
              <a:buFont typeface="Arial" panose="020B0604020202020204" pitchFamily="34" charset="0"/>
              <a:buNone/>
              <a:defRPr sz="3200" kern="1200" spc="20" baseline="0">
                <a:solidFill>
                  <a:schemeClr val="tx2"/>
                </a:solidFill>
                <a:latin typeface="Arial Black" panose="020B0A04020102020204" pitchFamily="34" charset="0"/>
                <a:ea typeface="+mn-ea"/>
                <a:cs typeface="+mn-cs"/>
              </a:defRPr>
            </a:lvl5pPr>
            <a:lvl6pPr marL="342900" indent="-342900" algn="l" defTabSz="914400" rtl="0" eaLnBrk="1" latinLnBrk="0" hangingPunct="1">
              <a:lnSpc>
                <a:spcPct val="90000"/>
              </a:lnSpc>
              <a:spcBef>
                <a:spcPts val="700"/>
              </a:spcBef>
              <a:spcAft>
                <a:spcPts val="700"/>
              </a:spcAft>
              <a:buFont typeface="+mj-lt"/>
              <a:buAutoNum type="arabicPeriod"/>
              <a:defRPr sz="2000" kern="1200" spc="20" baseline="0">
                <a:solidFill>
                  <a:schemeClr val="tx2"/>
                </a:solidFill>
                <a:latin typeface="+mn-lt"/>
                <a:ea typeface="+mn-ea"/>
                <a:cs typeface="+mn-cs"/>
              </a:defRPr>
            </a:lvl6pPr>
            <a:lvl7pPr marL="531813" indent="-176213" algn="l" defTabSz="914400" rtl="0" eaLnBrk="1" latinLnBrk="0" hangingPunct="1">
              <a:lnSpc>
                <a:spcPct val="90000"/>
              </a:lnSpc>
              <a:spcBef>
                <a:spcPts val="700"/>
              </a:spcBef>
              <a:spcAft>
                <a:spcPts val="700"/>
              </a:spcAft>
              <a:buSzPct val="110000"/>
              <a:buFont typeface="Arial" panose="020B0604020202020204" pitchFamily="34" charset="0"/>
              <a:buChar char="•"/>
              <a:defRPr sz="2000" kern="1200" spc="20" baseline="0">
                <a:solidFill>
                  <a:schemeClr val="tx2"/>
                </a:solidFill>
                <a:latin typeface="+mn-lt"/>
                <a:ea typeface="+mn-ea"/>
                <a:cs typeface="+mn-cs"/>
              </a:defRPr>
            </a:lvl7pPr>
            <a:lvl8pPr marL="723900" indent="-192088" algn="l" defTabSz="914400" rtl="0" eaLnBrk="1" latinLnBrk="0" hangingPunct="1">
              <a:lnSpc>
                <a:spcPct val="90000"/>
              </a:lnSpc>
              <a:spcBef>
                <a:spcPts val="700"/>
              </a:spcBef>
              <a:spcAft>
                <a:spcPts val="700"/>
              </a:spcAft>
              <a:buFont typeface="Arial" panose="020B0604020202020204" pitchFamily="34" charset="0"/>
              <a:buChar char="−"/>
              <a:defRPr sz="1800" kern="1200" spc="20" baseline="0">
                <a:solidFill>
                  <a:schemeClr val="tx2"/>
                </a:solidFill>
                <a:latin typeface="+mn-lt"/>
                <a:ea typeface="+mn-ea"/>
                <a:cs typeface="+mn-cs"/>
              </a:defRPr>
            </a:lvl8pPr>
            <a:lvl9pPr marL="0" indent="0" algn="l" defTabSz="914400" rtl="0" eaLnBrk="1" latinLnBrk="0" hangingPunct="1">
              <a:lnSpc>
                <a:spcPct val="90000"/>
              </a:lnSpc>
              <a:spcBef>
                <a:spcPts val="700"/>
              </a:spcBef>
              <a:spcAft>
                <a:spcPts val="700"/>
              </a:spcAft>
              <a:buFont typeface="Arial" panose="020B0604020202020204" pitchFamily="34" charset="0"/>
              <a:buNone/>
              <a:defRPr sz="1600" i="1" kern="1200" spc="20" baseline="0">
                <a:solidFill>
                  <a:schemeClr val="tx2"/>
                </a:solidFill>
                <a:latin typeface="+mn-lt"/>
                <a:ea typeface="+mn-ea"/>
                <a:cs typeface="+mn-cs"/>
              </a:defRPr>
            </a:lvl9pPr>
          </a:lstStyle>
          <a:p>
            <a:pPr algn="ctr" defTabSz="914126">
              <a:lnSpc>
                <a:spcPct val="100000"/>
              </a:lnSpc>
              <a:spcBef>
                <a:spcPct val="0"/>
              </a:spcBef>
              <a:spcAft>
                <a:spcPct val="0"/>
              </a:spcAft>
            </a:pPr>
            <a:r>
              <a:rPr lang="nl-NL" altLang="en-US" sz="1333" b="1" dirty="0">
                <a:solidFill>
                  <a:srgbClr val="001F4B"/>
                </a:solidFill>
                <a:latin typeface="NLRTM"/>
                <a:ea typeface="Futura Std Medium" charset="0"/>
                <a:cs typeface="Futura Std Medium" charset="0"/>
              </a:rPr>
              <a:t>Hamburg</a:t>
            </a:r>
            <a:endParaRPr lang="nl-NL" sz="1467" b="1" dirty="0">
              <a:solidFill>
                <a:srgbClr val="001F4B"/>
              </a:solidFill>
              <a:latin typeface="NLRTM"/>
              <a:ea typeface="Futura Std Medium" charset="0"/>
              <a:cs typeface="Futura Std Medium" charset="0"/>
              <a:sym typeface="+mn-lt"/>
            </a:endParaRPr>
          </a:p>
        </p:txBody>
      </p:sp>
      <p:sp>
        <p:nvSpPr>
          <p:cNvPr id="24" name="Tijdelijke aanduiding voor tekst 2"/>
          <p:cNvSpPr>
            <a:spLocks noGrp="1"/>
          </p:cNvSpPr>
          <p:nvPr>
            <p:custDataLst>
              <p:tags r:id="rId4"/>
            </p:custDataLst>
          </p:nvPr>
        </p:nvSpPr>
        <p:spPr bwMode="auto">
          <a:xfrm>
            <a:off x="1972265" y="5556298"/>
            <a:ext cx="1037658" cy="21261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700"/>
              </a:spcBef>
              <a:spcAft>
                <a:spcPts val="700"/>
              </a:spcAft>
              <a:buFont typeface="Arial" panose="020B0604020202020204" pitchFamily="34" charset="0"/>
              <a:buNone/>
              <a:defRPr sz="2000" kern="1200" spc="20" baseline="0">
                <a:solidFill>
                  <a:schemeClr val="tx2"/>
                </a:solidFill>
                <a:latin typeface="+mn-lt"/>
                <a:ea typeface="+mn-ea"/>
                <a:cs typeface="+mn-cs"/>
              </a:defRPr>
            </a:lvl1pPr>
            <a:lvl2pPr marL="180975" indent="-180975" algn="l" defTabSz="914400" rtl="0" eaLnBrk="1" latinLnBrk="0" hangingPunct="1">
              <a:lnSpc>
                <a:spcPct val="90000"/>
              </a:lnSpc>
              <a:spcBef>
                <a:spcPts val="700"/>
              </a:spcBef>
              <a:spcAft>
                <a:spcPts val="700"/>
              </a:spcAft>
              <a:buSzPct val="110000"/>
              <a:buFont typeface="Arial" panose="020B0604020202020204" pitchFamily="34" charset="0"/>
              <a:buChar char="•"/>
              <a:defRPr sz="2000" kern="1200" spc="20" baseline="0">
                <a:solidFill>
                  <a:schemeClr val="tx2"/>
                </a:solidFill>
                <a:latin typeface="+mn-lt"/>
                <a:ea typeface="+mn-ea"/>
                <a:cs typeface="+mn-cs"/>
              </a:defRPr>
            </a:lvl2pPr>
            <a:lvl3pPr marL="355600" indent="-177800" algn="l" defTabSz="914400" rtl="0" eaLnBrk="1" latinLnBrk="0" hangingPunct="1">
              <a:lnSpc>
                <a:spcPct val="90000"/>
              </a:lnSpc>
              <a:spcBef>
                <a:spcPts val="700"/>
              </a:spcBef>
              <a:spcAft>
                <a:spcPts val="700"/>
              </a:spcAft>
              <a:buFont typeface="Arial" panose="020B0604020202020204" pitchFamily="34" charset="0"/>
              <a:buChar char="−"/>
              <a:defRPr sz="1800" kern="1200" spc="20" baseline="0">
                <a:solidFill>
                  <a:schemeClr val="tx2"/>
                </a:solidFill>
                <a:latin typeface="+mn-lt"/>
                <a:ea typeface="+mn-ea"/>
                <a:cs typeface="+mn-cs"/>
              </a:defRPr>
            </a:lvl3pPr>
            <a:lvl4pPr marL="0" indent="0" algn="l" defTabSz="914400" rtl="0" eaLnBrk="1" latinLnBrk="0" hangingPunct="1">
              <a:lnSpc>
                <a:spcPct val="90000"/>
              </a:lnSpc>
              <a:spcBef>
                <a:spcPts val="700"/>
              </a:spcBef>
              <a:spcAft>
                <a:spcPts val="700"/>
              </a:spcAft>
              <a:buFont typeface="Arial" panose="020B0604020202020204" pitchFamily="34" charset="0"/>
              <a:buNone/>
              <a:defRPr sz="2400" b="1" kern="1200" spc="20" baseline="0">
                <a:solidFill>
                  <a:schemeClr val="tx2"/>
                </a:solidFill>
                <a:latin typeface="+mn-lt"/>
                <a:ea typeface="+mn-ea"/>
                <a:cs typeface="+mn-cs"/>
              </a:defRPr>
            </a:lvl4pPr>
            <a:lvl5pPr marL="0" indent="0" algn="l" defTabSz="914400" rtl="0" eaLnBrk="1" latinLnBrk="0" hangingPunct="1">
              <a:lnSpc>
                <a:spcPct val="90000"/>
              </a:lnSpc>
              <a:spcBef>
                <a:spcPts val="700"/>
              </a:spcBef>
              <a:spcAft>
                <a:spcPts val="700"/>
              </a:spcAft>
              <a:buFont typeface="Arial" panose="020B0604020202020204" pitchFamily="34" charset="0"/>
              <a:buNone/>
              <a:defRPr sz="3200" kern="1200" spc="20" baseline="0">
                <a:solidFill>
                  <a:schemeClr val="tx2"/>
                </a:solidFill>
                <a:latin typeface="Arial Black" panose="020B0A04020102020204" pitchFamily="34" charset="0"/>
                <a:ea typeface="+mn-ea"/>
                <a:cs typeface="+mn-cs"/>
              </a:defRPr>
            </a:lvl5pPr>
            <a:lvl6pPr marL="342900" indent="-342900" algn="l" defTabSz="914400" rtl="0" eaLnBrk="1" latinLnBrk="0" hangingPunct="1">
              <a:lnSpc>
                <a:spcPct val="90000"/>
              </a:lnSpc>
              <a:spcBef>
                <a:spcPts val="700"/>
              </a:spcBef>
              <a:spcAft>
                <a:spcPts val="700"/>
              </a:spcAft>
              <a:buFont typeface="+mj-lt"/>
              <a:buAutoNum type="arabicPeriod"/>
              <a:defRPr sz="2000" kern="1200" spc="20" baseline="0">
                <a:solidFill>
                  <a:schemeClr val="tx2"/>
                </a:solidFill>
                <a:latin typeface="+mn-lt"/>
                <a:ea typeface="+mn-ea"/>
                <a:cs typeface="+mn-cs"/>
              </a:defRPr>
            </a:lvl6pPr>
            <a:lvl7pPr marL="531813" indent="-176213" algn="l" defTabSz="914400" rtl="0" eaLnBrk="1" latinLnBrk="0" hangingPunct="1">
              <a:lnSpc>
                <a:spcPct val="90000"/>
              </a:lnSpc>
              <a:spcBef>
                <a:spcPts val="700"/>
              </a:spcBef>
              <a:spcAft>
                <a:spcPts val="700"/>
              </a:spcAft>
              <a:buSzPct val="110000"/>
              <a:buFont typeface="Arial" panose="020B0604020202020204" pitchFamily="34" charset="0"/>
              <a:buChar char="•"/>
              <a:defRPr sz="2000" kern="1200" spc="20" baseline="0">
                <a:solidFill>
                  <a:schemeClr val="tx2"/>
                </a:solidFill>
                <a:latin typeface="+mn-lt"/>
                <a:ea typeface="+mn-ea"/>
                <a:cs typeface="+mn-cs"/>
              </a:defRPr>
            </a:lvl7pPr>
            <a:lvl8pPr marL="723900" indent="-192088" algn="l" defTabSz="914400" rtl="0" eaLnBrk="1" latinLnBrk="0" hangingPunct="1">
              <a:lnSpc>
                <a:spcPct val="90000"/>
              </a:lnSpc>
              <a:spcBef>
                <a:spcPts val="700"/>
              </a:spcBef>
              <a:spcAft>
                <a:spcPts val="700"/>
              </a:spcAft>
              <a:buFont typeface="Arial" panose="020B0604020202020204" pitchFamily="34" charset="0"/>
              <a:buChar char="−"/>
              <a:defRPr sz="1800" kern="1200" spc="20" baseline="0">
                <a:solidFill>
                  <a:schemeClr val="tx2"/>
                </a:solidFill>
                <a:latin typeface="+mn-lt"/>
                <a:ea typeface="+mn-ea"/>
                <a:cs typeface="+mn-cs"/>
              </a:defRPr>
            </a:lvl8pPr>
            <a:lvl9pPr marL="0" indent="0" algn="l" defTabSz="914400" rtl="0" eaLnBrk="1" latinLnBrk="0" hangingPunct="1">
              <a:lnSpc>
                <a:spcPct val="90000"/>
              </a:lnSpc>
              <a:spcBef>
                <a:spcPts val="700"/>
              </a:spcBef>
              <a:spcAft>
                <a:spcPts val="700"/>
              </a:spcAft>
              <a:buFont typeface="Arial" panose="020B0604020202020204" pitchFamily="34" charset="0"/>
              <a:buNone/>
              <a:defRPr sz="1600" i="1" kern="1200" spc="20" baseline="0">
                <a:solidFill>
                  <a:schemeClr val="tx2"/>
                </a:solidFill>
                <a:latin typeface="+mn-lt"/>
                <a:ea typeface="+mn-ea"/>
                <a:cs typeface="+mn-cs"/>
              </a:defRPr>
            </a:lvl9pPr>
          </a:lstStyle>
          <a:p>
            <a:pPr algn="ctr" defTabSz="914126">
              <a:lnSpc>
                <a:spcPct val="100000"/>
              </a:lnSpc>
              <a:spcBef>
                <a:spcPct val="0"/>
              </a:spcBef>
              <a:spcAft>
                <a:spcPct val="0"/>
              </a:spcAft>
            </a:pPr>
            <a:r>
              <a:rPr lang="nl-NL" altLang="en-US" sz="1333" b="1" dirty="0">
                <a:solidFill>
                  <a:srgbClr val="001F4B"/>
                </a:solidFill>
                <a:latin typeface="NLRTM"/>
              </a:rPr>
              <a:t>Antwerp</a:t>
            </a:r>
            <a:endParaRPr lang="nl-NL" sz="1333" b="1" dirty="0">
              <a:solidFill>
                <a:srgbClr val="001F4B"/>
              </a:solidFill>
              <a:latin typeface="NLRTM"/>
              <a:sym typeface="+mn-lt"/>
            </a:endParaRPr>
          </a:p>
        </p:txBody>
      </p:sp>
      <p:sp>
        <p:nvSpPr>
          <p:cNvPr id="25" name="Tijdelijke aanduiding voor tekst 2"/>
          <p:cNvSpPr>
            <a:spLocks noGrp="1"/>
          </p:cNvSpPr>
          <p:nvPr>
            <p:custDataLst>
              <p:tags r:id="rId5"/>
            </p:custDataLst>
          </p:nvPr>
        </p:nvSpPr>
        <p:spPr bwMode="auto">
          <a:xfrm>
            <a:off x="4458761" y="5556298"/>
            <a:ext cx="1471397" cy="19913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700"/>
              </a:spcBef>
              <a:spcAft>
                <a:spcPts val="700"/>
              </a:spcAft>
              <a:buFont typeface="Arial" panose="020B0604020202020204" pitchFamily="34" charset="0"/>
              <a:buNone/>
              <a:defRPr sz="2000" kern="1200" spc="20" baseline="0">
                <a:solidFill>
                  <a:schemeClr val="tx2"/>
                </a:solidFill>
                <a:latin typeface="+mn-lt"/>
                <a:ea typeface="+mn-ea"/>
                <a:cs typeface="+mn-cs"/>
              </a:defRPr>
            </a:lvl1pPr>
            <a:lvl2pPr marL="180975" indent="-180975" algn="l" defTabSz="914400" rtl="0" eaLnBrk="1" latinLnBrk="0" hangingPunct="1">
              <a:lnSpc>
                <a:spcPct val="90000"/>
              </a:lnSpc>
              <a:spcBef>
                <a:spcPts val="700"/>
              </a:spcBef>
              <a:spcAft>
                <a:spcPts val="700"/>
              </a:spcAft>
              <a:buSzPct val="110000"/>
              <a:buFont typeface="Arial" panose="020B0604020202020204" pitchFamily="34" charset="0"/>
              <a:buChar char="•"/>
              <a:defRPr sz="2000" kern="1200" spc="20" baseline="0">
                <a:solidFill>
                  <a:schemeClr val="tx2"/>
                </a:solidFill>
                <a:latin typeface="+mn-lt"/>
                <a:ea typeface="+mn-ea"/>
                <a:cs typeface="+mn-cs"/>
              </a:defRPr>
            </a:lvl2pPr>
            <a:lvl3pPr marL="355600" indent="-177800" algn="l" defTabSz="914400" rtl="0" eaLnBrk="1" latinLnBrk="0" hangingPunct="1">
              <a:lnSpc>
                <a:spcPct val="90000"/>
              </a:lnSpc>
              <a:spcBef>
                <a:spcPts val="700"/>
              </a:spcBef>
              <a:spcAft>
                <a:spcPts val="700"/>
              </a:spcAft>
              <a:buFont typeface="Arial" panose="020B0604020202020204" pitchFamily="34" charset="0"/>
              <a:buChar char="−"/>
              <a:defRPr sz="1800" kern="1200" spc="20" baseline="0">
                <a:solidFill>
                  <a:schemeClr val="tx2"/>
                </a:solidFill>
                <a:latin typeface="+mn-lt"/>
                <a:ea typeface="+mn-ea"/>
                <a:cs typeface="+mn-cs"/>
              </a:defRPr>
            </a:lvl3pPr>
            <a:lvl4pPr marL="0" indent="0" algn="l" defTabSz="914400" rtl="0" eaLnBrk="1" latinLnBrk="0" hangingPunct="1">
              <a:lnSpc>
                <a:spcPct val="90000"/>
              </a:lnSpc>
              <a:spcBef>
                <a:spcPts val="700"/>
              </a:spcBef>
              <a:spcAft>
                <a:spcPts val="700"/>
              </a:spcAft>
              <a:buFont typeface="Arial" panose="020B0604020202020204" pitchFamily="34" charset="0"/>
              <a:buNone/>
              <a:defRPr sz="2400" b="1" kern="1200" spc="20" baseline="0">
                <a:solidFill>
                  <a:schemeClr val="tx2"/>
                </a:solidFill>
                <a:latin typeface="+mn-lt"/>
                <a:ea typeface="+mn-ea"/>
                <a:cs typeface="+mn-cs"/>
              </a:defRPr>
            </a:lvl4pPr>
            <a:lvl5pPr marL="0" indent="0" algn="l" defTabSz="914400" rtl="0" eaLnBrk="1" latinLnBrk="0" hangingPunct="1">
              <a:lnSpc>
                <a:spcPct val="90000"/>
              </a:lnSpc>
              <a:spcBef>
                <a:spcPts val="700"/>
              </a:spcBef>
              <a:spcAft>
                <a:spcPts val="700"/>
              </a:spcAft>
              <a:buFont typeface="Arial" panose="020B0604020202020204" pitchFamily="34" charset="0"/>
              <a:buNone/>
              <a:defRPr sz="3200" kern="1200" spc="20" baseline="0">
                <a:solidFill>
                  <a:schemeClr val="tx2"/>
                </a:solidFill>
                <a:latin typeface="Arial Black" panose="020B0A04020102020204" pitchFamily="34" charset="0"/>
                <a:ea typeface="+mn-ea"/>
                <a:cs typeface="+mn-cs"/>
              </a:defRPr>
            </a:lvl5pPr>
            <a:lvl6pPr marL="342900" indent="-342900" algn="l" defTabSz="914400" rtl="0" eaLnBrk="1" latinLnBrk="0" hangingPunct="1">
              <a:lnSpc>
                <a:spcPct val="90000"/>
              </a:lnSpc>
              <a:spcBef>
                <a:spcPts val="700"/>
              </a:spcBef>
              <a:spcAft>
                <a:spcPts val="700"/>
              </a:spcAft>
              <a:buFont typeface="+mj-lt"/>
              <a:buAutoNum type="arabicPeriod"/>
              <a:defRPr sz="2000" kern="1200" spc="20" baseline="0">
                <a:solidFill>
                  <a:schemeClr val="tx2"/>
                </a:solidFill>
                <a:latin typeface="+mn-lt"/>
                <a:ea typeface="+mn-ea"/>
                <a:cs typeface="+mn-cs"/>
              </a:defRPr>
            </a:lvl6pPr>
            <a:lvl7pPr marL="531813" indent="-176213" algn="l" defTabSz="914400" rtl="0" eaLnBrk="1" latinLnBrk="0" hangingPunct="1">
              <a:lnSpc>
                <a:spcPct val="90000"/>
              </a:lnSpc>
              <a:spcBef>
                <a:spcPts val="700"/>
              </a:spcBef>
              <a:spcAft>
                <a:spcPts val="700"/>
              </a:spcAft>
              <a:buSzPct val="110000"/>
              <a:buFont typeface="Arial" panose="020B0604020202020204" pitchFamily="34" charset="0"/>
              <a:buChar char="•"/>
              <a:defRPr sz="2000" kern="1200" spc="20" baseline="0">
                <a:solidFill>
                  <a:schemeClr val="tx2"/>
                </a:solidFill>
                <a:latin typeface="+mn-lt"/>
                <a:ea typeface="+mn-ea"/>
                <a:cs typeface="+mn-cs"/>
              </a:defRPr>
            </a:lvl7pPr>
            <a:lvl8pPr marL="723900" indent="-192088" algn="l" defTabSz="914400" rtl="0" eaLnBrk="1" latinLnBrk="0" hangingPunct="1">
              <a:lnSpc>
                <a:spcPct val="90000"/>
              </a:lnSpc>
              <a:spcBef>
                <a:spcPts val="700"/>
              </a:spcBef>
              <a:spcAft>
                <a:spcPts val="700"/>
              </a:spcAft>
              <a:buFont typeface="Arial" panose="020B0604020202020204" pitchFamily="34" charset="0"/>
              <a:buChar char="−"/>
              <a:defRPr sz="1800" kern="1200" spc="20" baseline="0">
                <a:solidFill>
                  <a:schemeClr val="tx2"/>
                </a:solidFill>
                <a:latin typeface="+mn-lt"/>
                <a:ea typeface="+mn-ea"/>
                <a:cs typeface="+mn-cs"/>
              </a:defRPr>
            </a:lvl8pPr>
            <a:lvl9pPr marL="0" indent="0" algn="l" defTabSz="914400" rtl="0" eaLnBrk="1" latinLnBrk="0" hangingPunct="1">
              <a:lnSpc>
                <a:spcPct val="90000"/>
              </a:lnSpc>
              <a:spcBef>
                <a:spcPts val="700"/>
              </a:spcBef>
              <a:spcAft>
                <a:spcPts val="700"/>
              </a:spcAft>
              <a:buFont typeface="Arial" panose="020B0604020202020204" pitchFamily="34" charset="0"/>
              <a:buNone/>
              <a:defRPr sz="1600" i="1" kern="1200" spc="20" baseline="0">
                <a:solidFill>
                  <a:schemeClr val="tx2"/>
                </a:solidFill>
                <a:latin typeface="+mn-lt"/>
                <a:ea typeface="+mn-ea"/>
                <a:cs typeface="+mn-cs"/>
              </a:defRPr>
            </a:lvl9pPr>
          </a:lstStyle>
          <a:p>
            <a:pPr algn="ctr" defTabSz="914126">
              <a:lnSpc>
                <a:spcPct val="100000"/>
              </a:lnSpc>
              <a:spcBef>
                <a:spcPct val="0"/>
              </a:spcBef>
              <a:spcAft>
                <a:spcPct val="0"/>
              </a:spcAft>
            </a:pPr>
            <a:r>
              <a:rPr lang="nl-NL" altLang="en-US" sz="1333" b="1" dirty="0">
                <a:solidFill>
                  <a:srgbClr val="001F4B"/>
                </a:solidFill>
                <a:latin typeface="NLRTM"/>
                <a:ea typeface="Futura Std Medium" charset="0"/>
                <a:cs typeface="Futura Std Medium" charset="0"/>
              </a:rPr>
              <a:t>Bremerhaven</a:t>
            </a:r>
            <a:endParaRPr lang="nl-NL" sz="1467" b="1" dirty="0">
              <a:solidFill>
                <a:srgbClr val="001F4B"/>
              </a:solidFill>
              <a:latin typeface="NLRTM"/>
              <a:ea typeface="Futura Std Medium" charset="0"/>
              <a:cs typeface="Futura Std Medium" charset="0"/>
              <a:sym typeface="+mn-lt"/>
            </a:endParaRPr>
          </a:p>
        </p:txBody>
      </p:sp>
      <p:sp>
        <p:nvSpPr>
          <p:cNvPr id="2" name="Rechthoek 1">
            <a:extLst>
              <a:ext uri="{FF2B5EF4-FFF2-40B4-BE49-F238E27FC236}">
                <a16:creationId xmlns:a16="http://schemas.microsoft.com/office/drawing/2014/main" id="{E249C962-82FC-4B77-9DC6-E83C26969A39}"/>
              </a:ext>
            </a:extLst>
          </p:cNvPr>
          <p:cNvSpPr/>
          <p:nvPr/>
        </p:nvSpPr>
        <p:spPr>
          <a:xfrm>
            <a:off x="5936047" y="3182844"/>
            <a:ext cx="287183" cy="584623"/>
          </a:xfrm>
          <a:prstGeom prst="rect">
            <a:avLst/>
          </a:prstGeom>
        </p:spPr>
        <p:txBody>
          <a:bodyPr wrap="none">
            <a:spAutoFit/>
          </a:bodyPr>
          <a:lstStyle/>
          <a:p>
            <a:pPr defTabSz="1218986"/>
            <a:r>
              <a:rPr lang="nl-NL" sz="3199" dirty="0">
                <a:solidFill>
                  <a:srgbClr val="000000"/>
                </a:solidFill>
                <a:latin typeface="Times New Roman" panose="02020603050405020304" pitchFamily="18" charset="0"/>
              </a:rPr>
              <a:t> </a:t>
            </a:r>
            <a:endParaRPr lang="nl-NL" sz="3199" dirty="0">
              <a:solidFill>
                <a:prstClr val="black"/>
              </a:solidFill>
              <a:latin typeface="NLRTM"/>
            </a:endParaRPr>
          </a:p>
        </p:txBody>
      </p:sp>
      <p:sp>
        <p:nvSpPr>
          <p:cNvPr id="5" name="Tijdelijke aanduiding voor datum 4">
            <a:extLst>
              <a:ext uri="{FF2B5EF4-FFF2-40B4-BE49-F238E27FC236}">
                <a16:creationId xmlns:a16="http://schemas.microsoft.com/office/drawing/2014/main" id="{FDEBF64B-CFF6-49D3-A952-43561AD660A2}"/>
              </a:ext>
            </a:extLst>
          </p:cNvPr>
          <p:cNvSpPr>
            <a:spLocks noGrp="1"/>
          </p:cNvSpPr>
          <p:nvPr>
            <p:ph type="dt" sz="half" idx="10"/>
          </p:nvPr>
        </p:nvSpPr>
        <p:spPr/>
        <p:txBody>
          <a:bodyPr/>
          <a:lstStyle/>
          <a:p>
            <a:pPr defTabSz="1218986"/>
            <a:fld id="{F2A6DC81-EC15-45BB-8236-E1E4C01F6227}" type="datetime4">
              <a:rPr lang="en-GB">
                <a:solidFill>
                  <a:srgbClr val="001F4B"/>
                </a:solidFill>
                <a:latin typeface="NLRTM"/>
              </a:rPr>
              <a:pPr defTabSz="1218986"/>
              <a:t>29 May 2020</a:t>
            </a:fld>
            <a:endParaRPr lang="en-GB" dirty="0">
              <a:solidFill>
                <a:srgbClr val="001F4B"/>
              </a:solidFill>
              <a:latin typeface="NLRTM"/>
            </a:endParaRPr>
          </a:p>
        </p:txBody>
      </p:sp>
      <p:sp>
        <p:nvSpPr>
          <p:cNvPr id="6" name="Tijdelijke aanduiding voor voettekst 5">
            <a:extLst>
              <a:ext uri="{FF2B5EF4-FFF2-40B4-BE49-F238E27FC236}">
                <a16:creationId xmlns:a16="http://schemas.microsoft.com/office/drawing/2014/main" id="{520B3F94-A382-4ED5-A16D-B12DF0820FEC}"/>
              </a:ext>
            </a:extLst>
          </p:cNvPr>
          <p:cNvSpPr>
            <a:spLocks noGrp="1"/>
          </p:cNvSpPr>
          <p:nvPr>
            <p:ph type="ftr" sz="quarter" idx="11"/>
          </p:nvPr>
        </p:nvSpPr>
        <p:spPr/>
        <p:txBody>
          <a:bodyPr/>
          <a:lstStyle/>
          <a:p>
            <a:pPr defTabSz="1218986"/>
            <a:r>
              <a:rPr lang="en-GB">
                <a:solidFill>
                  <a:srgbClr val="001F4B"/>
                </a:solidFill>
                <a:latin typeface="NLRTM"/>
              </a:rPr>
              <a:t>|</a:t>
            </a:r>
            <a:endParaRPr lang="en-GB" dirty="0">
              <a:solidFill>
                <a:srgbClr val="001F4B"/>
              </a:solidFill>
              <a:latin typeface="NLRTM"/>
            </a:endParaRPr>
          </a:p>
        </p:txBody>
      </p:sp>
      <p:sp>
        <p:nvSpPr>
          <p:cNvPr id="7" name="Tijdelijke aanduiding voor dianummer 6">
            <a:extLst>
              <a:ext uri="{FF2B5EF4-FFF2-40B4-BE49-F238E27FC236}">
                <a16:creationId xmlns:a16="http://schemas.microsoft.com/office/drawing/2014/main" id="{CB1FBFC9-5BDA-468A-8C07-B6AF2AA6A6DB}"/>
              </a:ext>
            </a:extLst>
          </p:cNvPr>
          <p:cNvSpPr>
            <a:spLocks noGrp="1"/>
          </p:cNvSpPr>
          <p:nvPr>
            <p:ph type="sldNum" sz="quarter" idx="12"/>
          </p:nvPr>
        </p:nvSpPr>
        <p:spPr/>
        <p:txBody>
          <a:bodyPr/>
          <a:lstStyle/>
          <a:p>
            <a:pPr defTabSz="1218986"/>
            <a:fld id="{534B5F9C-CFE5-4EC6-9BBB-664E2F56B033}" type="slidenum">
              <a:rPr lang="en-GB">
                <a:solidFill>
                  <a:srgbClr val="001F4B"/>
                </a:solidFill>
                <a:latin typeface="NLRTM"/>
              </a:rPr>
              <a:pPr defTabSz="1218986"/>
              <a:t>8</a:t>
            </a:fld>
            <a:endParaRPr lang="en-GB" dirty="0">
              <a:solidFill>
                <a:srgbClr val="001F4B"/>
              </a:solidFill>
              <a:latin typeface="NLRTM"/>
            </a:endParaRPr>
          </a:p>
        </p:txBody>
      </p:sp>
    </p:spTree>
    <p:extLst>
      <p:ext uri="{BB962C8B-B14F-4D97-AF65-F5344CB8AC3E}">
        <p14:creationId xmlns:p14="http://schemas.microsoft.com/office/powerpoint/2010/main" val="2575179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c="http://schemas.openxmlformats.org/drawingml/2006/chart" xmlns:a16="http://schemas.microsoft.com/office/drawing/2014/main">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06C0E073-E9DC-4977-8CA6-1FCBB0D4B996}"/>
              </a:ext>
            </a:extLst>
          </p:cNvPr>
          <p:cNvSpPr>
            <a:spLocks noGrp="1"/>
          </p:cNvSpPr>
          <p:nvPr>
            <p:ph type="title"/>
          </p:nvPr>
        </p:nvSpPr>
        <p:spPr/>
        <p:txBody>
          <a:bodyPr/>
          <a:lstStyle/>
          <a:p>
            <a:r>
              <a:rPr lang="nl-NL" dirty="0"/>
              <a:t>Container </a:t>
            </a:r>
            <a:r>
              <a:rPr lang="nl-NL" dirty="0" err="1"/>
              <a:t>throughput</a:t>
            </a:r>
            <a:r>
              <a:rPr lang="nl-NL" dirty="0"/>
              <a:t> on </a:t>
            </a:r>
            <a:r>
              <a:rPr lang="nl-NL" dirty="0" err="1"/>
              <a:t>the</a:t>
            </a:r>
            <a:r>
              <a:rPr lang="nl-NL" dirty="0"/>
              <a:t> </a:t>
            </a:r>
            <a:r>
              <a:rPr lang="nl-NL" dirty="0" err="1"/>
              <a:t>rise</a:t>
            </a:r>
            <a:r>
              <a:rPr lang="nl-NL" dirty="0"/>
              <a:t> </a:t>
            </a:r>
            <a:br>
              <a:rPr lang="nl-NL" dirty="0"/>
            </a:br>
            <a:r>
              <a:rPr lang="nl-NL" dirty="0"/>
              <a:t>5 </a:t>
            </a:r>
            <a:r>
              <a:rPr lang="nl-NL" dirty="0" err="1"/>
              <a:t>years</a:t>
            </a:r>
            <a:r>
              <a:rPr lang="nl-NL" dirty="0"/>
              <a:t> in a </a:t>
            </a:r>
            <a:r>
              <a:rPr lang="nl-NL" dirty="0" err="1"/>
              <a:t>row</a:t>
            </a:r>
            <a:endParaRPr lang="nl-NL" dirty="0"/>
          </a:p>
        </p:txBody>
      </p:sp>
      <p:sp>
        <p:nvSpPr>
          <p:cNvPr id="3" name="Tijdelijke aanduiding voor verticale tekst 2">
            <a:extLst>
              <a:ext uri="{FF2B5EF4-FFF2-40B4-BE49-F238E27FC236}">
                <a16:creationId xmlns:a16="http://schemas.microsoft.com/office/drawing/2014/main" id="{CFECEC7D-0565-4A66-BA58-8C0D53F23E14}"/>
              </a:ext>
            </a:extLst>
          </p:cNvPr>
          <p:cNvSpPr>
            <a:spLocks noGrp="1"/>
          </p:cNvSpPr>
          <p:nvPr>
            <p:ph type="body" orient="vert" idx="1"/>
          </p:nvPr>
        </p:nvSpPr>
        <p:spPr>
          <a:xfrm>
            <a:off x="472587" y="1420099"/>
            <a:ext cx="11250000" cy="4553403"/>
          </a:xfrm>
        </p:spPr>
        <p:txBody>
          <a:bodyPr/>
          <a:lstStyle/>
          <a:p>
            <a:endParaRPr lang="nl-NL" dirty="0"/>
          </a:p>
        </p:txBody>
      </p:sp>
      <p:sp>
        <p:nvSpPr>
          <p:cNvPr id="4" name="Tijdelijke aanduiding voor datum 3">
            <a:extLst>
              <a:ext uri="{FF2B5EF4-FFF2-40B4-BE49-F238E27FC236}">
                <a16:creationId xmlns:a16="http://schemas.microsoft.com/office/drawing/2014/main" id="{A7B12A09-F86F-4303-AB83-AD8F06C8AA7A}"/>
              </a:ext>
            </a:extLst>
          </p:cNvPr>
          <p:cNvSpPr>
            <a:spLocks noGrp="1"/>
          </p:cNvSpPr>
          <p:nvPr>
            <p:ph type="dt" sz="half" idx="10"/>
          </p:nvPr>
        </p:nvSpPr>
        <p:spPr/>
        <p:txBody>
          <a:bodyPr/>
          <a:lstStyle/>
          <a:p>
            <a:fld id="{F9195E77-E2B1-44A7-95A5-C3CD814302FE}" type="datetime4">
              <a:rPr lang="en-GB" smtClean="0"/>
              <a:t>29 May 2020</a:t>
            </a:fld>
            <a:endParaRPr lang="en-GB" dirty="0"/>
          </a:p>
        </p:txBody>
      </p:sp>
      <p:sp>
        <p:nvSpPr>
          <p:cNvPr id="5" name="Tijdelijke aanduiding voor voettekst 4">
            <a:extLst>
              <a:ext uri="{FF2B5EF4-FFF2-40B4-BE49-F238E27FC236}">
                <a16:creationId xmlns:a16="http://schemas.microsoft.com/office/drawing/2014/main" id="{5D2BC698-1D2A-4C36-B198-B8299A94506E}"/>
              </a:ext>
            </a:extLst>
          </p:cNvPr>
          <p:cNvSpPr>
            <a:spLocks noGrp="1"/>
          </p:cNvSpPr>
          <p:nvPr>
            <p:ph type="ftr" sz="quarter" idx="11"/>
          </p:nvPr>
        </p:nvSpPr>
        <p:spPr/>
        <p:txBody>
          <a:bodyPr/>
          <a:lstStyle/>
          <a:p>
            <a:r>
              <a:rPr lang="en-GB"/>
              <a:t>|</a:t>
            </a:r>
          </a:p>
        </p:txBody>
      </p:sp>
      <p:sp>
        <p:nvSpPr>
          <p:cNvPr id="6" name="Tijdelijke aanduiding voor dianummer 5">
            <a:extLst>
              <a:ext uri="{FF2B5EF4-FFF2-40B4-BE49-F238E27FC236}">
                <a16:creationId xmlns:a16="http://schemas.microsoft.com/office/drawing/2014/main" id="{FFAC7737-02E3-48F2-9145-4CC8A3D5CB09}"/>
              </a:ext>
            </a:extLst>
          </p:cNvPr>
          <p:cNvSpPr>
            <a:spLocks noGrp="1"/>
          </p:cNvSpPr>
          <p:nvPr>
            <p:ph type="sldNum" sz="quarter" idx="12"/>
          </p:nvPr>
        </p:nvSpPr>
        <p:spPr/>
        <p:txBody>
          <a:bodyPr/>
          <a:lstStyle/>
          <a:p>
            <a:fld id="{534B5F9C-CFE5-4EC6-9BBB-664E2F56B033}" type="slidenum">
              <a:rPr lang="en-GB" smtClean="0"/>
              <a:t>9</a:t>
            </a:fld>
            <a:endParaRPr lang="en-GB"/>
          </a:p>
        </p:txBody>
      </p:sp>
      <p:grpSp>
        <p:nvGrpSpPr>
          <p:cNvPr id="12" name="Groep 11">
            <a:extLst>
              <a:ext uri="{FF2B5EF4-FFF2-40B4-BE49-F238E27FC236}">
                <a16:creationId xmlns:a16="http://schemas.microsoft.com/office/drawing/2014/main" id="{57E57357-360C-4E1C-BB0D-B13BA1500A6A}"/>
              </a:ext>
            </a:extLst>
          </p:cNvPr>
          <p:cNvGrpSpPr/>
          <p:nvPr/>
        </p:nvGrpSpPr>
        <p:grpSpPr>
          <a:xfrm>
            <a:off x="1533526" y="1800752"/>
            <a:ext cx="10016396" cy="3430816"/>
            <a:chOff x="1440281" y="1129004"/>
            <a:chExt cx="2433345" cy="2704809"/>
          </a:xfrm>
          <a:solidFill>
            <a:schemeClr val="accent2">
              <a:lumMod val="75000"/>
              <a:alpha val="30000"/>
            </a:schemeClr>
          </a:solidFill>
        </p:grpSpPr>
        <p:sp>
          <p:nvSpPr>
            <p:cNvPr id="13" name="Rechthoek 12">
              <a:extLst>
                <a:ext uri="{FF2B5EF4-FFF2-40B4-BE49-F238E27FC236}">
                  <a16:creationId xmlns:a16="http://schemas.microsoft.com/office/drawing/2014/main" id="{479FB94D-7D5C-4BD3-959B-EFD27144D4EF}"/>
                </a:ext>
              </a:extLst>
            </p:cNvPr>
            <p:cNvSpPr/>
            <p:nvPr/>
          </p:nvSpPr>
          <p:spPr>
            <a:xfrm>
              <a:off x="1440281" y="1129004"/>
              <a:ext cx="487752" cy="270480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nl-NL">
                <a:solidFill>
                  <a:prstClr val="white"/>
                </a:solidFill>
              </a:endParaRPr>
            </a:p>
          </p:txBody>
        </p:sp>
        <p:sp>
          <p:nvSpPr>
            <p:cNvPr id="14" name="Rechthoek 13">
              <a:extLst>
                <a:ext uri="{FF2B5EF4-FFF2-40B4-BE49-F238E27FC236}">
                  <a16:creationId xmlns:a16="http://schemas.microsoft.com/office/drawing/2014/main" id="{AA4A2F98-A4BF-4348-A8C7-ECDB1D3603AD}"/>
                </a:ext>
              </a:extLst>
            </p:cNvPr>
            <p:cNvSpPr/>
            <p:nvPr/>
          </p:nvSpPr>
          <p:spPr>
            <a:xfrm>
              <a:off x="2413310" y="1129004"/>
              <a:ext cx="488601" cy="270480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nl-NL">
                <a:solidFill>
                  <a:prstClr val="white"/>
                </a:solidFill>
              </a:endParaRPr>
            </a:p>
          </p:txBody>
        </p:sp>
        <p:sp>
          <p:nvSpPr>
            <p:cNvPr id="15" name="Rechthoek 14">
              <a:extLst>
                <a:ext uri="{FF2B5EF4-FFF2-40B4-BE49-F238E27FC236}">
                  <a16:creationId xmlns:a16="http://schemas.microsoft.com/office/drawing/2014/main" id="{C268417B-63EE-448F-BDA1-E7C3C350C9AD}"/>
                </a:ext>
              </a:extLst>
            </p:cNvPr>
            <p:cNvSpPr/>
            <p:nvPr/>
          </p:nvSpPr>
          <p:spPr>
            <a:xfrm>
              <a:off x="3385527" y="1129004"/>
              <a:ext cx="488099" cy="270480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nl-NL">
                <a:solidFill>
                  <a:prstClr val="white"/>
                </a:solidFill>
              </a:endParaRPr>
            </a:p>
          </p:txBody>
        </p:sp>
      </p:grpSp>
      <p:graphicFrame>
        <p:nvGraphicFramePr>
          <p:cNvPr id="16" name="Tijdelijke aanduiding voor inhoud 7">
            <a:extLst>
              <a:ext uri="{FF2B5EF4-FFF2-40B4-BE49-F238E27FC236}">
                <a16:creationId xmlns:a16="http://schemas.microsoft.com/office/drawing/2014/main" id="{67185001-AC54-4578-AAFA-8B87ECEC9F5A}"/>
              </a:ext>
            </a:extLst>
          </p:cNvPr>
          <p:cNvGraphicFramePr>
            <a:graphicFrameLocks/>
          </p:cNvGraphicFramePr>
          <p:nvPr>
            <p:extLst>
              <p:ext uri="{D42A27DB-BD31-4B8C-83A1-F6EECF244321}">
                <p14:modId xmlns:p14="http://schemas.microsoft.com/office/powerpoint/2010/main" val="1954718524"/>
              </p:ext>
            </p:extLst>
          </p:nvPr>
        </p:nvGraphicFramePr>
        <p:xfrm>
          <a:off x="1" y="1439056"/>
          <a:ext cx="12195175" cy="4002374"/>
        </p:xfrm>
        <a:graphic>
          <a:graphicData uri="http://schemas.openxmlformats.org/drawingml/2006/chart">
            <c:chart xmlns:c="http://schemas.openxmlformats.org/drawingml/2006/chart" xmlns:r="http://schemas.openxmlformats.org/officeDocument/2006/relationships" r:id="rId4"/>
          </a:graphicData>
        </a:graphic>
      </p:graphicFrame>
      <p:sp>
        <p:nvSpPr>
          <p:cNvPr id="17" name="Tekstvak 16">
            <a:extLst>
              <a:ext uri="{FF2B5EF4-FFF2-40B4-BE49-F238E27FC236}">
                <a16:creationId xmlns:a16="http://schemas.microsoft.com/office/drawing/2014/main" id="{0671981F-AE0C-4BAD-B1E0-183B74B60A59}"/>
              </a:ext>
            </a:extLst>
          </p:cNvPr>
          <p:cNvSpPr txBox="1"/>
          <p:nvPr/>
        </p:nvSpPr>
        <p:spPr>
          <a:xfrm>
            <a:off x="2066576" y="1429273"/>
            <a:ext cx="941635" cy="421513"/>
          </a:xfrm>
          <a:prstGeom prst="rect">
            <a:avLst/>
          </a:prstGeom>
          <a:noFill/>
        </p:spPr>
        <p:txBody>
          <a:bodyPr wrap="square" rtlCol="0" anchor="b" anchorCtr="0">
            <a:spAutoFit/>
          </a:bodyPr>
          <a:lstStyle/>
          <a:p>
            <a:pPr algn="ctr" fontAlgn="base">
              <a:spcBef>
                <a:spcPct val="0"/>
              </a:spcBef>
              <a:spcAft>
                <a:spcPct val="0"/>
              </a:spcAft>
            </a:pPr>
            <a:r>
              <a:rPr lang="nl-NL" sz="2100" b="1" dirty="0">
                <a:solidFill>
                  <a:srgbClr val="001F4B"/>
                </a:solidFill>
              </a:rPr>
              <a:t>2015</a:t>
            </a:r>
          </a:p>
        </p:txBody>
      </p:sp>
      <p:sp>
        <p:nvSpPr>
          <p:cNvPr id="18" name="Tekstvak 17">
            <a:extLst>
              <a:ext uri="{FF2B5EF4-FFF2-40B4-BE49-F238E27FC236}">
                <a16:creationId xmlns:a16="http://schemas.microsoft.com/office/drawing/2014/main" id="{D858F2AC-CE9E-45AF-80D5-84B996B2A53F}"/>
              </a:ext>
            </a:extLst>
          </p:cNvPr>
          <p:cNvSpPr txBox="1"/>
          <p:nvPr/>
        </p:nvSpPr>
        <p:spPr>
          <a:xfrm>
            <a:off x="4068563" y="1413903"/>
            <a:ext cx="941635" cy="421513"/>
          </a:xfrm>
          <a:prstGeom prst="rect">
            <a:avLst/>
          </a:prstGeom>
          <a:noFill/>
        </p:spPr>
        <p:txBody>
          <a:bodyPr wrap="square" rtlCol="0" anchor="b" anchorCtr="0">
            <a:spAutoFit/>
          </a:bodyPr>
          <a:lstStyle/>
          <a:p>
            <a:pPr algn="ctr" fontAlgn="base">
              <a:spcBef>
                <a:spcPct val="0"/>
              </a:spcBef>
              <a:spcAft>
                <a:spcPct val="0"/>
              </a:spcAft>
            </a:pPr>
            <a:r>
              <a:rPr lang="nl-NL" sz="2100" b="1" dirty="0">
                <a:solidFill>
                  <a:srgbClr val="001F4B"/>
                </a:solidFill>
              </a:rPr>
              <a:t>2016</a:t>
            </a:r>
          </a:p>
        </p:txBody>
      </p:sp>
      <p:sp>
        <p:nvSpPr>
          <p:cNvPr id="19" name="Tekstvak 18">
            <a:extLst>
              <a:ext uri="{FF2B5EF4-FFF2-40B4-BE49-F238E27FC236}">
                <a16:creationId xmlns:a16="http://schemas.microsoft.com/office/drawing/2014/main" id="{027070B7-C135-4AD1-BEF9-7028B0781ED1}"/>
              </a:ext>
            </a:extLst>
          </p:cNvPr>
          <p:cNvSpPr txBox="1"/>
          <p:nvPr/>
        </p:nvSpPr>
        <p:spPr>
          <a:xfrm>
            <a:off x="6070548" y="1409219"/>
            <a:ext cx="941635" cy="421513"/>
          </a:xfrm>
          <a:prstGeom prst="rect">
            <a:avLst/>
          </a:prstGeom>
          <a:noFill/>
        </p:spPr>
        <p:txBody>
          <a:bodyPr wrap="square" rtlCol="0" anchor="b" anchorCtr="0">
            <a:spAutoFit/>
          </a:bodyPr>
          <a:lstStyle/>
          <a:p>
            <a:pPr algn="ctr" fontAlgn="base">
              <a:spcBef>
                <a:spcPct val="0"/>
              </a:spcBef>
              <a:spcAft>
                <a:spcPct val="0"/>
              </a:spcAft>
            </a:pPr>
            <a:r>
              <a:rPr lang="nl-NL" sz="2100" b="1" dirty="0">
                <a:solidFill>
                  <a:srgbClr val="001F4B"/>
                </a:solidFill>
              </a:rPr>
              <a:t>2017</a:t>
            </a:r>
          </a:p>
        </p:txBody>
      </p:sp>
      <p:sp>
        <p:nvSpPr>
          <p:cNvPr id="20" name="Tekstvak 19">
            <a:extLst>
              <a:ext uri="{FF2B5EF4-FFF2-40B4-BE49-F238E27FC236}">
                <a16:creationId xmlns:a16="http://schemas.microsoft.com/office/drawing/2014/main" id="{220CB325-8680-4194-A119-8C3D319A0E0D}"/>
              </a:ext>
            </a:extLst>
          </p:cNvPr>
          <p:cNvSpPr txBox="1"/>
          <p:nvPr/>
        </p:nvSpPr>
        <p:spPr>
          <a:xfrm>
            <a:off x="8061260" y="1416570"/>
            <a:ext cx="941635" cy="421513"/>
          </a:xfrm>
          <a:prstGeom prst="rect">
            <a:avLst/>
          </a:prstGeom>
          <a:noFill/>
        </p:spPr>
        <p:txBody>
          <a:bodyPr wrap="square" rtlCol="0" anchor="b" anchorCtr="0">
            <a:spAutoFit/>
          </a:bodyPr>
          <a:lstStyle/>
          <a:p>
            <a:pPr algn="ctr" fontAlgn="base">
              <a:spcBef>
                <a:spcPct val="0"/>
              </a:spcBef>
              <a:spcAft>
                <a:spcPct val="0"/>
              </a:spcAft>
            </a:pPr>
            <a:r>
              <a:rPr lang="nl-NL" sz="2100" b="1" dirty="0">
                <a:solidFill>
                  <a:srgbClr val="001F4B"/>
                </a:solidFill>
              </a:rPr>
              <a:t>2018</a:t>
            </a:r>
          </a:p>
        </p:txBody>
      </p:sp>
      <p:sp>
        <p:nvSpPr>
          <p:cNvPr id="21" name="Tekstvak 20">
            <a:extLst>
              <a:ext uri="{FF2B5EF4-FFF2-40B4-BE49-F238E27FC236}">
                <a16:creationId xmlns:a16="http://schemas.microsoft.com/office/drawing/2014/main" id="{CD00B69C-4518-473C-9790-DF7B746E7BD2}"/>
              </a:ext>
            </a:extLst>
          </p:cNvPr>
          <p:cNvSpPr txBox="1"/>
          <p:nvPr/>
        </p:nvSpPr>
        <p:spPr>
          <a:xfrm>
            <a:off x="10074521" y="1416570"/>
            <a:ext cx="941635" cy="421513"/>
          </a:xfrm>
          <a:prstGeom prst="rect">
            <a:avLst/>
          </a:prstGeom>
          <a:noFill/>
        </p:spPr>
        <p:txBody>
          <a:bodyPr wrap="square" rtlCol="0" anchor="b" anchorCtr="0">
            <a:spAutoFit/>
          </a:bodyPr>
          <a:lstStyle/>
          <a:p>
            <a:pPr algn="ctr" fontAlgn="base">
              <a:spcBef>
                <a:spcPct val="0"/>
              </a:spcBef>
              <a:spcAft>
                <a:spcPct val="0"/>
              </a:spcAft>
            </a:pPr>
            <a:r>
              <a:rPr lang="nl-NL" sz="2100" b="1" dirty="0">
                <a:solidFill>
                  <a:srgbClr val="001F4B"/>
                </a:solidFill>
              </a:rPr>
              <a:t>2019</a:t>
            </a:r>
          </a:p>
        </p:txBody>
      </p:sp>
      <p:sp>
        <p:nvSpPr>
          <p:cNvPr id="2" name="Rechthoek 1">
            <a:extLst>
              <a:ext uri="{FF2B5EF4-FFF2-40B4-BE49-F238E27FC236}">
                <a16:creationId xmlns:a16="http://schemas.microsoft.com/office/drawing/2014/main" id="{BE00CEFB-F193-4020-B5D2-258AFE8AA12B}"/>
              </a:ext>
            </a:extLst>
          </p:cNvPr>
          <p:cNvSpPr/>
          <p:nvPr/>
        </p:nvSpPr>
        <p:spPr>
          <a:xfrm>
            <a:off x="1524003" y="5361218"/>
            <a:ext cx="920445" cy="215444"/>
          </a:xfrm>
          <a:prstGeom prst="rect">
            <a:avLst/>
          </a:prstGeom>
        </p:spPr>
        <p:txBody>
          <a:bodyPr wrap="none">
            <a:spAutoFit/>
          </a:bodyPr>
          <a:lstStyle/>
          <a:p>
            <a:r>
              <a:rPr lang="nl-NL" sz="800" dirty="0">
                <a:solidFill>
                  <a:schemeClr val="tx2"/>
                </a:solidFill>
              </a:rPr>
              <a:t>In TEU per </a:t>
            </a:r>
            <a:r>
              <a:rPr lang="nl-NL" sz="800" dirty="0" err="1">
                <a:solidFill>
                  <a:schemeClr val="tx2"/>
                </a:solidFill>
              </a:rPr>
              <a:t>year</a:t>
            </a:r>
            <a:endParaRPr lang="nl-NL" sz="800" dirty="0">
              <a:solidFill>
                <a:schemeClr val="tx2"/>
              </a:solidFill>
            </a:endParaRPr>
          </a:p>
        </p:txBody>
      </p:sp>
    </p:spTree>
    <p:custDataLst>
      <p:tags r:id="rId1"/>
    </p:custDataLst>
    <p:extLst>
      <p:ext uri="{BB962C8B-B14F-4D97-AF65-F5344CB8AC3E}">
        <p14:creationId xmlns:p14="http://schemas.microsoft.com/office/powerpoint/2010/main" val="3757465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down)">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6" grpId="0">
        <p:bldAsOne/>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 val="a481d4bd8fdcad33681b94c2150fec594f4c7e"/>
  <p:tag name="ISPRING_RESOURCE_PATHS_HASH_PRESENTER" val="cc1b97c5b28f9cdb56dcde4ce802691b3c890f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QdZAzkOTc2q9GaDcRLHPw"/>
  <p:tag name="TEMPLAFYSLIDEID" val="637195223037523656"/>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nQYRlvYQUupqyofiSC6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WTPPueZRiKFszmcZGH8bQ"/>
</p:tagLst>
</file>

<file path=ppt/tags/tag13.xml><?xml version="1.0" encoding="utf-8"?>
<p:tagLst xmlns:a="http://schemas.openxmlformats.org/drawingml/2006/main" xmlns:r="http://schemas.openxmlformats.org/officeDocument/2006/relationships" xmlns:p="http://schemas.openxmlformats.org/presentationml/2006/main">
  <p:tag name="TEMPLAFYSLIDEID" val="637187361349037411"/>
</p:tagLst>
</file>

<file path=ppt/tags/tag14.xml><?xml version="1.0" encoding="utf-8"?>
<p:tagLst xmlns:a="http://schemas.openxmlformats.org/drawingml/2006/main" xmlns:r="http://schemas.openxmlformats.org/officeDocument/2006/relationships" xmlns:p="http://schemas.openxmlformats.org/presentationml/2006/main">
  <p:tag name="TEMPLAFYSLIDEID" val="637187361349037412"/>
</p:tagLst>
</file>

<file path=ppt/tags/tag15.xml><?xml version="1.0" encoding="utf-8"?>
<p:tagLst xmlns:a="http://schemas.openxmlformats.org/drawingml/2006/main" xmlns:r="http://schemas.openxmlformats.org/officeDocument/2006/relationships" xmlns:p="http://schemas.openxmlformats.org/presentationml/2006/main">
  <p:tag name="TEMPLAFYSLIDEID" val="637195223037367374"/>
</p:tagLst>
</file>

<file path=ppt/tags/tag16.xml><?xml version="1.0" encoding="utf-8"?>
<p:tagLst xmlns:a="http://schemas.openxmlformats.org/drawingml/2006/main" xmlns:r="http://schemas.openxmlformats.org/officeDocument/2006/relationships" xmlns:p="http://schemas.openxmlformats.org/presentationml/2006/main">
  <p:tag name="TEMPLAFYSLIDEID" val="637195223037679676"/>
</p:tagLst>
</file>

<file path=ppt/tags/tag17.xml><?xml version="1.0" encoding="utf-8"?>
<p:tagLst xmlns:a="http://schemas.openxmlformats.org/drawingml/2006/main" xmlns:r="http://schemas.openxmlformats.org/officeDocument/2006/relationships" xmlns:p="http://schemas.openxmlformats.org/presentationml/2006/main">
  <p:tag name="TEMPLAFYSLIDEID" val="637195223037679677"/>
</p:tagLst>
</file>

<file path=ppt/tags/tag18.xml><?xml version="1.0" encoding="utf-8"?>
<p:tagLst xmlns:a="http://schemas.openxmlformats.org/drawingml/2006/main" xmlns:r="http://schemas.openxmlformats.org/officeDocument/2006/relationships" xmlns:p="http://schemas.openxmlformats.org/presentationml/2006/main">
  <p:tag name="TEMPLAFYSLIDEID" val="637195223037679678"/>
</p:tagLst>
</file>

<file path=ppt/tags/tag19.xml><?xml version="1.0" encoding="utf-8"?>
<p:tagLst xmlns:a="http://schemas.openxmlformats.org/drawingml/2006/main" xmlns:r="http://schemas.openxmlformats.org/officeDocument/2006/relationships" xmlns:p="http://schemas.openxmlformats.org/presentationml/2006/main">
  <p:tag name="TEMPLAFYSLIDEID" val="637195223037835848"/>
</p:tagLst>
</file>

<file path=ppt/tags/tag2.xml><?xml version="1.0" encoding="utf-8"?>
<p:tagLst xmlns:a="http://schemas.openxmlformats.org/drawingml/2006/main" xmlns:r="http://schemas.openxmlformats.org/officeDocument/2006/relationships" xmlns:p="http://schemas.openxmlformats.org/presentationml/2006/main">
  <p:tag name="TEMPLAFYSLIDEID" val="637195223037211045"/>
</p:tagLst>
</file>

<file path=ppt/tags/tag20.xml><?xml version="1.0" encoding="utf-8"?>
<p:tagLst xmlns:a="http://schemas.openxmlformats.org/drawingml/2006/main" xmlns:r="http://schemas.openxmlformats.org/officeDocument/2006/relationships" xmlns:p="http://schemas.openxmlformats.org/presentationml/2006/main">
  <p:tag name="TEMPLAFYSLIDEID" val="637195223037835849"/>
</p:tagLst>
</file>

<file path=ppt/tags/tag21.xml><?xml version="1.0" encoding="utf-8"?>
<p:tagLst xmlns:a="http://schemas.openxmlformats.org/drawingml/2006/main" xmlns:r="http://schemas.openxmlformats.org/officeDocument/2006/relationships" xmlns:p="http://schemas.openxmlformats.org/presentationml/2006/main">
  <p:tag name="TEMPLAFYSLIDEID" val="637195223038148825"/>
</p:tagLst>
</file>

<file path=ppt/tags/tag22.xml><?xml version="1.0" encoding="utf-8"?>
<p:tagLst xmlns:a="http://schemas.openxmlformats.org/drawingml/2006/main" xmlns:r="http://schemas.openxmlformats.org/officeDocument/2006/relationships" xmlns:p="http://schemas.openxmlformats.org/presentationml/2006/main">
  <p:tag name="TEMPLAFYSLIDEID" val="637195223038148826"/>
</p:tagLst>
</file>

<file path=ppt/tags/tag23.xml><?xml version="1.0" encoding="utf-8"?>
<p:tagLst xmlns:a="http://schemas.openxmlformats.org/drawingml/2006/main" xmlns:r="http://schemas.openxmlformats.org/officeDocument/2006/relationships" xmlns:p="http://schemas.openxmlformats.org/presentationml/2006/main">
  <p:tag name="TEMPLAFYSLIDEID" val="637195223038461102"/>
</p:tagLst>
</file>

<file path=ppt/tags/tag24.xml><?xml version="1.0" encoding="utf-8"?>
<p:tagLst xmlns:a="http://schemas.openxmlformats.org/drawingml/2006/main" xmlns:r="http://schemas.openxmlformats.org/officeDocument/2006/relationships" xmlns:p="http://schemas.openxmlformats.org/presentationml/2006/main">
  <p:tag name="TEMPLAFYSLIDEID" val="637195223038461103"/>
</p:tagLst>
</file>

<file path=ppt/tags/tag25.xml><?xml version="1.0" encoding="utf-8"?>
<p:tagLst xmlns:a="http://schemas.openxmlformats.org/drawingml/2006/main" xmlns:r="http://schemas.openxmlformats.org/officeDocument/2006/relationships" xmlns:p="http://schemas.openxmlformats.org/presentationml/2006/main">
  <p:tag name="TEMPLAFYSLIDEID" val="637195223039590700"/>
</p:tagLst>
</file>

<file path=ppt/tags/tag26.xml><?xml version="1.0" encoding="utf-8"?>
<p:tagLst xmlns:a="http://schemas.openxmlformats.org/drawingml/2006/main" xmlns:r="http://schemas.openxmlformats.org/officeDocument/2006/relationships" xmlns:p="http://schemas.openxmlformats.org/presentationml/2006/main">
  <p:tag name="TEMPLAFYSLIDEID" val="637195223039590701"/>
</p:tagLst>
</file>

<file path=ppt/tags/tag27.xml><?xml version="1.0" encoding="utf-8"?>
<p:tagLst xmlns:a="http://schemas.openxmlformats.org/drawingml/2006/main" xmlns:r="http://schemas.openxmlformats.org/officeDocument/2006/relationships" xmlns:p="http://schemas.openxmlformats.org/presentationml/2006/main">
  <p:tag name="TEMPLAFYSLIDEID" val="637195223039590703"/>
</p:tagLst>
</file>

<file path=ppt/tags/tag28.xml><?xml version="1.0" encoding="utf-8"?>
<p:tagLst xmlns:a="http://schemas.openxmlformats.org/drawingml/2006/main" xmlns:r="http://schemas.openxmlformats.org/officeDocument/2006/relationships" xmlns:p="http://schemas.openxmlformats.org/presentationml/2006/main">
  <p:tag name="TEMPLAFYSLIDEID" val="637195223039590704"/>
</p:tagLst>
</file>

<file path=ppt/tags/tag29.xml><?xml version="1.0" encoding="utf-8"?>
<p:tagLst xmlns:a="http://schemas.openxmlformats.org/drawingml/2006/main" xmlns:r="http://schemas.openxmlformats.org/officeDocument/2006/relationships" xmlns:p="http://schemas.openxmlformats.org/presentationml/2006/main">
  <p:tag name="TEMPLAFYSLIDEID" val="637195223039590705"/>
</p:tagLst>
</file>

<file path=ppt/tags/tag3.xml><?xml version="1.0" encoding="utf-8"?>
<p:tagLst xmlns:a="http://schemas.openxmlformats.org/drawingml/2006/main" xmlns:r="http://schemas.openxmlformats.org/officeDocument/2006/relationships" xmlns:p="http://schemas.openxmlformats.org/presentationml/2006/main">
  <p:tag name="TEMPLAFYSLIDEID" val="637195223037367372"/>
</p:tagLst>
</file>

<file path=ppt/tags/tag30.xml><?xml version="1.0" encoding="utf-8"?>
<p:tagLst xmlns:a="http://schemas.openxmlformats.org/drawingml/2006/main" xmlns:r="http://schemas.openxmlformats.org/officeDocument/2006/relationships" xmlns:p="http://schemas.openxmlformats.org/presentationml/2006/main">
  <p:tag name="TEMPLAFYSLIDEID" val="637195223039710719"/>
</p:tagLst>
</file>

<file path=ppt/tags/tag31.xml><?xml version="1.0" encoding="utf-8"?>
<p:tagLst xmlns:a="http://schemas.openxmlformats.org/drawingml/2006/main" xmlns:r="http://schemas.openxmlformats.org/officeDocument/2006/relationships" xmlns:p="http://schemas.openxmlformats.org/presentationml/2006/main">
  <p:tag name="TEMPLAFYSLIDEID" val="637195223039710720"/>
</p:tagLst>
</file>

<file path=ppt/tags/tag32.xml><?xml version="1.0" encoding="utf-8"?>
<p:tagLst xmlns:a="http://schemas.openxmlformats.org/drawingml/2006/main" xmlns:r="http://schemas.openxmlformats.org/officeDocument/2006/relationships" xmlns:p="http://schemas.openxmlformats.org/presentationml/2006/main">
  <p:tag name="TEMPLAFYSLIDEID" val="637195223039710721"/>
</p:tagLst>
</file>

<file path=ppt/tags/tag33.xml><?xml version="1.0" encoding="utf-8"?>
<p:tagLst xmlns:a="http://schemas.openxmlformats.org/drawingml/2006/main" xmlns:r="http://schemas.openxmlformats.org/officeDocument/2006/relationships" xmlns:p="http://schemas.openxmlformats.org/presentationml/2006/main">
  <p:tag name="TEMPLAFYSLIDEID" val="637195223039710722"/>
</p:tagLst>
</file>

<file path=ppt/tags/tag34.xml><?xml version="1.0" encoding="utf-8"?>
<p:tagLst xmlns:a="http://schemas.openxmlformats.org/drawingml/2006/main" xmlns:r="http://schemas.openxmlformats.org/officeDocument/2006/relationships" xmlns:p="http://schemas.openxmlformats.org/presentationml/2006/main">
  <p:tag name="TEMPLAFYSLIDEID" val="637195223039869736"/>
</p:tagLst>
</file>

<file path=ppt/tags/tag35.xml><?xml version="1.0" encoding="utf-8"?>
<p:tagLst xmlns:a="http://schemas.openxmlformats.org/drawingml/2006/main" xmlns:r="http://schemas.openxmlformats.org/officeDocument/2006/relationships" xmlns:p="http://schemas.openxmlformats.org/presentationml/2006/main">
  <p:tag name="TEMPLAFYSLIDEID" val="637195223039869737"/>
</p:tagLst>
</file>

<file path=ppt/tags/tag36.xml><?xml version="1.0" encoding="utf-8"?>
<p:tagLst xmlns:a="http://schemas.openxmlformats.org/drawingml/2006/main" xmlns:r="http://schemas.openxmlformats.org/officeDocument/2006/relationships" xmlns:p="http://schemas.openxmlformats.org/presentationml/2006/main">
  <p:tag name="TEMPLAFYSLIDEID" val="637195223042061294"/>
</p:tagLst>
</file>

<file path=ppt/tags/tag37.xml><?xml version="1.0" encoding="utf-8"?>
<p:tagLst xmlns:a="http://schemas.openxmlformats.org/drawingml/2006/main" xmlns:r="http://schemas.openxmlformats.org/officeDocument/2006/relationships" xmlns:p="http://schemas.openxmlformats.org/presentationml/2006/main">
  <p:tag name="TEMPLAFYSLIDEID" val="637195223042061295"/>
</p:tagLst>
</file>

<file path=ppt/tags/tag38.xml><?xml version="1.0" encoding="utf-8"?>
<p:tagLst xmlns:a="http://schemas.openxmlformats.org/drawingml/2006/main" xmlns:r="http://schemas.openxmlformats.org/officeDocument/2006/relationships" xmlns:p="http://schemas.openxmlformats.org/presentationml/2006/main">
  <p:tag name="TEMPLAFYSLIDEID" val="637195223042211523"/>
</p:tagLst>
</file>

<file path=ppt/tags/tag39.xml><?xml version="1.0" encoding="utf-8"?>
<p:tagLst xmlns:a="http://schemas.openxmlformats.org/drawingml/2006/main" xmlns:r="http://schemas.openxmlformats.org/officeDocument/2006/relationships" xmlns:p="http://schemas.openxmlformats.org/presentationml/2006/main">
  <p:tag name="TEMPLAFYSLIDEID" val="637195223042211524"/>
</p:tagLst>
</file>

<file path=ppt/tags/tag4.xml><?xml version="1.0" encoding="utf-8"?>
<p:tagLst xmlns:a="http://schemas.openxmlformats.org/drawingml/2006/main" xmlns:r="http://schemas.openxmlformats.org/officeDocument/2006/relationships" xmlns:p="http://schemas.openxmlformats.org/presentationml/2006/main">
  <p:tag name="TEMPLAFYSLIDEID" val="637195223037367373"/>
</p:tagLst>
</file>

<file path=ppt/tags/tag40.xml><?xml version="1.0" encoding="utf-8"?>
<p:tagLst xmlns:a="http://schemas.openxmlformats.org/drawingml/2006/main" xmlns:r="http://schemas.openxmlformats.org/officeDocument/2006/relationships" xmlns:p="http://schemas.openxmlformats.org/presentationml/2006/main">
  <p:tag name="TEMPLAFYSLIDEID" val="637195223042211525"/>
</p:tagLst>
</file>

<file path=ppt/tags/tag41.xml><?xml version="1.0" encoding="utf-8"?>
<p:tagLst xmlns:a="http://schemas.openxmlformats.org/drawingml/2006/main" xmlns:r="http://schemas.openxmlformats.org/officeDocument/2006/relationships" xmlns:p="http://schemas.openxmlformats.org/presentationml/2006/main">
  <p:tag name="TEMPLAFYSLIDEID" val="637195223042211526"/>
</p:tagLst>
</file>

<file path=ppt/tags/tag42.xml><?xml version="1.0" encoding="utf-8"?>
<p:tagLst xmlns:a="http://schemas.openxmlformats.org/drawingml/2006/main" xmlns:r="http://schemas.openxmlformats.org/officeDocument/2006/relationships" xmlns:p="http://schemas.openxmlformats.org/presentationml/2006/main">
  <p:tag name="TEMPLAFYSLIDEID" val="637195223042211527"/>
</p:tagLst>
</file>

<file path=ppt/tags/tag43.xml><?xml version="1.0" encoding="utf-8"?>
<p:tagLst xmlns:a="http://schemas.openxmlformats.org/drawingml/2006/main" xmlns:r="http://schemas.openxmlformats.org/officeDocument/2006/relationships" xmlns:p="http://schemas.openxmlformats.org/presentationml/2006/main">
  <p:tag name="TEMPLAFYSLIDEID" val="637195223042211528"/>
</p:tagLst>
</file>

<file path=ppt/tags/tag44.xml><?xml version="1.0" encoding="utf-8"?>
<p:tagLst xmlns:a="http://schemas.openxmlformats.org/drawingml/2006/main" xmlns:r="http://schemas.openxmlformats.org/officeDocument/2006/relationships" xmlns:p="http://schemas.openxmlformats.org/presentationml/2006/main">
  <p:tag name="TEMPLAFYSLIDEID" val="637195223039590702"/>
</p:tagLst>
</file>

<file path=ppt/tags/tag45.xml><?xml version="1.0" encoding="utf-8"?>
<p:tagLst xmlns:a="http://schemas.openxmlformats.org/drawingml/2006/main" xmlns:r="http://schemas.openxmlformats.org/officeDocument/2006/relationships" xmlns:p="http://schemas.openxmlformats.org/presentationml/2006/main">
  <p:tag name="TEMPLAFYSLIDEID" val="637195223039590702"/>
</p:tagLst>
</file>

<file path=ppt/tags/tag5.xml><?xml version="1.0" encoding="utf-8"?>
<p:tagLst xmlns:a="http://schemas.openxmlformats.org/drawingml/2006/main" xmlns:r="http://schemas.openxmlformats.org/officeDocument/2006/relationships" xmlns:p="http://schemas.openxmlformats.org/presentationml/2006/main">
  <p:tag name="TEMPLAFYSLIDEID" val="637195223037367375"/>
</p:tagLst>
</file>

<file path=ppt/tags/tag6.xml><?xml version="1.0" encoding="utf-8"?>
<p:tagLst xmlns:a="http://schemas.openxmlformats.org/drawingml/2006/main" xmlns:r="http://schemas.openxmlformats.org/officeDocument/2006/relationships" xmlns:p="http://schemas.openxmlformats.org/presentationml/2006/main">
  <p:tag name="TEMPLAFYSLIDEID" val="637195223037367376"/>
</p:tagLst>
</file>

<file path=ppt/tags/tag7.xml><?xml version="1.0" encoding="utf-8"?>
<p:tagLst xmlns:a="http://schemas.openxmlformats.org/drawingml/2006/main" xmlns:r="http://schemas.openxmlformats.org/officeDocument/2006/relationships" xmlns:p="http://schemas.openxmlformats.org/presentationml/2006/main">
  <p:tag name="TEMPLAFYSLIDEID" val="637195223037367377"/>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0Zpq136Qli6mFjNZuuYM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wo_X63BSbSlJJ8jbeyMVQ"/>
</p:tagLst>
</file>

<file path=ppt/theme/theme1.xml><?xml version="1.0" encoding="utf-8"?>
<a:theme xmlns:a="http://schemas.openxmlformats.org/drawingml/2006/main" name="Tekst slide basis (lichtblauw) NLRTM">
  <a:themeElements>
    <a:clrScheme name="Port of Rotterdam">
      <a:dk1>
        <a:sysClr val="windowText" lastClr="000000"/>
      </a:dk1>
      <a:lt1>
        <a:sysClr val="window" lastClr="FFFFFF"/>
      </a:lt1>
      <a:dk2>
        <a:srgbClr val="001F4B"/>
      </a:dk2>
      <a:lt2>
        <a:srgbClr val="FFD800"/>
      </a:lt2>
      <a:accent1>
        <a:srgbClr val="009CD6"/>
      </a:accent1>
      <a:accent2>
        <a:srgbClr val="C4BFB9"/>
      </a:accent2>
      <a:accent3>
        <a:srgbClr val="CDCD00"/>
      </a:accent3>
      <a:accent4>
        <a:srgbClr val="D9EBF8"/>
      </a:accent4>
      <a:accent5>
        <a:srgbClr val="F39900"/>
      </a:accent5>
      <a:accent6>
        <a:srgbClr val="003076"/>
      </a:accent6>
      <a:hlink>
        <a:srgbClr val="FF2180"/>
      </a:hlink>
      <a:folHlink>
        <a:srgbClr val="FF0505"/>
      </a:folHlink>
    </a:clrScheme>
    <a:fontScheme name="Aangepast 1">
      <a:majorFont>
        <a:latin typeface="NLRTM Bold"/>
        <a:ea typeface=""/>
        <a:cs typeface=""/>
      </a:majorFont>
      <a:minorFont>
        <a:latin typeface="NLRTM"/>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PP-003_HbR_2020_NLRTM" id="{5EC8D34B-0E72-4BB0-8893-E46353925CCC}" vid="{0549B99A-D979-4669-8A1A-10412F02CC35}"/>
    </a:ext>
  </a:extLst>
</a:theme>
</file>

<file path=ppt/theme/theme2.xml><?xml version="1.0" encoding="utf-8"?>
<a:theme xmlns:a="http://schemas.openxmlformats.org/drawingml/2006/main" name="Tekst slide basis (geel) NLRTM">
  <a:themeElements>
    <a:clrScheme name="Port of Rotterdam">
      <a:dk1>
        <a:sysClr val="windowText" lastClr="000000"/>
      </a:dk1>
      <a:lt1>
        <a:sysClr val="window" lastClr="FFFFFF"/>
      </a:lt1>
      <a:dk2>
        <a:srgbClr val="001F4B"/>
      </a:dk2>
      <a:lt2>
        <a:srgbClr val="FFD800"/>
      </a:lt2>
      <a:accent1>
        <a:srgbClr val="009CD6"/>
      </a:accent1>
      <a:accent2>
        <a:srgbClr val="C4BFB9"/>
      </a:accent2>
      <a:accent3>
        <a:srgbClr val="CDCD00"/>
      </a:accent3>
      <a:accent4>
        <a:srgbClr val="D9EBF8"/>
      </a:accent4>
      <a:accent5>
        <a:srgbClr val="F39900"/>
      </a:accent5>
      <a:accent6>
        <a:srgbClr val="003076"/>
      </a:accent6>
      <a:hlink>
        <a:srgbClr val="FF2180"/>
      </a:hlink>
      <a:folHlink>
        <a:srgbClr val="FF0505"/>
      </a:folHlink>
    </a:clrScheme>
    <a:fontScheme name="Aangepast 1">
      <a:majorFont>
        <a:latin typeface="NLRTM Bold"/>
        <a:ea typeface=""/>
        <a:cs typeface=""/>
      </a:majorFont>
      <a:minorFont>
        <a:latin typeface="NLRTM"/>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PP-003_HbR_2020_NLRTM" id="{5EC8D34B-0E72-4BB0-8893-E46353925CCC}" vid="{2464F6AB-8D95-46A5-A5E0-124DFD990E05}"/>
    </a:ext>
  </a:extLst>
</a:theme>
</file>

<file path=ppt/theme/theme3.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F7C15786BE64C459765300C5BC291ED" ma:contentTypeVersion="13" ma:contentTypeDescription="Create a new document." ma:contentTypeScope="" ma:versionID="2150ce4e4e2da3e267b5ec379bff9b59">
  <xsd:schema xmlns:xsd="http://www.w3.org/2001/XMLSchema" xmlns:xs="http://www.w3.org/2001/XMLSchema" xmlns:p="http://schemas.microsoft.com/office/2006/metadata/properties" xmlns:ns3="2514d7e9-4e59-44c6-9af3-01880223b0ef" xmlns:ns4="d2ff99c9-bb94-457f-9480-e222ec7145b0" targetNamespace="http://schemas.microsoft.com/office/2006/metadata/properties" ma:root="true" ma:fieldsID="2170340ed38ffc7ce561d46bb2c01b27" ns3:_="" ns4:_="">
    <xsd:import namespace="2514d7e9-4e59-44c6-9af3-01880223b0ef"/>
    <xsd:import namespace="d2ff99c9-bb94-457f-9480-e222ec7145b0"/>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514d7e9-4e59-44c6-9af3-01880223b0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2ff99c9-bb94-457f-9480-e222ec7145b0"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554EE7A-2959-4E8F-9402-375FC9CB1130}">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89AD1D2B-7C74-448C-9AB1-35B986827216}">
  <ds:schemaRefs>
    <ds:schemaRef ds:uri="http://schemas.microsoft.com/sharepoint/v3/contenttype/forms"/>
  </ds:schemaRefs>
</ds:datastoreItem>
</file>

<file path=customXml/itemProps3.xml><?xml version="1.0" encoding="utf-8"?>
<ds:datastoreItem xmlns:ds="http://schemas.openxmlformats.org/officeDocument/2006/customXml" ds:itemID="{B73C6986-FAB0-43CC-8915-01433EB33B4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514d7e9-4e59-44c6-9af3-01880223b0ef"/>
    <ds:schemaRef ds:uri="d2ff99c9-bb94-457f-9480-e222ec7145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634</TotalTime>
  <Words>2905</Words>
  <Application>Microsoft Office PowerPoint</Application>
  <PresentationFormat>Aangepast</PresentationFormat>
  <Paragraphs>569</Paragraphs>
  <Slides>47</Slides>
  <Notes>36</Notes>
  <HiddenSlides>0</HiddenSlides>
  <MMClips>0</MMClips>
  <ScaleCrop>false</ScaleCrop>
  <HeadingPairs>
    <vt:vector size="8" baseType="variant">
      <vt:variant>
        <vt:lpstr>Gebruikte lettertypen</vt:lpstr>
      </vt:variant>
      <vt:variant>
        <vt:i4>17</vt:i4>
      </vt:variant>
      <vt:variant>
        <vt:lpstr>Thema</vt:lpstr>
      </vt:variant>
      <vt:variant>
        <vt:i4>2</vt:i4>
      </vt:variant>
      <vt:variant>
        <vt:lpstr>Diatitels</vt:lpstr>
      </vt:variant>
      <vt:variant>
        <vt:i4>47</vt:i4>
      </vt:variant>
      <vt:variant>
        <vt:lpstr>Aangepaste voorstellingen</vt:lpstr>
      </vt:variant>
      <vt:variant>
        <vt:i4>1</vt:i4>
      </vt:variant>
    </vt:vector>
  </HeadingPairs>
  <TitlesOfParts>
    <vt:vector size="67" baseType="lpstr">
      <vt:lpstr>NLRTM Italic</vt:lpstr>
      <vt:lpstr>Arial Black</vt:lpstr>
      <vt:lpstr>Arial</vt:lpstr>
      <vt:lpstr>NLRTM ExtraBold</vt:lpstr>
      <vt:lpstr>Futura Std</vt:lpstr>
      <vt:lpstr>Futura LT Pro</vt:lpstr>
      <vt:lpstr>Futura Std Medium</vt:lpstr>
      <vt:lpstr>Futura Std Book</vt:lpstr>
      <vt:lpstr>Times New Roman</vt:lpstr>
      <vt:lpstr>NLRTM Bold</vt:lpstr>
      <vt:lpstr>Segoe UI Light</vt:lpstr>
      <vt:lpstr>Calibri Light</vt:lpstr>
      <vt:lpstr>Calibri</vt:lpstr>
      <vt:lpstr>Helvetica</vt:lpstr>
      <vt:lpstr>Wingdings</vt:lpstr>
      <vt:lpstr>NLRTM</vt:lpstr>
      <vt:lpstr>Futura Std Bold</vt:lpstr>
      <vt:lpstr>Tekst slide basis (lichtblauw) NLRTM</vt:lpstr>
      <vt:lpstr>Tekst slide basis (geel) NLRTM</vt:lpstr>
      <vt:lpstr>PowerPoint-presentatie</vt:lpstr>
      <vt:lpstr>Container shipping ready for the future.</vt:lpstr>
      <vt:lpstr>WHY ROTTERDAM?  </vt:lpstr>
      <vt:lpstr>PowerPoint-presentatie</vt:lpstr>
      <vt:lpstr>PowerPoint-presentatie</vt:lpstr>
      <vt:lpstr>GATEWAY TO EUROPE  &amp; GLOBAL CARGO HUB</vt:lpstr>
      <vt:lpstr>EXTENSIVE WORLD WIDE  DEEP SEA NETWORK – DIRECT SERVICES </vt:lpstr>
      <vt:lpstr>EUROPE’S PREFERRED  TRANSHIPMENT HUB</vt:lpstr>
      <vt:lpstr>Container throughput on the rise  5 years in a row</vt:lpstr>
      <vt:lpstr>ROTTERDAM ACCOUNTS FOR 60% OVERALL GROWTH HAMBURG-LE HAVRE RANGE</vt:lpstr>
      <vt:lpstr>WHY ROTTERDAM?  Unique role of the port authority</vt:lpstr>
      <vt:lpstr>Optimising supply chains through digitisation</vt:lpstr>
      <vt:lpstr>DEVELOPMENTS DEEPSEA CONTAINER MARKET</vt:lpstr>
      <vt:lpstr>ALLIANCE PER DEEP SEA TERMINAL</vt:lpstr>
      <vt:lpstr>SHAREHOLDERS PER DEEP SEA TERMINAL</vt:lpstr>
      <vt:lpstr>IMPACT OF LARGER CALL SIZES what does this mean for logistics?</vt:lpstr>
      <vt:lpstr>WAREHOUSING &amp; DISTRIBUTION</vt:lpstr>
      <vt:lpstr>24/7 SAFE, EFFICIENT &amp; RELIABLE ACCESS WITHOUT LOCKS</vt:lpstr>
      <vt:lpstr>Water depth European ports </vt:lpstr>
      <vt:lpstr>MSC GÜLSÜN – 23,756 TEU, 400 x 62 METER</vt:lpstr>
      <vt:lpstr>Port of Rotterdam, the fastest route to freshness</vt:lpstr>
      <vt:lpstr>Agrofood facilities in Rotterdam</vt:lpstr>
      <vt:lpstr>  Rotterdam Food Hub</vt:lpstr>
      <vt:lpstr>DEDICATED CONTAINER CLUSTERS</vt:lpstr>
      <vt:lpstr>COMPETITIVE SHORT SEA NETWORK</vt:lpstr>
      <vt:lpstr>EEMHAVEN - SHORT SEA</vt:lpstr>
      <vt:lpstr>SMART DIGITAL INFRASTRUCTURE: PORT COMMUNITY SYSTEM </vt:lpstr>
      <vt:lpstr>DUTCH CUSTOMS FACILITATING A SMOOTH SUPPLY CHAIN</vt:lpstr>
      <vt:lpstr>DUTCH CUSTOMS EFFICIENCY AS A KPI</vt:lpstr>
      <vt:lpstr>CONTAINER EXCHANGE ROUTE SMOOTH BUNDLING &amp; EXCHANGE OF CONTAINERS</vt:lpstr>
      <vt:lpstr>PORTSHUTTLE  CONTAINER EXCHANGE  BY RAIL</vt:lpstr>
      <vt:lpstr>ATTRACTIVE CASH FLOW ADVANTAGE VAT DEFERMENT   </vt:lpstr>
      <vt:lpstr>SAFETY FIRST</vt:lpstr>
      <vt:lpstr>5 SUSTAINABLE, SAFE &amp; STATE OF THE ART  DEEP SEA TERMINALS</vt:lpstr>
      <vt:lpstr>A HIGHLY SKILLED AND Motivated WORKFORCE</vt:lpstr>
      <vt:lpstr>FRONTRUNNER IN ENERGY TRANSITION</vt:lpstr>
      <vt:lpstr>CO2 EMISSIONS IN TRANSPORT</vt:lpstr>
      <vt:lpstr>PATHWAYS TO  DECARBONISE TRANSPORT </vt:lpstr>
      <vt:lpstr>THE WORLD’S BEST PORT INFRASTRUCTURE</vt:lpstr>
      <vt:lpstr>PowerPoint-presentatie</vt:lpstr>
      <vt:lpstr>EXCELLENT RAIL CONNECTIONS</vt:lpstr>
      <vt:lpstr>THE NEW SILK ROAD – OPPORTUNITIES FOR THE PORT OF ROTTERDAM  </vt:lpstr>
      <vt:lpstr>LOCATED AT THE MOUTH OF THE RHINE AND THE MEUSE</vt:lpstr>
      <vt:lpstr>PowerPoint-presentatie</vt:lpstr>
      <vt:lpstr>PowerPoint-presentatie</vt:lpstr>
      <vt:lpstr>TRANSPORT BY TRUCK: FAST &amp; FLEXIBLe TOMTOM TRAFFIC INDEX 2018   </vt:lpstr>
      <vt:lpstr>TRANSPORT BY TRUCK: FAST &amp; FLEXIBLe TOMTOM TRAFFIC INDEX 2018   </vt:lpstr>
      <vt:lpstr>Map of Rotterdam</vt:lpstr>
    </vt:vector>
  </TitlesOfParts>
  <Company>Havenbedrijf Rotterdam N.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subject>PowerPoint Template</dc:subject>
  <dc:creator>Item, Cees van</dc:creator>
  <cp:lastModifiedBy>Leida Tops</cp:lastModifiedBy>
  <cp:revision>183</cp:revision>
  <cp:lastPrinted>2020-02-18T12:19:30Z</cp:lastPrinted>
  <dcterms:created xsi:type="dcterms:W3CDTF">2020-01-28T16:48:22Z</dcterms:created>
  <dcterms:modified xsi:type="dcterms:W3CDTF">2020-05-29T12:20:49Z</dcterms:modified>
  <cp:category>Basistemplate</cp:category>
  <cp:contentStatus>Definitief</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F7C15786BE64C459765300C5BC291ED</vt:lpwstr>
  </property>
  <property fmtid="{D5CDD505-2E9C-101B-9397-08002B2CF9AE}" pid="3" name="TemplafyTimeStamp">
    <vt:lpwstr>2020-03-11T11:18:21.5704048Z</vt:lpwstr>
  </property>
</Properties>
</file>